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rels" ContentType="application/vnd.openxmlformats-package.relationships+xml"/>
  <Default Extension="emf" ContentType="image/x-emf"/>
  <Default Extension="jpeg" ContentType="image/jpeg"/>
  <Default Extension="xml" ContentType="application/xml"/>
  <Default Extension="vml" ContentType="application/vnd.openxmlformats-officedocument.vmlDrawing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Layouts/slideLayout2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1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theme/theme3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412" r:id="rId5"/>
    <p:sldId id="417" r:id="rId6"/>
    <p:sldId id="418" r:id="rId7"/>
    <p:sldId id="419" r:id="rId8"/>
    <p:sldId id="420" r:id="rId9"/>
    <p:sldId id="421" r:id="rId10"/>
    <p:sldId id="422" r:id="rId11"/>
    <p:sldId id="423" r:id="rId12"/>
    <p:sldId id="424" r:id="rId13"/>
    <p:sldId id="425" r:id="rId14"/>
    <p:sldId id="426" r:id="rId15"/>
    <p:sldId id="416" r:id="rId16"/>
  </p:sldIdLst>
  <p:sldSz cx="9144000" cy="6858000" type="screen4x3"/>
  <p:notesSz cx="6669088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E438A"/>
    <a:srgbClr val="FF3300"/>
    <a:srgbClr val="0066CC"/>
    <a:srgbClr val="000066"/>
    <a:srgbClr val="525152"/>
    <a:srgbClr val="0099CC"/>
    <a:srgbClr val="33CC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142" autoAdjust="0"/>
    <p:restoredTop sz="78863" autoAdjust="0"/>
  </p:normalViewPr>
  <p:slideViewPr>
    <p:cSldViewPr>
      <p:cViewPr varScale="1">
        <p:scale>
          <a:sx n="79" d="100"/>
          <a:sy n="79" d="100"/>
        </p:scale>
        <p:origin x="-600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334" y="-96"/>
      </p:cViewPr>
      <p:guideLst>
        <p:guide orient="horz" pos="3128"/>
        <p:guide pos="21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24F16E95-2EDD-440C-AF5C-14C0F7DB95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953349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2488" y="744538"/>
            <a:ext cx="496411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714875"/>
            <a:ext cx="4891088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81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81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66086172-F67C-41CC-ADB1-8D2DC14594A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1136373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C608FF3E-3650-4EA6-86DC-4A2B48B4E226}" type="slidenum">
              <a:rPr lang="en-US" sz="1200"/>
              <a:pPr/>
              <a:t>1</a:t>
            </a:fld>
            <a:endParaRPr lang="en-US" sz="120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22550" y="246063"/>
            <a:ext cx="3956050" cy="2967037"/>
          </a:xfrm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029" y="3475449"/>
            <a:ext cx="6119252" cy="5781053"/>
          </a:xfrm>
          <a:noFill/>
          <a:ln/>
        </p:spPr>
        <p:txBody>
          <a:bodyPr lIns="91256" tIns="45629" rIns="91256" bIns="45629"/>
          <a:lstStyle/>
          <a:p>
            <a:pPr eaLnBrk="1" hangingPunct="1">
              <a:spcBef>
                <a:spcPct val="0"/>
              </a:spcBef>
            </a:pPr>
            <a:endParaRPr lang="en-US" baseline="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2488" y="744538"/>
            <a:ext cx="4964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11</a:t>
            </a:fld>
            <a:endParaRPr lang="en-GB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35C13C1B-DFD6-4731-B693-096D385FFF0A}" type="slidenum">
              <a:rPr lang="en-US" sz="1200"/>
              <a:pPr/>
              <a:t>12</a:t>
            </a:fld>
            <a:endParaRPr lang="en-US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2488" y="744538"/>
            <a:ext cx="4964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0F4CBDC-E870-46CF-AECB-3B0385D18E0B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367170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0BF70D-94CA-4CF9-9FFA-C4E7D4AEB85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40482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itchFamily="34" charset="0"/>
              <a:buChar char="•"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42532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latin typeface="Arial" charset="0"/>
            </a:endParaRPr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C36B1EF-A972-4072-8B37-3CC6A8A74B07}" type="slidenum">
              <a:rPr lang="en-GB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buNone/>
            </a:pPr>
            <a:endParaRPr lang="en-US" dirty="0" smtClean="0">
              <a:latin typeface="Arial" charset="0"/>
            </a:endParaRPr>
          </a:p>
        </p:txBody>
      </p:sp>
      <p:sp>
        <p:nvSpPr>
          <p:cNvPr id="4198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C36B1EF-A972-4072-8B37-3CC6A8A74B07}" type="slidenum">
              <a:rPr lang="en-GB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150658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52488" y="744538"/>
            <a:ext cx="4964112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A853E8-D85F-5D49-95D2-E1D96ABFE2B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82509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22550" y="246063"/>
            <a:ext cx="3956050" cy="2967037"/>
          </a:xfrm>
          <a:ln/>
        </p:spPr>
      </p:sp>
      <p:sp>
        <p:nvSpPr>
          <p:cNvPr id="1290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4029" y="3475449"/>
            <a:ext cx="6119252" cy="5781053"/>
          </a:xfrm>
          <a:noFill/>
          <a:ln/>
        </p:spPr>
        <p:txBody>
          <a:bodyPr lIns="91256" tIns="45629" rIns="91256" bIns="45629"/>
          <a:lstStyle/>
          <a:p>
            <a:pPr eaLnBrk="1" hangingPunct="1">
              <a:spcBef>
                <a:spcPct val="0"/>
              </a:spcBef>
            </a:pPr>
            <a:endParaRPr lang="en-US" baseline="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Watermark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0" y="765175"/>
            <a:ext cx="6467475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8027988" y="6237288"/>
            <a:ext cx="1841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sz="1000" smtClean="0">
                <a:solidFill>
                  <a:schemeClr val="bg1"/>
                </a:solidFill>
                <a:latin typeface="Univers" pitchFamily="34" charset="0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Univers" pitchFamily="34" charset="0"/>
              </a:rPr>
            </a:br>
            <a:endParaRPr lang="en-US" sz="1000" smtClean="0">
              <a:solidFill>
                <a:schemeClr val="bg1"/>
              </a:solidFill>
              <a:latin typeface="Univers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6426200" y="4343400"/>
            <a:ext cx="52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srgbClr val="0C4B84"/>
                </a:solidFill>
              </a:rPr>
              <a:t> </a:t>
            </a:r>
            <a:endParaRPr lang="en-US" sz="240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7319963" y="4524375"/>
            <a:ext cx="5238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="1">
                <a:solidFill>
                  <a:srgbClr val="0C4B84"/>
                </a:solidFill>
              </a:rPr>
              <a:t> </a:t>
            </a:r>
            <a:endParaRPr lang="en-US" sz="2400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5280025" y="4802188"/>
            <a:ext cx="44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>
                <a:solidFill>
                  <a:srgbClr val="000000"/>
                </a:solidFill>
              </a:rPr>
              <a:t> </a:t>
            </a:r>
            <a:endParaRPr lang="en-US" sz="2400"/>
          </a:p>
        </p:txBody>
      </p:sp>
      <p:sp>
        <p:nvSpPr>
          <p:cNvPr id="9" name="AutoShape 18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AutoShape 20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AutoShape 23" descr="image002"/>
          <p:cNvSpPr>
            <a:spLocks noChangeAspect="1" noChangeArrowheads="1"/>
          </p:cNvSpPr>
          <p:nvPr userDrawn="1"/>
        </p:nvSpPr>
        <p:spPr bwMode="auto">
          <a:xfrm>
            <a:off x="200025" y="460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AutoShape 25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3" name="Picture 26" descr="Picture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2738" y="3132138"/>
            <a:ext cx="896937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28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332810" name="Rectangle 10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53188"/>
            <a:ext cx="3609975" cy="268287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</p:spTree>
    <p:extLst>
      <p:ext uri="{BB962C8B-B14F-4D97-AF65-F5344CB8AC3E}">
        <p14:creationId xmlns:p14="http://schemas.microsoft.com/office/powerpoint/2010/main" xmlns="" val="22725071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6BEF4B-DE7C-4FC8-B00D-971B106AFCB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99910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4F9D76-AD38-4C43-8876-35BE7BF846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52437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>
                <a:latin typeface="Univers" pitchFamily="34" charset="0"/>
              </a:defRPr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47000" y="6453188"/>
            <a:ext cx="1366838" cy="2889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8C5BB2-0067-41E1-B38E-BCBC81476D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628092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470" y="313419"/>
            <a:ext cx="8117206" cy="574516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9184" y="1584960"/>
            <a:ext cx="8117904" cy="4293024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8981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1472" y="880225"/>
            <a:ext cx="8460105" cy="4770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lnSpc>
                <a:spcPts val="3000"/>
              </a:lnSpc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31472" y="360199"/>
            <a:ext cx="8460105" cy="523220"/>
          </a:xfrm>
          <a:prstGeom prst="rect">
            <a:avLst/>
          </a:prstGeom>
        </p:spPr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1203" y="1944000"/>
            <a:ext cx="8125413" cy="39364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349253" y="6263219"/>
            <a:ext cx="182563" cy="143933"/>
          </a:xfrm>
          <a:prstGeom prst="rect">
            <a:avLst/>
          </a:prstGeom>
        </p:spPr>
        <p:txBody>
          <a:bodyPr rtlCol="0"/>
          <a:lstStyle>
            <a:lvl1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Arial"/>
              </a:defRPr>
            </a:lvl1pPr>
          </a:lstStyle>
          <a:p>
            <a:pPr>
              <a:defRPr/>
            </a:pPr>
            <a:fld id="{BF80A2E4-C71C-4B8B-9AB4-BC135AD14E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81654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31468" y="442282"/>
            <a:ext cx="8474400" cy="861774"/>
          </a:xfrm>
        </p:spPr>
        <p:txBody>
          <a:bodyPr>
            <a:spAutoFit/>
          </a:bodyPr>
          <a:lstStyle>
            <a:lvl1pPr marL="0" marR="0" indent="0" algn="l" defTabSz="4572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 dirty="0" smtClean="0"/>
              <a:t>Double line title</a:t>
            </a:r>
            <a:br>
              <a:rPr lang="en-US" dirty="0" smtClean="0"/>
            </a:br>
            <a:r>
              <a:rPr lang="en-US" dirty="0" smtClean="0"/>
              <a:t>for added content</a:t>
            </a:r>
            <a:endParaRPr lang="en-US" noProof="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1200" y="1746000"/>
            <a:ext cx="8474400" cy="4215600"/>
          </a:xfrm>
        </p:spPr>
        <p:txBody>
          <a:bodyPr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3172077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715760"/>
            <a:ext cx="6858000" cy="1608645"/>
          </a:xfrm>
        </p:spPr>
        <p:txBody>
          <a:bodyPr anchor="b"/>
          <a:lstStyle>
            <a:lvl1pPr>
              <a:lnSpc>
                <a:spcPct val="90000"/>
              </a:lnSpc>
              <a:defRPr sz="4600" spc="-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9184" y="4422171"/>
            <a:ext cx="6858000" cy="1219200"/>
          </a:xfrm>
        </p:spPr>
        <p:txBody>
          <a:bodyPr/>
          <a:lstStyle>
            <a:lvl1pPr marL="0" indent="0" algn="l">
              <a:buNone/>
              <a:defRPr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95992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Line Only no 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234950" y="383768"/>
            <a:ext cx="8375650" cy="11430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100" baseline="0">
                <a:solidFill>
                  <a:srgbClr val="000000"/>
                </a:solidFill>
                <a:latin typeface="Futura Bk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57732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 bwMode="black">
          <a:xfrm>
            <a:off x="331521" y="313417"/>
            <a:ext cx="8460105" cy="573024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329184" y="1585385"/>
            <a:ext cx="2523744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3124486" y="1585403"/>
            <a:ext cx="2523744" cy="4296833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5919788" y="1585385"/>
            <a:ext cx="2527300" cy="4296832"/>
          </a:xfrm>
        </p:spPr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31520" y="1001854"/>
            <a:ext cx="8460105" cy="369332"/>
          </a:xfrm>
          <a:prstGeom prst="rect">
            <a:avLst/>
          </a:prstGeom>
        </p:spPr>
        <p:txBody>
          <a:bodyPr wrap="square" anchor="t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1124379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17ED03-1DC6-4200-9FDD-3CCD8DA666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474387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26DF8F-7F96-4AEE-9EA0-5F4768198D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89223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51A35D-102F-46EE-9502-7E94772C6F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48961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8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C360EE-7E12-4E26-9495-79CB830667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2730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53772D-C143-4276-BEC7-44ED3D117D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340650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3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73AE8D-56A7-445C-912A-B2CDF04605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1513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B22F09-DC2F-43BA-B2BB-1E42460F36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97297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1F851-AD90-4E33-AFB6-9656221F6F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13717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0" descr="Watermark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0" y="765175"/>
            <a:ext cx="6443663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9388" y="6453188"/>
            <a:ext cx="4032250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Univers" pitchFamily="34" charset="0"/>
              </a:defRPr>
            </a:lvl1pPr>
          </a:lstStyle>
          <a:p>
            <a:pPr>
              <a:defRPr/>
            </a:pPr>
            <a:r>
              <a:rPr lang="en-US"/>
              <a:t>Durban, South Africa, 9 July 2013</a:t>
            </a:r>
          </a:p>
        </p:txBody>
      </p:sp>
      <p:sp>
        <p:nvSpPr>
          <p:cNvPr id="1060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751763" y="6453188"/>
            <a:ext cx="13668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34DE53D9-35C3-4D87-BB12-79C99C4359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0" name="Rectangle 3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068" r:id="rId12"/>
    <p:sldLayoutId id="2147484069" r:id="rId13"/>
    <p:sldLayoutId id="2147484070" r:id="rId14"/>
    <p:sldLayoutId id="2147484071" r:id="rId15"/>
    <p:sldLayoutId id="2147484072" r:id="rId16"/>
    <p:sldLayoutId id="2147484073" r:id="rId17"/>
    <p:sldLayoutId id="2147484074" r:id="rId18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75000"/>
        <a:buBlip>
          <a:blip r:embed="rId21"/>
        </a:buBlip>
        <a:defRPr sz="3200">
          <a:solidFill>
            <a:schemeClr val="bg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pitchFamily="18" charset="2"/>
        <a:buBlip>
          <a:blip r:embed="rId22"/>
        </a:buBlip>
        <a:defRPr sz="2800">
          <a:solidFill>
            <a:schemeClr val="bg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400">
          <a:solidFill>
            <a:schemeClr val="bg2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pitchFamily="18" charset="2"/>
        <a:buBlip>
          <a:blip r:embed="rId22"/>
        </a:buBlip>
        <a:defRPr sz="2000">
          <a:solidFill>
            <a:schemeClr val="bg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000">
          <a:solidFill>
            <a:schemeClr val="bg2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000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000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000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21"/>
        </a:buBlip>
        <a:defRPr sz="20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hyperlink" Target="http://www.google.co.uk/imgres?imgurl=http://www.ventureoutsource.com/wp-content/uploads/2011/10/nokia-logo.bmp&amp;imgrefurl=http://www.ventureoutsource.com/contract-manufacturing/jobs/senior-engineer-rf/&amp;h=315&amp;w=628&amp;sz=580&amp;tbnid=qRuBYh9PCjM8BM:&amp;tbnh=48&amp;tbnw=95&amp;prev=/search?q=Nokia+logo&amp;tbm=isch&amp;tbo=u&amp;zoom=1&amp;q=Nokia+logo&amp;usg=__01QgQx_Qzhp4l-qco4KnyDLAfLE=&amp;hl=en-GB&amp;sa=X&amp;ei=DUfQUNG-Jo210QXW8IDoCw&amp;ved=0CCIQ9QEwAg" TargetMode="External"/><Relationship Id="rId18" Type="http://schemas.openxmlformats.org/officeDocument/2006/relationships/image" Target="../media/image26.png"/><Relationship Id="rId3" Type="http://schemas.openxmlformats.org/officeDocument/2006/relationships/hyperlink" Target="http://www.google.co.uk/imgres?imgurl=http://cep.unep.org/iwcam/images/unep-logo/image&amp;imgrefurl=http://cep.unep.org/iwcam/images/unep-logo/image_view_fullscreen&amp;h=1286&amp;w=1199&amp;sz=297&amp;tbnid=uCt0djn2t85DZM:&amp;tbnh=90&amp;tbnw=84&amp;prev=/search?q=UNEP+logo&amp;tbm=isch&amp;tbo=u&amp;zoom=1&amp;q=UNEP+logo&amp;usg=__L1jFkBj3OCcdrtGiU-bnzg4dlZc=&amp;hl=en-GB&amp;sa=X&amp;ei=mkXQULaAIaqN0wX4oIDoDA&amp;ved=0CB4Q9QEwAA" TargetMode="External"/><Relationship Id="rId21" Type="http://schemas.openxmlformats.org/officeDocument/2006/relationships/image" Target="../media/image17.png"/><Relationship Id="rId7" Type="http://schemas.openxmlformats.org/officeDocument/2006/relationships/hyperlink" Target="http://www.northampton.ac.uk/" TargetMode="External"/><Relationship Id="rId12" Type="http://schemas.openxmlformats.org/officeDocument/2006/relationships/image" Target="../media/image13.jpeg"/><Relationship Id="rId17" Type="http://schemas.openxmlformats.org/officeDocument/2006/relationships/image" Target="../media/image25.jpeg"/><Relationship Id="rId2" Type="http://schemas.openxmlformats.org/officeDocument/2006/relationships/notesSlide" Target="../notesSlides/notesSlide11.xml"/><Relationship Id="rId16" Type="http://schemas.openxmlformats.org/officeDocument/2006/relationships/hyperlink" Target="http://www.google.co.uk/imgres?imgurl=http://www.greencustoms.org/images/home/logos/Basel_convention.jpg&amp;imgrefurl=http://www.greencustoms.org/partners/&amp;h=971&amp;w=1693&amp;sz=203&amp;tbnid=m3b_eBVhnevthM:&amp;tbnh=76&amp;tbnw=132&amp;prev=/search?q=basel+convention+logo&amp;tbm=isch&amp;tbo=u&amp;zoom=1&amp;q=basel+convention+logo&amp;usg=__mRmDcHIxNdpr5hzL48fbdq4bNOM=&amp;hl=en-GB&amp;sa=X&amp;ei=OEjQUOiXOYKq0AWl44G4Cw&amp;ved=0CCIQ9QEwAg" TargetMode="External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1.jpeg"/><Relationship Id="rId11" Type="http://schemas.openxmlformats.org/officeDocument/2006/relationships/hyperlink" Target="http://www.google.co.uk/imgres?imgurl=http://www.ereviews.dk/wp-content/uploads/philips_logo.gif&amp;imgrefurl=http://www.ereviews.dk/philips-lancerer-verdens-f%C3%B8rste-led-tv-designet-af-dig/&amp;h=690&amp;w=3090&amp;sz=340&amp;tbnid=MP48_-HnlyZ7wM:&amp;tbnh=26&amp;tbnw=116&amp;prev=/search?q=Philips+logo&amp;tbm=isch&amp;tbo=u&amp;zoom=1&amp;q=Philips+logo&amp;usg=__Ly0ZUE3p5e7R5mSvKdO-jyIPYqc=&amp;hl=en-GB&amp;sa=X&amp;ei=60bQUPm7Iqib0QWzwIGABw&amp;ved=0CC4Q9QEwBA" TargetMode="External"/><Relationship Id="rId24" Type="http://schemas.openxmlformats.org/officeDocument/2006/relationships/image" Target="../media/image7.png"/><Relationship Id="rId5" Type="http://schemas.openxmlformats.org/officeDocument/2006/relationships/hyperlink" Target="http://www.google.co.uk/imgres?imgurl=http://www.nanobits-project.eu/wp-content/uploads/2012/09/empa_logo.jpg&amp;imgrefurl=http://www.nanobits-project.eu/?page_id=39&amp;h=385&amp;w=879&amp;sz=112&amp;tbnid=XBS8Id-fNSMLiM:&amp;tbnh=56&amp;tbnw=128&amp;prev=/search?q=EMPA+logo&amp;tbm=isch&amp;tbo=u&amp;zoom=1&amp;q=EMPA+logo&amp;usg=__EDF5J9wSvqVIIZz15g6eG4kG8oQ=&amp;hl=en-GB&amp;sa=X&amp;ei=20XQUNLeEYi90QWX0oGADg&amp;ved=0CBkQ9QEwAA" TargetMode="External"/><Relationship Id="rId15" Type="http://schemas.openxmlformats.org/officeDocument/2006/relationships/image" Target="../media/image24.jpeg"/><Relationship Id="rId23" Type="http://schemas.openxmlformats.org/officeDocument/2006/relationships/image" Target="../media/image15.png"/><Relationship Id="rId10" Type="http://schemas.openxmlformats.org/officeDocument/2006/relationships/image" Target="../media/image23.jpeg"/><Relationship Id="rId19" Type="http://schemas.openxmlformats.org/officeDocument/2006/relationships/image" Target="../media/image27.jpeg"/><Relationship Id="rId4" Type="http://schemas.openxmlformats.org/officeDocument/2006/relationships/image" Target="../media/image20.jpeg"/><Relationship Id="rId9" Type="http://schemas.openxmlformats.org/officeDocument/2006/relationships/hyperlink" Target="http://www.google.co.uk/imgres?imgurl=http://universitiesofnigeria.com/wp-content/uploads/2011/07/dd.gif&amp;imgrefurl=http://universitiesofnigeria.com/university-of-ibadan/&amp;h=94&amp;w=78&amp;sz=5&amp;tbnid=cOfWkTulSrbWZM:&amp;tbnh=84&amp;tbnw=69&amp;prev=/search?q=university+of+ibadan+logo&amp;tbm=isch&amp;tbo=u&amp;zoom=1&amp;q=university+of+ibadan+logo&amp;usg=__QONbm1e-Fg1L47ldc336C8hXBQY=&amp;hl=en-GB&amp;sa=X&amp;ei=mkbQUKvhC6e50QWXkIDgDQ&amp;ved=0CCoQ9QEwBg" TargetMode="External"/><Relationship Id="rId14" Type="http://schemas.openxmlformats.org/officeDocument/2006/relationships/image" Target="../media/image14.jpeg"/><Relationship Id="rId22" Type="http://schemas.openxmlformats.org/officeDocument/2006/relationships/hyperlink" Target="http://www.reclaimed-appliances.co.uk/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.png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://www.google.co.uk/imgres?imgurl=http://www.ereviews.dk/wp-content/uploads/philips_logo.gif&amp;imgrefurl=http://www.ereviews.dk/philips-lancerer-verdens-f%C3%B8rste-led-tv-designet-af-dig/&amp;h=690&amp;w=3090&amp;sz=340&amp;tbnid=MP48_-HnlyZ7wM:&amp;tbnh=26&amp;tbnw=116&amp;prev=/search?q=Philips+logo&amp;tbm=isch&amp;tbo=u&amp;zoom=1&amp;q=Philips+logo&amp;usg=__Ly0ZUE3p5e7R5mSvKdO-jyIPYqc=&amp;hl=en-GB&amp;sa=X&amp;ei=60bQUPm7Iqib0QWzwIGABw&amp;ved=0CC4Q9QEwBA" TargetMode="External"/><Relationship Id="rId7" Type="http://schemas.openxmlformats.org/officeDocument/2006/relationships/hyperlink" Target="http://www.reclaimed-appliances.co.uk/" TargetMode="External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jpeg"/><Relationship Id="rId11" Type="http://schemas.openxmlformats.org/officeDocument/2006/relationships/image" Target="../media/image18.png"/><Relationship Id="rId5" Type="http://schemas.openxmlformats.org/officeDocument/2006/relationships/hyperlink" Target="http://www.google.co.uk/imgres?imgurl=http://www.ventureoutsource.com/wp-content/uploads/2011/10/nokia-logo.bmp&amp;imgrefurl=http://www.ventureoutsource.com/contract-manufacturing/jobs/senior-engineer-rf/&amp;h=315&amp;w=628&amp;sz=580&amp;tbnid=qRuBYh9PCjM8BM:&amp;tbnh=48&amp;tbnw=95&amp;prev=/search?q=Nokia+logo&amp;tbm=isch&amp;tbo=u&amp;zoom=1&amp;q=Nokia+logo&amp;usg=__01QgQx_Qzhp4l-qco4KnyDLAfLE=&amp;hl=en-GB&amp;sa=X&amp;ei=DUfQUNG-Jo210QXW8IDoCw&amp;ved=0CCIQ9QEwAg" TargetMode="External"/><Relationship Id="rId10" Type="http://schemas.openxmlformats.org/officeDocument/2006/relationships/image" Target="../media/image17.png"/><Relationship Id="rId4" Type="http://schemas.openxmlformats.org/officeDocument/2006/relationships/image" Target="../media/image13.jpe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250825" y="6381750"/>
            <a:ext cx="3827463" cy="268288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US" sz="1400" smtClean="0">
                <a:latin typeface="Univers" pitchFamily="34" charset="0"/>
              </a:rPr>
              <a:t>Durban, South Africa, 9 July 2013</a:t>
            </a:r>
          </a:p>
        </p:txBody>
      </p:sp>
      <p:sp>
        <p:nvSpPr>
          <p:cNvPr id="4099" name="Rectangle 10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</a:t>
            </a:r>
            <a:r>
              <a:rPr lang="en-US" dirty="0" smtClean="0"/>
              <a:t>-waste in emerging markets: an opportunity </a:t>
            </a:r>
          </a:p>
        </p:txBody>
      </p:sp>
      <p:sp>
        <p:nvSpPr>
          <p:cNvPr id="4100" name="Rectangle 11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b="1" dirty="0" smtClean="0"/>
              <a:t>Ruben Janse van Rensburg,</a:t>
            </a:r>
          </a:p>
          <a:p>
            <a:r>
              <a:rPr lang="en-GB" b="1" dirty="0" smtClean="0"/>
              <a:t>Environmental Manager Africa, HP ruben.janse-van-rensburg@hp.com</a:t>
            </a:r>
          </a:p>
        </p:txBody>
      </p:sp>
      <p:sp>
        <p:nvSpPr>
          <p:cNvPr id="4101" name="Rectangle 13"/>
          <p:cNvSpPr>
            <a:spLocks noChangeArrowheads="1"/>
          </p:cNvSpPr>
          <p:nvPr/>
        </p:nvSpPr>
        <p:spPr bwMode="auto">
          <a:xfrm>
            <a:off x="0" y="404813"/>
            <a:ext cx="9144000" cy="165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chemeClr val="bg2"/>
                </a:solidFill>
              </a:rPr>
              <a:t>ITU Workshop on </a:t>
            </a:r>
          </a:p>
          <a:p>
            <a:pPr algn="ctr">
              <a:lnSpc>
                <a:spcPct val="80000"/>
              </a:lnSpc>
            </a:pPr>
            <a:r>
              <a:rPr lang="en-US" sz="2400" b="1">
                <a:solidFill>
                  <a:schemeClr val="bg2"/>
                </a:solidFill>
              </a:rPr>
              <a:t>“Environmentally Sound Management of E-waste</a:t>
            </a:r>
            <a:r>
              <a:rPr lang="en-US" sz="2400" b="1">
                <a:solidFill>
                  <a:srgbClr val="22228B"/>
                </a:solidFill>
              </a:rPr>
              <a:t>”</a:t>
            </a:r>
          </a:p>
          <a:p>
            <a:pPr algn="ctr">
              <a:lnSpc>
                <a:spcPct val="80000"/>
              </a:lnSpc>
            </a:pPr>
            <a:endParaRPr lang="en-US" sz="2400" b="1">
              <a:solidFill>
                <a:srgbClr val="22228B"/>
              </a:solidFill>
            </a:endParaRPr>
          </a:p>
          <a:p>
            <a:pPr algn="ctr">
              <a:lnSpc>
                <a:spcPct val="80000"/>
              </a:lnSpc>
            </a:pPr>
            <a:r>
              <a:rPr lang="en-US" sz="1800" b="1">
                <a:solidFill>
                  <a:srgbClr val="22228B"/>
                </a:solidFill>
              </a:rPr>
              <a:t>(Durban, South Africa, 9 July 2013)</a:t>
            </a:r>
            <a:endParaRPr lang="en-US" sz="1800" b="1">
              <a:solidFill>
                <a:schemeClr val="bg2"/>
              </a:solidFill>
            </a:endParaRPr>
          </a:p>
        </p:txBody>
      </p:sp>
      <p:sp>
        <p:nvSpPr>
          <p:cNvPr id="4102" name="AutoShape 18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03" name="AutoShape 20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04" name="AutoShape 22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05" name="AutoShape 24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06" name="Rectangle 26"/>
          <p:cNvSpPr>
            <a:spLocks noChangeArrowheads="1"/>
          </p:cNvSpPr>
          <p:nvPr/>
        </p:nvSpPr>
        <p:spPr bwMode="auto">
          <a:xfrm>
            <a:off x="0" y="29289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/>
          </a:p>
        </p:txBody>
      </p:sp>
      <p:pic>
        <p:nvPicPr>
          <p:cNvPr id="4107" name="Picture 16" descr="ITUseri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264" b="69327"/>
          <a:stretch>
            <a:fillRect/>
          </a:stretch>
        </p:blipFill>
        <p:spPr bwMode="auto">
          <a:xfrm>
            <a:off x="7308850" y="6038850"/>
            <a:ext cx="16383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 noChangeAspect="1"/>
          </p:cNvGraphicFramePr>
          <p:nvPr/>
        </p:nvGraphicFramePr>
        <p:xfrm>
          <a:off x="0" y="1"/>
          <a:ext cx="158750" cy="158751"/>
        </p:xfrm>
        <a:graphic>
          <a:graphicData uri="http://schemas.openxmlformats.org/presentationml/2006/ole">
            <p:oleObj spid="_x0000_s29707" name="think-cell Slide" r:id="rId5" imgW="360" imgH="360" progId="">
              <p:embed/>
            </p:oleObj>
          </a:graphicData>
        </a:graphic>
      </p:graphicFrame>
      <p:sp>
        <p:nvSpPr>
          <p:cNvPr id="3076" name="Text Placeholder 270"/>
          <p:cNvSpPr>
            <a:spLocks noGrp="1"/>
          </p:cNvSpPr>
          <p:nvPr>
            <p:ph type="body" sz="quarter" idx="4294967295"/>
            <p:custDataLst>
              <p:tags r:id="rId2"/>
            </p:custDataLst>
          </p:nvPr>
        </p:nvSpPr>
        <p:spPr>
          <a:xfrm>
            <a:off x="115017" y="116632"/>
            <a:ext cx="6749411" cy="836997"/>
          </a:xfrm>
        </p:spPr>
        <p:txBody>
          <a:bodyPr lIns="0" tIns="91440" bIns="0">
            <a:noAutofit/>
          </a:bodyPr>
          <a:lstStyle/>
          <a:p>
            <a:pPr marL="0" eaLnBrk="1" hangingPunct="1">
              <a:lnSpc>
                <a:spcPct val="100000"/>
              </a:lnSpc>
              <a:spcBef>
                <a:spcPct val="0"/>
              </a:spcBef>
              <a:buFont typeface="Futura Bk" pitchFamily="34" charset="0"/>
              <a:buNone/>
            </a:pPr>
            <a:r>
              <a:rPr lang="en-US" b="1" dirty="0" smtClean="0">
                <a:latin typeface="+mj-lt"/>
                <a:cs typeface="Arial" pitchFamily="34" charset="0"/>
              </a:rPr>
              <a:t> </a:t>
            </a:r>
            <a:r>
              <a:rPr lang="en-US" b="1" dirty="0">
                <a:latin typeface="+mj-lt"/>
                <a:cs typeface="Arial" pitchFamily="34" charset="0"/>
              </a:rPr>
              <a:t>W</a:t>
            </a:r>
            <a:r>
              <a:rPr lang="en-US" b="1" dirty="0" smtClean="0">
                <a:latin typeface="+mj-lt"/>
                <a:cs typeface="Arial" pitchFamily="34" charset="0"/>
              </a:rPr>
              <a:t>here are the Recyclers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2070512" y="1413164"/>
            <a:ext cx="4476121" cy="5086164"/>
            <a:chOff x="1876302" y="1059873"/>
            <a:chExt cx="4868348" cy="3814623"/>
          </a:xfrm>
        </p:grpSpPr>
        <p:sp>
          <p:nvSpPr>
            <p:cNvPr id="3097" name="Freeform 4"/>
            <p:cNvSpPr>
              <a:spLocks/>
            </p:cNvSpPr>
            <p:nvPr/>
          </p:nvSpPr>
          <p:spPr bwMode="auto">
            <a:xfrm>
              <a:off x="5180766" y="1622047"/>
              <a:ext cx="34527" cy="64937"/>
            </a:xfrm>
            <a:custGeom>
              <a:avLst/>
              <a:gdLst>
                <a:gd name="T0" fmla="*/ 3 w 31"/>
                <a:gd name="T1" fmla="*/ 6 h 66"/>
                <a:gd name="T2" fmla="*/ 4 w 31"/>
                <a:gd name="T3" fmla="*/ 6 h 66"/>
                <a:gd name="T4" fmla="*/ 4 w 31"/>
                <a:gd name="T5" fmla="*/ 5 h 66"/>
                <a:gd name="T6" fmla="*/ 4 w 31"/>
                <a:gd name="T7" fmla="*/ 4 h 66"/>
                <a:gd name="T8" fmla="*/ 4 w 31"/>
                <a:gd name="T9" fmla="*/ 1 h 66"/>
                <a:gd name="T10" fmla="*/ 4 w 31"/>
                <a:gd name="T11" fmla="*/ 1 h 66"/>
                <a:gd name="T12" fmla="*/ 4 w 31"/>
                <a:gd name="T13" fmla="*/ 1 h 66"/>
                <a:gd name="T14" fmla="*/ 3 w 31"/>
                <a:gd name="T15" fmla="*/ 1 h 66"/>
                <a:gd name="T16" fmla="*/ 3 w 31"/>
                <a:gd name="T17" fmla="*/ 0 h 66"/>
                <a:gd name="T18" fmla="*/ 2 w 31"/>
                <a:gd name="T19" fmla="*/ 1 h 66"/>
                <a:gd name="T20" fmla="*/ 2 w 31"/>
                <a:gd name="T21" fmla="*/ 0 h 66"/>
                <a:gd name="T22" fmla="*/ 2 w 31"/>
                <a:gd name="T23" fmla="*/ 1 h 66"/>
                <a:gd name="T24" fmla="*/ 1 w 31"/>
                <a:gd name="T25" fmla="*/ 1 h 66"/>
                <a:gd name="T26" fmla="*/ 1 w 31"/>
                <a:gd name="T27" fmla="*/ 2 h 66"/>
                <a:gd name="T28" fmla="*/ 1 w 31"/>
                <a:gd name="T29" fmla="*/ 2 h 66"/>
                <a:gd name="T30" fmla="*/ 1 w 31"/>
                <a:gd name="T31" fmla="*/ 3 h 66"/>
                <a:gd name="T32" fmla="*/ 1 w 31"/>
                <a:gd name="T33" fmla="*/ 4 h 66"/>
                <a:gd name="T34" fmla="*/ 1 w 31"/>
                <a:gd name="T35" fmla="*/ 4 h 66"/>
                <a:gd name="T36" fmla="*/ 2 w 31"/>
                <a:gd name="T37" fmla="*/ 4 h 66"/>
                <a:gd name="T38" fmla="*/ 2 w 31"/>
                <a:gd name="T39" fmla="*/ 4 h 66"/>
                <a:gd name="T40" fmla="*/ 2 w 31"/>
                <a:gd name="T41" fmla="*/ 5 h 66"/>
                <a:gd name="T42" fmla="*/ 2 w 31"/>
                <a:gd name="T43" fmla="*/ 5 h 66"/>
                <a:gd name="T44" fmla="*/ 1 w 31"/>
                <a:gd name="T45" fmla="*/ 5 h 66"/>
                <a:gd name="T46" fmla="*/ 1 w 31"/>
                <a:gd name="T47" fmla="*/ 5 h 66"/>
                <a:gd name="T48" fmla="*/ 1 w 31"/>
                <a:gd name="T49" fmla="*/ 6 h 66"/>
                <a:gd name="T50" fmla="*/ 0 w 31"/>
                <a:gd name="T51" fmla="*/ 7 h 66"/>
                <a:gd name="T52" fmla="*/ 0 w 31"/>
                <a:gd name="T53" fmla="*/ 7 h 66"/>
                <a:gd name="T54" fmla="*/ 1 w 31"/>
                <a:gd name="T55" fmla="*/ 8 h 66"/>
                <a:gd name="T56" fmla="*/ 1 w 31"/>
                <a:gd name="T57" fmla="*/ 7 h 66"/>
                <a:gd name="T58" fmla="*/ 2 w 31"/>
                <a:gd name="T59" fmla="*/ 7 h 66"/>
                <a:gd name="T60" fmla="*/ 3 w 31"/>
                <a:gd name="T61" fmla="*/ 6 h 66"/>
                <a:gd name="T62" fmla="*/ 3 w 31"/>
                <a:gd name="T63" fmla="*/ 6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66"/>
                <a:gd name="T98" fmla="*/ 31 w 31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66">
                  <a:moveTo>
                    <a:pt x="25" y="56"/>
                  </a:moveTo>
                  <a:lnTo>
                    <a:pt x="27" y="53"/>
                  </a:lnTo>
                  <a:lnTo>
                    <a:pt x="29" y="41"/>
                  </a:lnTo>
                  <a:lnTo>
                    <a:pt x="28" y="33"/>
                  </a:lnTo>
                  <a:lnTo>
                    <a:pt x="31" y="8"/>
                  </a:lnTo>
                  <a:lnTo>
                    <a:pt x="28" y="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9" y="11"/>
                  </a:lnTo>
                  <a:lnTo>
                    <a:pt x="4" y="16"/>
                  </a:lnTo>
                  <a:lnTo>
                    <a:pt x="4" y="29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13" y="37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5" y="41"/>
                  </a:lnTo>
                  <a:lnTo>
                    <a:pt x="10" y="41"/>
                  </a:lnTo>
                  <a:lnTo>
                    <a:pt x="7" y="44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14" y="62"/>
                  </a:lnTo>
                  <a:lnTo>
                    <a:pt x="22" y="56"/>
                  </a:lnTo>
                  <a:lnTo>
                    <a:pt x="25" y="5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98" name="Freeform 5"/>
            <p:cNvSpPr>
              <a:spLocks/>
            </p:cNvSpPr>
            <p:nvPr/>
          </p:nvSpPr>
          <p:spPr bwMode="auto">
            <a:xfrm>
              <a:off x="5180766" y="1622047"/>
              <a:ext cx="34527" cy="64937"/>
            </a:xfrm>
            <a:custGeom>
              <a:avLst/>
              <a:gdLst>
                <a:gd name="T0" fmla="*/ 3 w 31"/>
                <a:gd name="T1" fmla="*/ 6 h 66"/>
                <a:gd name="T2" fmla="*/ 4 w 31"/>
                <a:gd name="T3" fmla="*/ 6 h 66"/>
                <a:gd name="T4" fmla="*/ 4 w 31"/>
                <a:gd name="T5" fmla="*/ 5 h 66"/>
                <a:gd name="T6" fmla="*/ 4 w 31"/>
                <a:gd name="T7" fmla="*/ 4 h 66"/>
                <a:gd name="T8" fmla="*/ 4 w 31"/>
                <a:gd name="T9" fmla="*/ 1 h 66"/>
                <a:gd name="T10" fmla="*/ 4 w 31"/>
                <a:gd name="T11" fmla="*/ 1 h 66"/>
                <a:gd name="T12" fmla="*/ 4 w 31"/>
                <a:gd name="T13" fmla="*/ 1 h 66"/>
                <a:gd name="T14" fmla="*/ 3 w 31"/>
                <a:gd name="T15" fmla="*/ 1 h 66"/>
                <a:gd name="T16" fmla="*/ 3 w 31"/>
                <a:gd name="T17" fmla="*/ 0 h 66"/>
                <a:gd name="T18" fmla="*/ 2 w 31"/>
                <a:gd name="T19" fmla="*/ 1 h 66"/>
                <a:gd name="T20" fmla="*/ 2 w 31"/>
                <a:gd name="T21" fmla="*/ 0 h 66"/>
                <a:gd name="T22" fmla="*/ 2 w 31"/>
                <a:gd name="T23" fmla="*/ 1 h 66"/>
                <a:gd name="T24" fmla="*/ 1 w 31"/>
                <a:gd name="T25" fmla="*/ 1 h 66"/>
                <a:gd name="T26" fmla="*/ 1 w 31"/>
                <a:gd name="T27" fmla="*/ 2 h 66"/>
                <a:gd name="T28" fmla="*/ 1 w 31"/>
                <a:gd name="T29" fmla="*/ 2 h 66"/>
                <a:gd name="T30" fmla="*/ 1 w 31"/>
                <a:gd name="T31" fmla="*/ 3 h 66"/>
                <a:gd name="T32" fmla="*/ 1 w 31"/>
                <a:gd name="T33" fmla="*/ 4 h 66"/>
                <a:gd name="T34" fmla="*/ 1 w 31"/>
                <a:gd name="T35" fmla="*/ 4 h 66"/>
                <a:gd name="T36" fmla="*/ 2 w 31"/>
                <a:gd name="T37" fmla="*/ 4 h 66"/>
                <a:gd name="T38" fmla="*/ 2 w 31"/>
                <a:gd name="T39" fmla="*/ 4 h 66"/>
                <a:gd name="T40" fmla="*/ 2 w 31"/>
                <a:gd name="T41" fmla="*/ 5 h 66"/>
                <a:gd name="T42" fmla="*/ 2 w 31"/>
                <a:gd name="T43" fmla="*/ 5 h 66"/>
                <a:gd name="T44" fmla="*/ 1 w 31"/>
                <a:gd name="T45" fmla="*/ 5 h 66"/>
                <a:gd name="T46" fmla="*/ 1 w 31"/>
                <a:gd name="T47" fmla="*/ 5 h 66"/>
                <a:gd name="T48" fmla="*/ 1 w 31"/>
                <a:gd name="T49" fmla="*/ 6 h 66"/>
                <a:gd name="T50" fmla="*/ 0 w 31"/>
                <a:gd name="T51" fmla="*/ 7 h 66"/>
                <a:gd name="T52" fmla="*/ 0 w 31"/>
                <a:gd name="T53" fmla="*/ 7 h 66"/>
                <a:gd name="T54" fmla="*/ 1 w 31"/>
                <a:gd name="T55" fmla="*/ 8 h 66"/>
                <a:gd name="T56" fmla="*/ 1 w 31"/>
                <a:gd name="T57" fmla="*/ 7 h 66"/>
                <a:gd name="T58" fmla="*/ 2 w 31"/>
                <a:gd name="T59" fmla="*/ 7 h 66"/>
                <a:gd name="T60" fmla="*/ 3 w 31"/>
                <a:gd name="T61" fmla="*/ 6 h 66"/>
                <a:gd name="T62" fmla="*/ 3 w 31"/>
                <a:gd name="T63" fmla="*/ 6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66"/>
                <a:gd name="T98" fmla="*/ 31 w 31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66">
                  <a:moveTo>
                    <a:pt x="25" y="56"/>
                  </a:moveTo>
                  <a:lnTo>
                    <a:pt x="27" y="53"/>
                  </a:lnTo>
                  <a:lnTo>
                    <a:pt x="29" y="41"/>
                  </a:lnTo>
                  <a:lnTo>
                    <a:pt x="28" y="33"/>
                  </a:lnTo>
                  <a:lnTo>
                    <a:pt x="31" y="8"/>
                  </a:lnTo>
                  <a:lnTo>
                    <a:pt x="28" y="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9" y="11"/>
                  </a:lnTo>
                  <a:lnTo>
                    <a:pt x="4" y="16"/>
                  </a:lnTo>
                  <a:lnTo>
                    <a:pt x="4" y="29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13" y="37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5" y="41"/>
                  </a:lnTo>
                  <a:lnTo>
                    <a:pt x="10" y="41"/>
                  </a:lnTo>
                  <a:lnTo>
                    <a:pt x="7" y="44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14" y="62"/>
                  </a:lnTo>
                  <a:lnTo>
                    <a:pt x="22" y="56"/>
                  </a:lnTo>
                  <a:lnTo>
                    <a:pt x="25" y="5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99" name="Freeform 6"/>
            <p:cNvSpPr>
              <a:spLocks/>
            </p:cNvSpPr>
            <p:nvPr/>
          </p:nvSpPr>
          <p:spPr bwMode="auto">
            <a:xfrm>
              <a:off x="5138115" y="1675852"/>
              <a:ext cx="14216" cy="22265"/>
            </a:xfrm>
            <a:custGeom>
              <a:avLst/>
              <a:gdLst>
                <a:gd name="T0" fmla="*/ 0 w 16"/>
                <a:gd name="T1" fmla="*/ 4 h 20"/>
                <a:gd name="T2" fmla="*/ 0 w 16"/>
                <a:gd name="T3" fmla="*/ 3 h 20"/>
                <a:gd name="T4" fmla="*/ 0 w 16"/>
                <a:gd name="T5" fmla="*/ 2 h 20"/>
                <a:gd name="T6" fmla="*/ 1 w 16"/>
                <a:gd name="T7" fmla="*/ 1 h 20"/>
                <a:gd name="T8" fmla="*/ 1 w 16"/>
                <a:gd name="T9" fmla="*/ 0 h 20"/>
                <a:gd name="T10" fmla="*/ 0 w 16"/>
                <a:gd name="T11" fmla="*/ 2 h 20"/>
                <a:gd name="T12" fmla="*/ 0 w 16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2" y="20"/>
                  </a:moveTo>
                  <a:lnTo>
                    <a:pt x="8" y="17"/>
                  </a:lnTo>
                  <a:lnTo>
                    <a:pt x="8" y="13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0" y="12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0" name="Freeform 7"/>
            <p:cNvSpPr>
              <a:spLocks/>
            </p:cNvSpPr>
            <p:nvPr/>
          </p:nvSpPr>
          <p:spPr bwMode="auto">
            <a:xfrm>
              <a:off x="5138115" y="1675852"/>
              <a:ext cx="14216" cy="22265"/>
            </a:xfrm>
            <a:custGeom>
              <a:avLst/>
              <a:gdLst>
                <a:gd name="T0" fmla="*/ 0 w 16"/>
                <a:gd name="T1" fmla="*/ 4 h 20"/>
                <a:gd name="T2" fmla="*/ 0 w 16"/>
                <a:gd name="T3" fmla="*/ 3 h 20"/>
                <a:gd name="T4" fmla="*/ 0 w 16"/>
                <a:gd name="T5" fmla="*/ 2 h 20"/>
                <a:gd name="T6" fmla="*/ 1 w 16"/>
                <a:gd name="T7" fmla="*/ 1 h 20"/>
                <a:gd name="T8" fmla="*/ 1 w 16"/>
                <a:gd name="T9" fmla="*/ 0 h 20"/>
                <a:gd name="T10" fmla="*/ 0 w 16"/>
                <a:gd name="T11" fmla="*/ 2 h 20"/>
                <a:gd name="T12" fmla="*/ 0 w 16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2" y="20"/>
                  </a:moveTo>
                  <a:lnTo>
                    <a:pt x="8" y="17"/>
                  </a:lnTo>
                  <a:lnTo>
                    <a:pt x="8" y="13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0" y="12"/>
                  </a:lnTo>
                  <a:lnTo>
                    <a:pt x="2" y="2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1" name="Freeform 8"/>
            <p:cNvSpPr>
              <a:spLocks/>
            </p:cNvSpPr>
            <p:nvPr/>
          </p:nvSpPr>
          <p:spPr bwMode="auto">
            <a:xfrm>
              <a:off x="4614113" y="1152641"/>
              <a:ext cx="16248" cy="12987"/>
            </a:xfrm>
            <a:custGeom>
              <a:avLst/>
              <a:gdLst>
                <a:gd name="T0" fmla="*/ 1 w 14"/>
                <a:gd name="T1" fmla="*/ 2 h 13"/>
                <a:gd name="T2" fmla="*/ 2 w 14"/>
                <a:gd name="T3" fmla="*/ 1 h 13"/>
                <a:gd name="T4" fmla="*/ 2 w 14"/>
                <a:gd name="T5" fmla="*/ 1 h 13"/>
                <a:gd name="T6" fmla="*/ 2 w 14"/>
                <a:gd name="T7" fmla="*/ 1 h 13"/>
                <a:gd name="T8" fmla="*/ 1 w 14"/>
                <a:gd name="T9" fmla="*/ 0 h 13"/>
                <a:gd name="T10" fmla="*/ 0 w 14"/>
                <a:gd name="T11" fmla="*/ 1 h 13"/>
                <a:gd name="T12" fmla="*/ 1 w 14"/>
                <a:gd name="T13" fmla="*/ 1 h 13"/>
                <a:gd name="T14" fmla="*/ 1 w 14"/>
                <a:gd name="T15" fmla="*/ 2 h 13"/>
                <a:gd name="T16" fmla="*/ 1 w 14"/>
                <a:gd name="T17" fmla="*/ 2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3"/>
                <a:gd name="T29" fmla="*/ 14 w 1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3">
                  <a:moveTo>
                    <a:pt x="9" y="12"/>
                  </a:moveTo>
                  <a:lnTo>
                    <a:pt x="14" y="10"/>
                  </a:lnTo>
                  <a:lnTo>
                    <a:pt x="12" y="8"/>
                  </a:lnTo>
                  <a:lnTo>
                    <a:pt x="11" y="1"/>
                  </a:lnTo>
                  <a:lnTo>
                    <a:pt x="7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6" y="13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2" name="Freeform 9"/>
            <p:cNvSpPr>
              <a:spLocks/>
            </p:cNvSpPr>
            <p:nvPr/>
          </p:nvSpPr>
          <p:spPr bwMode="auto">
            <a:xfrm>
              <a:off x="4614113" y="1152641"/>
              <a:ext cx="16248" cy="12987"/>
            </a:xfrm>
            <a:custGeom>
              <a:avLst/>
              <a:gdLst>
                <a:gd name="T0" fmla="*/ 1 w 14"/>
                <a:gd name="T1" fmla="*/ 2 h 13"/>
                <a:gd name="T2" fmla="*/ 2 w 14"/>
                <a:gd name="T3" fmla="*/ 1 h 13"/>
                <a:gd name="T4" fmla="*/ 2 w 14"/>
                <a:gd name="T5" fmla="*/ 1 h 13"/>
                <a:gd name="T6" fmla="*/ 2 w 14"/>
                <a:gd name="T7" fmla="*/ 1 h 13"/>
                <a:gd name="T8" fmla="*/ 1 w 14"/>
                <a:gd name="T9" fmla="*/ 0 h 13"/>
                <a:gd name="T10" fmla="*/ 0 w 14"/>
                <a:gd name="T11" fmla="*/ 1 h 13"/>
                <a:gd name="T12" fmla="*/ 1 w 14"/>
                <a:gd name="T13" fmla="*/ 1 h 13"/>
                <a:gd name="T14" fmla="*/ 1 w 14"/>
                <a:gd name="T15" fmla="*/ 2 h 13"/>
                <a:gd name="T16" fmla="*/ 1 w 14"/>
                <a:gd name="T17" fmla="*/ 2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3"/>
                <a:gd name="T29" fmla="*/ 14 w 1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3">
                  <a:moveTo>
                    <a:pt x="9" y="12"/>
                  </a:moveTo>
                  <a:lnTo>
                    <a:pt x="14" y="10"/>
                  </a:lnTo>
                  <a:lnTo>
                    <a:pt x="12" y="8"/>
                  </a:lnTo>
                  <a:lnTo>
                    <a:pt x="11" y="1"/>
                  </a:lnTo>
                  <a:lnTo>
                    <a:pt x="7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6" y="13"/>
                  </a:lnTo>
                  <a:lnTo>
                    <a:pt x="9" y="12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3" name="Freeform 10"/>
            <p:cNvSpPr>
              <a:spLocks/>
            </p:cNvSpPr>
            <p:nvPr/>
          </p:nvSpPr>
          <p:spPr bwMode="auto">
            <a:xfrm>
              <a:off x="4640515" y="1202736"/>
              <a:ext cx="20310" cy="11132"/>
            </a:xfrm>
            <a:custGeom>
              <a:avLst/>
              <a:gdLst>
                <a:gd name="T0" fmla="*/ 4 w 15"/>
                <a:gd name="T1" fmla="*/ 1 h 11"/>
                <a:gd name="T2" fmla="*/ 4 w 15"/>
                <a:gd name="T3" fmla="*/ 1 h 11"/>
                <a:gd name="T4" fmla="*/ 3 w 15"/>
                <a:gd name="T5" fmla="*/ 1 h 11"/>
                <a:gd name="T6" fmla="*/ 2 w 15"/>
                <a:gd name="T7" fmla="*/ 0 h 11"/>
                <a:gd name="T8" fmla="*/ 1 w 15"/>
                <a:gd name="T9" fmla="*/ 1 h 11"/>
                <a:gd name="T10" fmla="*/ 0 w 15"/>
                <a:gd name="T11" fmla="*/ 1 h 11"/>
                <a:gd name="T12" fmla="*/ 1 w 15"/>
                <a:gd name="T13" fmla="*/ 2 h 11"/>
                <a:gd name="T14" fmla="*/ 1 w 15"/>
                <a:gd name="T15" fmla="*/ 1 h 11"/>
                <a:gd name="T16" fmla="*/ 3 w 15"/>
                <a:gd name="T17" fmla="*/ 2 h 11"/>
                <a:gd name="T18" fmla="*/ 4 w 15"/>
                <a:gd name="T19" fmla="*/ 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5" y="4"/>
                  </a:moveTo>
                  <a:lnTo>
                    <a:pt x="14" y="4"/>
                  </a:lnTo>
                  <a:lnTo>
                    <a:pt x="13" y="1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8"/>
                  </a:lnTo>
                  <a:lnTo>
                    <a:pt x="11" y="11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4" name="Freeform 11"/>
            <p:cNvSpPr>
              <a:spLocks/>
            </p:cNvSpPr>
            <p:nvPr/>
          </p:nvSpPr>
          <p:spPr bwMode="auto">
            <a:xfrm>
              <a:off x="4640515" y="1202736"/>
              <a:ext cx="20310" cy="11132"/>
            </a:xfrm>
            <a:custGeom>
              <a:avLst/>
              <a:gdLst>
                <a:gd name="T0" fmla="*/ 4 w 15"/>
                <a:gd name="T1" fmla="*/ 1 h 11"/>
                <a:gd name="T2" fmla="*/ 4 w 15"/>
                <a:gd name="T3" fmla="*/ 1 h 11"/>
                <a:gd name="T4" fmla="*/ 3 w 15"/>
                <a:gd name="T5" fmla="*/ 1 h 11"/>
                <a:gd name="T6" fmla="*/ 2 w 15"/>
                <a:gd name="T7" fmla="*/ 0 h 11"/>
                <a:gd name="T8" fmla="*/ 1 w 15"/>
                <a:gd name="T9" fmla="*/ 1 h 11"/>
                <a:gd name="T10" fmla="*/ 0 w 15"/>
                <a:gd name="T11" fmla="*/ 1 h 11"/>
                <a:gd name="T12" fmla="*/ 1 w 15"/>
                <a:gd name="T13" fmla="*/ 2 h 11"/>
                <a:gd name="T14" fmla="*/ 1 w 15"/>
                <a:gd name="T15" fmla="*/ 1 h 11"/>
                <a:gd name="T16" fmla="*/ 3 w 15"/>
                <a:gd name="T17" fmla="*/ 2 h 11"/>
                <a:gd name="T18" fmla="*/ 4 w 15"/>
                <a:gd name="T19" fmla="*/ 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5" y="4"/>
                  </a:moveTo>
                  <a:lnTo>
                    <a:pt x="14" y="4"/>
                  </a:lnTo>
                  <a:lnTo>
                    <a:pt x="13" y="1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8"/>
                  </a:lnTo>
                  <a:lnTo>
                    <a:pt x="11" y="11"/>
                  </a:lnTo>
                  <a:lnTo>
                    <a:pt x="15" y="4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5" name="Freeform 12"/>
            <p:cNvSpPr>
              <a:spLocks/>
            </p:cNvSpPr>
            <p:nvPr/>
          </p:nvSpPr>
          <p:spPr bwMode="auto">
            <a:xfrm>
              <a:off x="4687230" y="1234276"/>
              <a:ext cx="42651" cy="25976"/>
            </a:xfrm>
            <a:custGeom>
              <a:avLst/>
              <a:gdLst>
                <a:gd name="T0" fmla="*/ 5 w 35"/>
                <a:gd name="T1" fmla="*/ 3 h 26"/>
                <a:gd name="T2" fmla="*/ 6 w 35"/>
                <a:gd name="T3" fmla="*/ 3 h 26"/>
                <a:gd name="T4" fmla="*/ 4 w 35"/>
                <a:gd name="T5" fmla="*/ 0 h 26"/>
                <a:gd name="T6" fmla="*/ 1 w 35"/>
                <a:gd name="T7" fmla="*/ 1 h 26"/>
                <a:gd name="T8" fmla="*/ 0 w 35"/>
                <a:gd name="T9" fmla="*/ 2 h 26"/>
                <a:gd name="T10" fmla="*/ 1 w 35"/>
                <a:gd name="T11" fmla="*/ 2 h 26"/>
                <a:gd name="T12" fmla="*/ 2 w 35"/>
                <a:gd name="T13" fmla="*/ 2 h 26"/>
                <a:gd name="T14" fmla="*/ 3 w 35"/>
                <a:gd name="T15" fmla="*/ 2 h 26"/>
                <a:gd name="T16" fmla="*/ 2 w 35"/>
                <a:gd name="T17" fmla="*/ 3 h 26"/>
                <a:gd name="T18" fmla="*/ 4 w 35"/>
                <a:gd name="T19" fmla="*/ 3 h 26"/>
                <a:gd name="T20" fmla="*/ 5 w 35"/>
                <a:gd name="T21" fmla="*/ 3 h 26"/>
                <a:gd name="T22" fmla="*/ 5 w 35"/>
                <a:gd name="T23" fmla="*/ 2 h 26"/>
                <a:gd name="T24" fmla="*/ 5 w 35"/>
                <a:gd name="T25" fmla="*/ 3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26"/>
                <a:gd name="T41" fmla="*/ 35 w 35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26">
                  <a:moveTo>
                    <a:pt x="30" y="23"/>
                  </a:moveTo>
                  <a:lnTo>
                    <a:pt x="35" y="23"/>
                  </a:lnTo>
                  <a:lnTo>
                    <a:pt x="23" y="0"/>
                  </a:lnTo>
                  <a:lnTo>
                    <a:pt x="2" y="9"/>
                  </a:lnTo>
                  <a:lnTo>
                    <a:pt x="0" y="16"/>
                  </a:lnTo>
                  <a:lnTo>
                    <a:pt x="5" y="18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2" y="23"/>
                  </a:lnTo>
                  <a:lnTo>
                    <a:pt x="19" y="26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6" name="Freeform 13"/>
            <p:cNvSpPr>
              <a:spLocks/>
            </p:cNvSpPr>
            <p:nvPr/>
          </p:nvSpPr>
          <p:spPr bwMode="auto">
            <a:xfrm>
              <a:off x="4687230" y="1234276"/>
              <a:ext cx="42651" cy="25976"/>
            </a:xfrm>
            <a:custGeom>
              <a:avLst/>
              <a:gdLst>
                <a:gd name="T0" fmla="*/ 5 w 35"/>
                <a:gd name="T1" fmla="*/ 3 h 26"/>
                <a:gd name="T2" fmla="*/ 6 w 35"/>
                <a:gd name="T3" fmla="*/ 3 h 26"/>
                <a:gd name="T4" fmla="*/ 4 w 35"/>
                <a:gd name="T5" fmla="*/ 0 h 26"/>
                <a:gd name="T6" fmla="*/ 1 w 35"/>
                <a:gd name="T7" fmla="*/ 1 h 26"/>
                <a:gd name="T8" fmla="*/ 0 w 35"/>
                <a:gd name="T9" fmla="*/ 2 h 26"/>
                <a:gd name="T10" fmla="*/ 1 w 35"/>
                <a:gd name="T11" fmla="*/ 2 h 26"/>
                <a:gd name="T12" fmla="*/ 2 w 35"/>
                <a:gd name="T13" fmla="*/ 2 h 26"/>
                <a:gd name="T14" fmla="*/ 3 w 35"/>
                <a:gd name="T15" fmla="*/ 2 h 26"/>
                <a:gd name="T16" fmla="*/ 2 w 35"/>
                <a:gd name="T17" fmla="*/ 3 h 26"/>
                <a:gd name="T18" fmla="*/ 4 w 35"/>
                <a:gd name="T19" fmla="*/ 3 h 26"/>
                <a:gd name="T20" fmla="*/ 5 w 35"/>
                <a:gd name="T21" fmla="*/ 3 h 26"/>
                <a:gd name="T22" fmla="*/ 5 w 35"/>
                <a:gd name="T23" fmla="*/ 2 h 26"/>
                <a:gd name="T24" fmla="*/ 5 w 35"/>
                <a:gd name="T25" fmla="*/ 3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26"/>
                <a:gd name="T41" fmla="*/ 35 w 35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26">
                  <a:moveTo>
                    <a:pt x="30" y="23"/>
                  </a:moveTo>
                  <a:lnTo>
                    <a:pt x="35" y="23"/>
                  </a:lnTo>
                  <a:lnTo>
                    <a:pt x="23" y="0"/>
                  </a:lnTo>
                  <a:lnTo>
                    <a:pt x="2" y="9"/>
                  </a:lnTo>
                  <a:lnTo>
                    <a:pt x="0" y="16"/>
                  </a:lnTo>
                  <a:lnTo>
                    <a:pt x="5" y="18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2" y="23"/>
                  </a:lnTo>
                  <a:lnTo>
                    <a:pt x="19" y="26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30" y="2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7" name="Freeform 14"/>
            <p:cNvSpPr>
              <a:spLocks/>
            </p:cNvSpPr>
            <p:nvPr/>
          </p:nvSpPr>
          <p:spPr bwMode="auto">
            <a:xfrm>
              <a:off x="4687229" y="1280661"/>
              <a:ext cx="14216" cy="25976"/>
            </a:xfrm>
            <a:custGeom>
              <a:avLst/>
              <a:gdLst>
                <a:gd name="T0" fmla="*/ 1 w 11"/>
                <a:gd name="T1" fmla="*/ 4 h 24"/>
                <a:gd name="T2" fmla="*/ 2 w 11"/>
                <a:gd name="T3" fmla="*/ 4 h 24"/>
                <a:gd name="T4" fmla="*/ 3 w 11"/>
                <a:gd name="T5" fmla="*/ 1 h 24"/>
                <a:gd name="T6" fmla="*/ 2 w 11"/>
                <a:gd name="T7" fmla="*/ 1 h 24"/>
                <a:gd name="T8" fmla="*/ 0 w 11"/>
                <a:gd name="T9" fmla="*/ 0 h 24"/>
                <a:gd name="T10" fmla="*/ 0 w 11"/>
                <a:gd name="T11" fmla="*/ 1 h 24"/>
                <a:gd name="T12" fmla="*/ 1 w 11"/>
                <a:gd name="T13" fmla="*/ 2 h 24"/>
                <a:gd name="T14" fmla="*/ 1 w 11"/>
                <a:gd name="T15" fmla="*/ 4 h 24"/>
                <a:gd name="T16" fmla="*/ 1 w 11"/>
                <a:gd name="T17" fmla="*/ 4 h 24"/>
                <a:gd name="T18" fmla="*/ 1 w 11"/>
                <a:gd name="T19" fmla="*/ 4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24"/>
                <a:gd name="T32" fmla="*/ 11 w 11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24">
                  <a:moveTo>
                    <a:pt x="4" y="24"/>
                  </a:moveTo>
                  <a:lnTo>
                    <a:pt x="9" y="20"/>
                  </a:lnTo>
                  <a:lnTo>
                    <a:pt x="11" y="5"/>
                  </a:lnTo>
                  <a:lnTo>
                    <a:pt x="9" y="1"/>
                  </a:lnTo>
                  <a:lnTo>
                    <a:pt x="0" y="0"/>
                  </a:lnTo>
                  <a:lnTo>
                    <a:pt x="0" y="8"/>
                  </a:lnTo>
                  <a:lnTo>
                    <a:pt x="5" y="14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8" name="Freeform 15"/>
            <p:cNvSpPr>
              <a:spLocks/>
            </p:cNvSpPr>
            <p:nvPr/>
          </p:nvSpPr>
          <p:spPr bwMode="auto">
            <a:xfrm>
              <a:off x="4687229" y="1280661"/>
              <a:ext cx="14216" cy="25976"/>
            </a:xfrm>
            <a:custGeom>
              <a:avLst/>
              <a:gdLst>
                <a:gd name="T0" fmla="*/ 1 w 11"/>
                <a:gd name="T1" fmla="*/ 4 h 24"/>
                <a:gd name="T2" fmla="*/ 2 w 11"/>
                <a:gd name="T3" fmla="*/ 4 h 24"/>
                <a:gd name="T4" fmla="*/ 3 w 11"/>
                <a:gd name="T5" fmla="*/ 1 h 24"/>
                <a:gd name="T6" fmla="*/ 2 w 11"/>
                <a:gd name="T7" fmla="*/ 1 h 24"/>
                <a:gd name="T8" fmla="*/ 0 w 11"/>
                <a:gd name="T9" fmla="*/ 0 h 24"/>
                <a:gd name="T10" fmla="*/ 0 w 11"/>
                <a:gd name="T11" fmla="*/ 1 h 24"/>
                <a:gd name="T12" fmla="*/ 1 w 11"/>
                <a:gd name="T13" fmla="*/ 2 h 24"/>
                <a:gd name="T14" fmla="*/ 1 w 11"/>
                <a:gd name="T15" fmla="*/ 4 h 24"/>
                <a:gd name="T16" fmla="*/ 1 w 11"/>
                <a:gd name="T17" fmla="*/ 4 h 24"/>
                <a:gd name="T18" fmla="*/ 1 w 11"/>
                <a:gd name="T19" fmla="*/ 4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24"/>
                <a:gd name="T32" fmla="*/ 11 w 11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24">
                  <a:moveTo>
                    <a:pt x="4" y="24"/>
                  </a:moveTo>
                  <a:lnTo>
                    <a:pt x="9" y="20"/>
                  </a:lnTo>
                  <a:lnTo>
                    <a:pt x="11" y="5"/>
                  </a:lnTo>
                  <a:lnTo>
                    <a:pt x="9" y="1"/>
                  </a:lnTo>
                  <a:lnTo>
                    <a:pt x="0" y="0"/>
                  </a:lnTo>
                  <a:lnTo>
                    <a:pt x="0" y="8"/>
                  </a:lnTo>
                  <a:lnTo>
                    <a:pt x="5" y="14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4" y="2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9" name="Freeform 16"/>
            <p:cNvSpPr>
              <a:spLocks/>
            </p:cNvSpPr>
            <p:nvPr/>
          </p:nvSpPr>
          <p:spPr bwMode="auto">
            <a:xfrm>
              <a:off x="4792842" y="1406826"/>
              <a:ext cx="28434" cy="29686"/>
            </a:xfrm>
            <a:custGeom>
              <a:avLst/>
              <a:gdLst>
                <a:gd name="T0" fmla="*/ 2 w 25"/>
                <a:gd name="T1" fmla="*/ 3 h 30"/>
                <a:gd name="T2" fmla="*/ 2 w 25"/>
                <a:gd name="T3" fmla="*/ 3 h 30"/>
                <a:gd name="T4" fmla="*/ 2 w 25"/>
                <a:gd name="T5" fmla="*/ 2 h 30"/>
                <a:gd name="T6" fmla="*/ 3 w 25"/>
                <a:gd name="T7" fmla="*/ 1 h 30"/>
                <a:gd name="T8" fmla="*/ 3 w 25"/>
                <a:gd name="T9" fmla="*/ 0 h 30"/>
                <a:gd name="T10" fmla="*/ 2 w 25"/>
                <a:gd name="T11" fmla="*/ 1 h 30"/>
                <a:gd name="T12" fmla="*/ 1 w 25"/>
                <a:gd name="T13" fmla="*/ 2 h 30"/>
                <a:gd name="T14" fmla="*/ 0 w 25"/>
                <a:gd name="T15" fmla="*/ 3 h 30"/>
                <a:gd name="T16" fmla="*/ 0 w 25"/>
                <a:gd name="T17" fmla="*/ 4 h 30"/>
                <a:gd name="T18" fmla="*/ 2 w 25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0"/>
                <a:gd name="T32" fmla="*/ 25 w 25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0">
                  <a:moveTo>
                    <a:pt x="16" y="22"/>
                  </a:moveTo>
                  <a:lnTo>
                    <a:pt x="19" y="21"/>
                  </a:lnTo>
                  <a:lnTo>
                    <a:pt x="20" y="16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13" y="5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6" y="2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0" name="Freeform 17"/>
            <p:cNvSpPr>
              <a:spLocks/>
            </p:cNvSpPr>
            <p:nvPr/>
          </p:nvSpPr>
          <p:spPr bwMode="auto">
            <a:xfrm>
              <a:off x="4792842" y="1406826"/>
              <a:ext cx="28434" cy="29686"/>
            </a:xfrm>
            <a:custGeom>
              <a:avLst/>
              <a:gdLst>
                <a:gd name="T0" fmla="*/ 2 w 25"/>
                <a:gd name="T1" fmla="*/ 3 h 30"/>
                <a:gd name="T2" fmla="*/ 2 w 25"/>
                <a:gd name="T3" fmla="*/ 3 h 30"/>
                <a:gd name="T4" fmla="*/ 2 w 25"/>
                <a:gd name="T5" fmla="*/ 2 h 30"/>
                <a:gd name="T6" fmla="*/ 3 w 25"/>
                <a:gd name="T7" fmla="*/ 1 h 30"/>
                <a:gd name="T8" fmla="*/ 3 w 25"/>
                <a:gd name="T9" fmla="*/ 0 h 30"/>
                <a:gd name="T10" fmla="*/ 2 w 25"/>
                <a:gd name="T11" fmla="*/ 1 h 30"/>
                <a:gd name="T12" fmla="*/ 1 w 25"/>
                <a:gd name="T13" fmla="*/ 2 h 30"/>
                <a:gd name="T14" fmla="*/ 0 w 25"/>
                <a:gd name="T15" fmla="*/ 3 h 30"/>
                <a:gd name="T16" fmla="*/ 0 w 25"/>
                <a:gd name="T17" fmla="*/ 4 h 30"/>
                <a:gd name="T18" fmla="*/ 2 w 25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0"/>
                <a:gd name="T32" fmla="*/ 25 w 25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0">
                  <a:moveTo>
                    <a:pt x="16" y="22"/>
                  </a:moveTo>
                  <a:lnTo>
                    <a:pt x="19" y="21"/>
                  </a:lnTo>
                  <a:lnTo>
                    <a:pt x="20" y="16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13" y="5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6" y="2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1" name="Freeform 18"/>
            <p:cNvSpPr>
              <a:spLocks/>
            </p:cNvSpPr>
            <p:nvPr/>
          </p:nvSpPr>
          <p:spPr bwMode="auto">
            <a:xfrm>
              <a:off x="4559275" y="1455064"/>
              <a:ext cx="152326" cy="38963"/>
            </a:xfrm>
            <a:custGeom>
              <a:avLst/>
              <a:gdLst>
                <a:gd name="T0" fmla="*/ 12 w 128"/>
                <a:gd name="T1" fmla="*/ 2 h 40"/>
                <a:gd name="T2" fmla="*/ 11 w 128"/>
                <a:gd name="T3" fmla="*/ 2 h 40"/>
                <a:gd name="T4" fmla="*/ 6 w 128"/>
                <a:gd name="T5" fmla="*/ 2 h 40"/>
                <a:gd name="T6" fmla="*/ 5 w 128"/>
                <a:gd name="T7" fmla="*/ 1 h 40"/>
                <a:gd name="T8" fmla="*/ 5 w 128"/>
                <a:gd name="T9" fmla="*/ 1 h 40"/>
                <a:gd name="T10" fmla="*/ 5 w 128"/>
                <a:gd name="T11" fmla="*/ 1 h 40"/>
                <a:gd name="T12" fmla="*/ 5 w 128"/>
                <a:gd name="T13" fmla="*/ 1 h 40"/>
                <a:gd name="T14" fmla="*/ 4 w 128"/>
                <a:gd name="T15" fmla="*/ 1 h 40"/>
                <a:gd name="T16" fmla="*/ 2 w 128"/>
                <a:gd name="T17" fmla="*/ 0 h 40"/>
                <a:gd name="T18" fmla="*/ 2 w 128"/>
                <a:gd name="T19" fmla="*/ 0 h 40"/>
                <a:gd name="T20" fmla="*/ 1 w 128"/>
                <a:gd name="T21" fmla="*/ 1 h 40"/>
                <a:gd name="T22" fmla="*/ 1 w 128"/>
                <a:gd name="T23" fmla="*/ 1 h 40"/>
                <a:gd name="T24" fmla="*/ 0 w 128"/>
                <a:gd name="T25" fmla="*/ 3 h 40"/>
                <a:gd name="T26" fmla="*/ 5 w 128"/>
                <a:gd name="T27" fmla="*/ 3 h 40"/>
                <a:gd name="T28" fmla="*/ 7 w 128"/>
                <a:gd name="T29" fmla="*/ 3 h 40"/>
                <a:gd name="T30" fmla="*/ 8 w 128"/>
                <a:gd name="T31" fmla="*/ 3 h 40"/>
                <a:gd name="T32" fmla="*/ 9 w 128"/>
                <a:gd name="T33" fmla="*/ 4 h 40"/>
                <a:gd name="T34" fmla="*/ 9 w 128"/>
                <a:gd name="T35" fmla="*/ 4 h 40"/>
                <a:gd name="T36" fmla="*/ 18 w 128"/>
                <a:gd name="T37" fmla="*/ 4 h 40"/>
                <a:gd name="T38" fmla="*/ 19 w 128"/>
                <a:gd name="T39" fmla="*/ 4 h 40"/>
                <a:gd name="T40" fmla="*/ 21 w 128"/>
                <a:gd name="T41" fmla="*/ 3 h 40"/>
                <a:gd name="T42" fmla="*/ 21 w 128"/>
                <a:gd name="T43" fmla="*/ 2 h 40"/>
                <a:gd name="T44" fmla="*/ 18 w 128"/>
                <a:gd name="T45" fmla="*/ 3 h 40"/>
                <a:gd name="T46" fmla="*/ 17 w 128"/>
                <a:gd name="T47" fmla="*/ 3 h 40"/>
                <a:gd name="T48" fmla="*/ 16 w 128"/>
                <a:gd name="T49" fmla="*/ 2 h 40"/>
                <a:gd name="T50" fmla="*/ 12 w 128"/>
                <a:gd name="T51" fmla="*/ 2 h 40"/>
                <a:gd name="T52" fmla="*/ 12 w 128"/>
                <a:gd name="T53" fmla="*/ 2 h 40"/>
                <a:gd name="T54" fmla="*/ 12 w 128"/>
                <a:gd name="T55" fmla="*/ 2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8"/>
                <a:gd name="T85" fmla="*/ 0 h 40"/>
                <a:gd name="T86" fmla="*/ 128 w 128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8" h="40">
                  <a:moveTo>
                    <a:pt x="71" y="13"/>
                  </a:moveTo>
                  <a:lnTo>
                    <a:pt x="64" y="11"/>
                  </a:lnTo>
                  <a:lnTo>
                    <a:pt x="39" y="15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30" y="5"/>
                  </a:lnTo>
                  <a:lnTo>
                    <a:pt x="27" y="1"/>
                  </a:lnTo>
                  <a:lnTo>
                    <a:pt x="22" y="5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6"/>
                  </a:lnTo>
                  <a:lnTo>
                    <a:pt x="4" y="5"/>
                  </a:lnTo>
                  <a:lnTo>
                    <a:pt x="0" y="23"/>
                  </a:lnTo>
                  <a:lnTo>
                    <a:pt x="30" y="22"/>
                  </a:lnTo>
                  <a:lnTo>
                    <a:pt x="43" y="25"/>
                  </a:lnTo>
                  <a:lnTo>
                    <a:pt x="48" y="30"/>
                  </a:lnTo>
                  <a:lnTo>
                    <a:pt x="55" y="32"/>
                  </a:lnTo>
                  <a:lnTo>
                    <a:pt x="59" y="40"/>
                  </a:lnTo>
                  <a:lnTo>
                    <a:pt x="112" y="33"/>
                  </a:lnTo>
                  <a:lnTo>
                    <a:pt x="120" y="37"/>
                  </a:lnTo>
                  <a:lnTo>
                    <a:pt x="128" y="24"/>
                  </a:lnTo>
                  <a:lnTo>
                    <a:pt x="126" y="20"/>
                  </a:lnTo>
                  <a:lnTo>
                    <a:pt x="111" y="25"/>
                  </a:lnTo>
                  <a:lnTo>
                    <a:pt x="104" y="23"/>
                  </a:lnTo>
                  <a:lnTo>
                    <a:pt x="100" y="17"/>
                  </a:lnTo>
                  <a:lnTo>
                    <a:pt x="76" y="17"/>
                  </a:lnTo>
                  <a:lnTo>
                    <a:pt x="71" y="16"/>
                  </a:lnTo>
                  <a:lnTo>
                    <a:pt x="71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2" name="Freeform 19"/>
            <p:cNvSpPr>
              <a:spLocks/>
            </p:cNvSpPr>
            <p:nvPr/>
          </p:nvSpPr>
          <p:spPr bwMode="auto">
            <a:xfrm>
              <a:off x="4559275" y="1455064"/>
              <a:ext cx="152326" cy="38963"/>
            </a:xfrm>
            <a:custGeom>
              <a:avLst/>
              <a:gdLst>
                <a:gd name="T0" fmla="*/ 12 w 128"/>
                <a:gd name="T1" fmla="*/ 2 h 40"/>
                <a:gd name="T2" fmla="*/ 11 w 128"/>
                <a:gd name="T3" fmla="*/ 2 h 40"/>
                <a:gd name="T4" fmla="*/ 6 w 128"/>
                <a:gd name="T5" fmla="*/ 2 h 40"/>
                <a:gd name="T6" fmla="*/ 5 w 128"/>
                <a:gd name="T7" fmla="*/ 1 h 40"/>
                <a:gd name="T8" fmla="*/ 5 w 128"/>
                <a:gd name="T9" fmla="*/ 1 h 40"/>
                <a:gd name="T10" fmla="*/ 5 w 128"/>
                <a:gd name="T11" fmla="*/ 1 h 40"/>
                <a:gd name="T12" fmla="*/ 5 w 128"/>
                <a:gd name="T13" fmla="*/ 1 h 40"/>
                <a:gd name="T14" fmla="*/ 4 w 128"/>
                <a:gd name="T15" fmla="*/ 1 h 40"/>
                <a:gd name="T16" fmla="*/ 2 w 128"/>
                <a:gd name="T17" fmla="*/ 0 h 40"/>
                <a:gd name="T18" fmla="*/ 2 w 128"/>
                <a:gd name="T19" fmla="*/ 0 h 40"/>
                <a:gd name="T20" fmla="*/ 1 w 128"/>
                <a:gd name="T21" fmla="*/ 1 h 40"/>
                <a:gd name="T22" fmla="*/ 1 w 128"/>
                <a:gd name="T23" fmla="*/ 1 h 40"/>
                <a:gd name="T24" fmla="*/ 0 w 128"/>
                <a:gd name="T25" fmla="*/ 3 h 40"/>
                <a:gd name="T26" fmla="*/ 5 w 128"/>
                <a:gd name="T27" fmla="*/ 3 h 40"/>
                <a:gd name="T28" fmla="*/ 7 w 128"/>
                <a:gd name="T29" fmla="*/ 3 h 40"/>
                <a:gd name="T30" fmla="*/ 8 w 128"/>
                <a:gd name="T31" fmla="*/ 3 h 40"/>
                <a:gd name="T32" fmla="*/ 9 w 128"/>
                <a:gd name="T33" fmla="*/ 4 h 40"/>
                <a:gd name="T34" fmla="*/ 9 w 128"/>
                <a:gd name="T35" fmla="*/ 4 h 40"/>
                <a:gd name="T36" fmla="*/ 18 w 128"/>
                <a:gd name="T37" fmla="*/ 4 h 40"/>
                <a:gd name="T38" fmla="*/ 19 w 128"/>
                <a:gd name="T39" fmla="*/ 4 h 40"/>
                <a:gd name="T40" fmla="*/ 21 w 128"/>
                <a:gd name="T41" fmla="*/ 3 h 40"/>
                <a:gd name="T42" fmla="*/ 21 w 128"/>
                <a:gd name="T43" fmla="*/ 2 h 40"/>
                <a:gd name="T44" fmla="*/ 18 w 128"/>
                <a:gd name="T45" fmla="*/ 3 h 40"/>
                <a:gd name="T46" fmla="*/ 17 w 128"/>
                <a:gd name="T47" fmla="*/ 3 h 40"/>
                <a:gd name="T48" fmla="*/ 16 w 128"/>
                <a:gd name="T49" fmla="*/ 2 h 40"/>
                <a:gd name="T50" fmla="*/ 12 w 128"/>
                <a:gd name="T51" fmla="*/ 2 h 40"/>
                <a:gd name="T52" fmla="*/ 12 w 128"/>
                <a:gd name="T53" fmla="*/ 2 h 40"/>
                <a:gd name="T54" fmla="*/ 12 w 128"/>
                <a:gd name="T55" fmla="*/ 2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8"/>
                <a:gd name="T85" fmla="*/ 0 h 40"/>
                <a:gd name="T86" fmla="*/ 128 w 128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8" h="40">
                  <a:moveTo>
                    <a:pt x="71" y="13"/>
                  </a:moveTo>
                  <a:lnTo>
                    <a:pt x="64" y="11"/>
                  </a:lnTo>
                  <a:lnTo>
                    <a:pt x="39" y="15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30" y="5"/>
                  </a:lnTo>
                  <a:lnTo>
                    <a:pt x="27" y="1"/>
                  </a:lnTo>
                  <a:lnTo>
                    <a:pt x="22" y="5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6"/>
                  </a:lnTo>
                  <a:lnTo>
                    <a:pt x="4" y="5"/>
                  </a:lnTo>
                  <a:lnTo>
                    <a:pt x="0" y="23"/>
                  </a:lnTo>
                  <a:lnTo>
                    <a:pt x="30" y="22"/>
                  </a:lnTo>
                  <a:lnTo>
                    <a:pt x="43" y="25"/>
                  </a:lnTo>
                  <a:lnTo>
                    <a:pt x="48" y="30"/>
                  </a:lnTo>
                  <a:lnTo>
                    <a:pt x="55" y="32"/>
                  </a:lnTo>
                  <a:lnTo>
                    <a:pt x="59" y="40"/>
                  </a:lnTo>
                  <a:lnTo>
                    <a:pt x="112" y="33"/>
                  </a:lnTo>
                  <a:lnTo>
                    <a:pt x="120" y="37"/>
                  </a:lnTo>
                  <a:lnTo>
                    <a:pt x="128" y="24"/>
                  </a:lnTo>
                  <a:lnTo>
                    <a:pt x="126" y="20"/>
                  </a:lnTo>
                  <a:lnTo>
                    <a:pt x="111" y="25"/>
                  </a:lnTo>
                  <a:lnTo>
                    <a:pt x="104" y="23"/>
                  </a:lnTo>
                  <a:lnTo>
                    <a:pt x="100" y="17"/>
                  </a:lnTo>
                  <a:lnTo>
                    <a:pt x="76" y="17"/>
                  </a:lnTo>
                  <a:lnTo>
                    <a:pt x="71" y="16"/>
                  </a:lnTo>
                  <a:lnTo>
                    <a:pt x="71" y="1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3" name="Freeform 20"/>
            <p:cNvSpPr>
              <a:spLocks/>
            </p:cNvSpPr>
            <p:nvPr/>
          </p:nvSpPr>
          <p:spPr bwMode="auto">
            <a:xfrm>
              <a:off x="4624267" y="1321479"/>
              <a:ext cx="16248" cy="16699"/>
            </a:xfrm>
            <a:custGeom>
              <a:avLst/>
              <a:gdLst>
                <a:gd name="T0" fmla="*/ 2 w 14"/>
                <a:gd name="T1" fmla="*/ 1 h 19"/>
                <a:gd name="T2" fmla="*/ 2 w 14"/>
                <a:gd name="T3" fmla="*/ 1 h 19"/>
                <a:gd name="T4" fmla="*/ 2 w 14"/>
                <a:gd name="T5" fmla="*/ 0 h 19"/>
                <a:gd name="T6" fmla="*/ 2 w 14"/>
                <a:gd name="T7" fmla="*/ 0 h 19"/>
                <a:gd name="T8" fmla="*/ 1 w 14"/>
                <a:gd name="T9" fmla="*/ 0 h 19"/>
                <a:gd name="T10" fmla="*/ 0 w 14"/>
                <a:gd name="T11" fmla="*/ 0 h 19"/>
                <a:gd name="T12" fmla="*/ 0 w 14"/>
                <a:gd name="T13" fmla="*/ 0 h 19"/>
                <a:gd name="T14" fmla="*/ 1 w 14"/>
                <a:gd name="T15" fmla="*/ 0 h 19"/>
                <a:gd name="T16" fmla="*/ 1 w 14"/>
                <a:gd name="T17" fmla="*/ 1 h 19"/>
                <a:gd name="T18" fmla="*/ 2 w 14"/>
                <a:gd name="T19" fmla="*/ 1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9"/>
                <a:gd name="T32" fmla="*/ 14 w 1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9">
                  <a:moveTo>
                    <a:pt x="10" y="19"/>
                  </a:moveTo>
                  <a:lnTo>
                    <a:pt x="14" y="16"/>
                  </a:lnTo>
                  <a:lnTo>
                    <a:pt x="14" y="10"/>
                  </a:lnTo>
                  <a:lnTo>
                    <a:pt x="13" y="6"/>
                  </a:lnTo>
                  <a:lnTo>
                    <a:pt x="6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4" y="9"/>
                  </a:lnTo>
                  <a:lnTo>
                    <a:pt x="8" y="18"/>
                  </a:lnTo>
                  <a:lnTo>
                    <a:pt x="10" y="1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4" name="Freeform 21"/>
            <p:cNvSpPr>
              <a:spLocks/>
            </p:cNvSpPr>
            <p:nvPr/>
          </p:nvSpPr>
          <p:spPr bwMode="auto">
            <a:xfrm>
              <a:off x="4624267" y="1321479"/>
              <a:ext cx="16248" cy="16699"/>
            </a:xfrm>
            <a:custGeom>
              <a:avLst/>
              <a:gdLst>
                <a:gd name="T0" fmla="*/ 2 w 14"/>
                <a:gd name="T1" fmla="*/ 1 h 19"/>
                <a:gd name="T2" fmla="*/ 2 w 14"/>
                <a:gd name="T3" fmla="*/ 1 h 19"/>
                <a:gd name="T4" fmla="*/ 2 w 14"/>
                <a:gd name="T5" fmla="*/ 0 h 19"/>
                <a:gd name="T6" fmla="*/ 2 w 14"/>
                <a:gd name="T7" fmla="*/ 0 h 19"/>
                <a:gd name="T8" fmla="*/ 1 w 14"/>
                <a:gd name="T9" fmla="*/ 0 h 19"/>
                <a:gd name="T10" fmla="*/ 0 w 14"/>
                <a:gd name="T11" fmla="*/ 0 h 19"/>
                <a:gd name="T12" fmla="*/ 0 w 14"/>
                <a:gd name="T13" fmla="*/ 0 h 19"/>
                <a:gd name="T14" fmla="*/ 1 w 14"/>
                <a:gd name="T15" fmla="*/ 0 h 19"/>
                <a:gd name="T16" fmla="*/ 1 w 14"/>
                <a:gd name="T17" fmla="*/ 1 h 19"/>
                <a:gd name="T18" fmla="*/ 2 w 14"/>
                <a:gd name="T19" fmla="*/ 1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9"/>
                <a:gd name="T32" fmla="*/ 14 w 1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9">
                  <a:moveTo>
                    <a:pt x="10" y="19"/>
                  </a:moveTo>
                  <a:lnTo>
                    <a:pt x="14" y="16"/>
                  </a:lnTo>
                  <a:lnTo>
                    <a:pt x="14" y="10"/>
                  </a:lnTo>
                  <a:lnTo>
                    <a:pt x="13" y="6"/>
                  </a:lnTo>
                  <a:lnTo>
                    <a:pt x="6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4" y="9"/>
                  </a:lnTo>
                  <a:lnTo>
                    <a:pt x="8" y="18"/>
                  </a:lnTo>
                  <a:lnTo>
                    <a:pt x="10" y="19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5" name="Freeform 22"/>
            <p:cNvSpPr>
              <a:spLocks/>
            </p:cNvSpPr>
            <p:nvPr/>
          </p:nvSpPr>
          <p:spPr bwMode="auto">
            <a:xfrm>
              <a:off x="4660826" y="1366007"/>
              <a:ext cx="12186" cy="14843"/>
            </a:xfrm>
            <a:custGeom>
              <a:avLst/>
              <a:gdLst>
                <a:gd name="T0" fmla="*/ 1 w 9"/>
                <a:gd name="T1" fmla="*/ 2 h 14"/>
                <a:gd name="T2" fmla="*/ 1 w 9"/>
                <a:gd name="T3" fmla="*/ 2 h 14"/>
                <a:gd name="T4" fmla="*/ 2 w 9"/>
                <a:gd name="T5" fmla="*/ 0 h 14"/>
                <a:gd name="T6" fmla="*/ 1 w 9"/>
                <a:gd name="T7" fmla="*/ 1 h 14"/>
                <a:gd name="T8" fmla="*/ 0 w 9"/>
                <a:gd name="T9" fmla="*/ 1 h 14"/>
                <a:gd name="T10" fmla="*/ 0 w 9"/>
                <a:gd name="T11" fmla="*/ 2 h 14"/>
                <a:gd name="T12" fmla="*/ 1 w 9"/>
                <a:gd name="T13" fmla="*/ 2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4"/>
                <a:gd name="T23" fmla="*/ 9 w 9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4">
                  <a:moveTo>
                    <a:pt x="2" y="14"/>
                  </a:moveTo>
                  <a:lnTo>
                    <a:pt x="7" y="13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3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6" name="Freeform 23"/>
            <p:cNvSpPr>
              <a:spLocks/>
            </p:cNvSpPr>
            <p:nvPr/>
          </p:nvSpPr>
          <p:spPr bwMode="auto">
            <a:xfrm>
              <a:off x="4660826" y="1366007"/>
              <a:ext cx="12186" cy="14843"/>
            </a:xfrm>
            <a:custGeom>
              <a:avLst/>
              <a:gdLst>
                <a:gd name="T0" fmla="*/ 1 w 9"/>
                <a:gd name="T1" fmla="*/ 2 h 14"/>
                <a:gd name="T2" fmla="*/ 1 w 9"/>
                <a:gd name="T3" fmla="*/ 2 h 14"/>
                <a:gd name="T4" fmla="*/ 2 w 9"/>
                <a:gd name="T5" fmla="*/ 0 h 14"/>
                <a:gd name="T6" fmla="*/ 1 w 9"/>
                <a:gd name="T7" fmla="*/ 1 h 14"/>
                <a:gd name="T8" fmla="*/ 0 w 9"/>
                <a:gd name="T9" fmla="*/ 1 h 14"/>
                <a:gd name="T10" fmla="*/ 0 w 9"/>
                <a:gd name="T11" fmla="*/ 2 h 14"/>
                <a:gd name="T12" fmla="*/ 1 w 9"/>
                <a:gd name="T13" fmla="*/ 2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4"/>
                <a:gd name="T23" fmla="*/ 9 w 9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4">
                  <a:moveTo>
                    <a:pt x="2" y="14"/>
                  </a:moveTo>
                  <a:lnTo>
                    <a:pt x="7" y="13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3"/>
                  </a:lnTo>
                  <a:lnTo>
                    <a:pt x="2" y="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7" name="Freeform 24"/>
            <p:cNvSpPr>
              <a:spLocks/>
            </p:cNvSpPr>
            <p:nvPr/>
          </p:nvSpPr>
          <p:spPr bwMode="auto">
            <a:xfrm>
              <a:off x="4427260" y="1301070"/>
              <a:ext cx="127953" cy="107612"/>
            </a:xfrm>
            <a:custGeom>
              <a:avLst/>
              <a:gdLst>
                <a:gd name="T0" fmla="*/ 6 w 107"/>
                <a:gd name="T1" fmla="*/ 0 h 109"/>
                <a:gd name="T2" fmla="*/ 5 w 107"/>
                <a:gd name="T3" fmla="*/ 1 h 109"/>
                <a:gd name="T4" fmla="*/ 3 w 107"/>
                <a:gd name="T5" fmla="*/ 1 h 109"/>
                <a:gd name="T6" fmla="*/ 2 w 107"/>
                <a:gd name="T7" fmla="*/ 1 h 109"/>
                <a:gd name="T8" fmla="*/ 1 w 107"/>
                <a:gd name="T9" fmla="*/ 3 h 109"/>
                <a:gd name="T10" fmla="*/ 0 w 107"/>
                <a:gd name="T11" fmla="*/ 3 h 109"/>
                <a:gd name="T12" fmla="*/ 1 w 107"/>
                <a:gd name="T13" fmla="*/ 5 h 109"/>
                <a:gd name="T14" fmla="*/ 3 w 107"/>
                <a:gd name="T15" fmla="*/ 5 h 109"/>
                <a:gd name="T16" fmla="*/ 4 w 107"/>
                <a:gd name="T17" fmla="*/ 7 h 109"/>
                <a:gd name="T18" fmla="*/ 4 w 107"/>
                <a:gd name="T19" fmla="*/ 8 h 109"/>
                <a:gd name="T20" fmla="*/ 4 w 107"/>
                <a:gd name="T21" fmla="*/ 10 h 109"/>
                <a:gd name="T22" fmla="*/ 5 w 107"/>
                <a:gd name="T23" fmla="*/ 10 h 109"/>
                <a:gd name="T24" fmla="*/ 5 w 107"/>
                <a:gd name="T25" fmla="*/ 11 h 109"/>
                <a:gd name="T26" fmla="*/ 6 w 107"/>
                <a:gd name="T27" fmla="*/ 10 h 109"/>
                <a:gd name="T28" fmla="*/ 6 w 107"/>
                <a:gd name="T29" fmla="*/ 9 h 109"/>
                <a:gd name="T30" fmla="*/ 7 w 107"/>
                <a:gd name="T31" fmla="*/ 10 h 109"/>
                <a:gd name="T32" fmla="*/ 9 w 107"/>
                <a:gd name="T33" fmla="*/ 10 h 109"/>
                <a:gd name="T34" fmla="*/ 9 w 107"/>
                <a:gd name="T35" fmla="*/ 12 h 109"/>
                <a:gd name="T36" fmla="*/ 10 w 107"/>
                <a:gd name="T37" fmla="*/ 13 h 109"/>
                <a:gd name="T38" fmla="*/ 11 w 107"/>
                <a:gd name="T39" fmla="*/ 11 h 109"/>
                <a:gd name="T40" fmla="*/ 12 w 107"/>
                <a:gd name="T41" fmla="*/ 11 h 109"/>
                <a:gd name="T42" fmla="*/ 13 w 107"/>
                <a:gd name="T43" fmla="*/ 11 h 109"/>
                <a:gd name="T44" fmla="*/ 14 w 107"/>
                <a:gd name="T45" fmla="*/ 12 h 109"/>
                <a:gd name="T46" fmla="*/ 15 w 107"/>
                <a:gd name="T47" fmla="*/ 12 h 109"/>
                <a:gd name="T48" fmla="*/ 14 w 107"/>
                <a:gd name="T49" fmla="*/ 7 h 109"/>
                <a:gd name="T50" fmla="*/ 13 w 107"/>
                <a:gd name="T51" fmla="*/ 6 h 109"/>
                <a:gd name="T52" fmla="*/ 12 w 107"/>
                <a:gd name="T53" fmla="*/ 5 h 109"/>
                <a:gd name="T54" fmla="*/ 15 w 107"/>
                <a:gd name="T55" fmla="*/ 6 h 109"/>
                <a:gd name="T56" fmla="*/ 15 w 107"/>
                <a:gd name="T57" fmla="*/ 7 h 109"/>
                <a:gd name="T58" fmla="*/ 15 w 107"/>
                <a:gd name="T59" fmla="*/ 7 h 109"/>
                <a:gd name="T60" fmla="*/ 16 w 107"/>
                <a:gd name="T61" fmla="*/ 6 h 109"/>
                <a:gd name="T62" fmla="*/ 18 w 107"/>
                <a:gd name="T63" fmla="*/ 6 h 109"/>
                <a:gd name="T64" fmla="*/ 18 w 107"/>
                <a:gd name="T65" fmla="*/ 5 h 109"/>
                <a:gd name="T66" fmla="*/ 16 w 107"/>
                <a:gd name="T67" fmla="*/ 5 h 109"/>
                <a:gd name="T68" fmla="*/ 15 w 107"/>
                <a:gd name="T69" fmla="*/ 3 h 109"/>
                <a:gd name="T70" fmla="*/ 15 w 107"/>
                <a:gd name="T71" fmla="*/ 3 h 109"/>
                <a:gd name="T72" fmla="*/ 9 w 107"/>
                <a:gd name="T73" fmla="*/ 1 h 109"/>
                <a:gd name="T74" fmla="*/ 8 w 107"/>
                <a:gd name="T75" fmla="*/ 1 h 109"/>
                <a:gd name="T76" fmla="*/ 6 w 107"/>
                <a:gd name="T77" fmla="*/ 0 h 10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7"/>
                <a:gd name="T118" fmla="*/ 0 h 109"/>
                <a:gd name="T119" fmla="*/ 107 w 107"/>
                <a:gd name="T120" fmla="*/ 109 h 10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7" h="109">
                  <a:moveTo>
                    <a:pt x="41" y="0"/>
                  </a:moveTo>
                  <a:lnTo>
                    <a:pt x="31" y="1"/>
                  </a:lnTo>
                  <a:lnTo>
                    <a:pt x="19" y="9"/>
                  </a:lnTo>
                  <a:lnTo>
                    <a:pt x="11" y="7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6" y="41"/>
                  </a:lnTo>
                  <a:lnTo>
                    <a:pt x="19" y="47"/>
                  </a:lnTo>
                  <a:lnTo>
                    <a:pt x="25" y="58"/>
                  </a:lnTo>
                  <a:lnTo>
                    <a:pt x="21" y="71"/>
                  </a:lnTo>
                  <a:lnTo>
                    <a:pt x="23" y="82"/>
                  </a:lnTo>
                  <a:lnTo>
                    <a:pt x="27" y="88"/>
                  </a:lnTo>
                  <a:lnTo>
                    <a:pt x="34" y="91"/>
                  </a:lnTo>
                  <a:lnTo>
                    <a:pt x="36" y="81"/>
                  </a:lnTo>
                  <a:lnTo>
                    <a:pt x="41" y="74"/>
                  </a:lnTo>
                  <a:lnTo>
                    <a:pt x="44" y="80"/>
                  </a:lnTo>
                  <a:lnTo>
                    <a:pt x="52" y="86"/>
                  </a:lnTo>
                  <a:lnTo>
                    <a:pt x="56" y="108"/>
                  </a:lnTo>
                  <a:lnTo>
                    <a:pt x="60" y="109"/>
                  </a:lnTo>
                  <a:lnTo>
                    <a:pt x="64" y="92"/>
                  </a:lnTo>
                  <a:lnTo>
                    <a:pt x="71" y="89"/>
                  </a:lnTo>
                  <a:lnTo>
                    <a:pt x="76" y="97"/>
                  </a:lnTo>
                  <a:lnTo>
                    <a:pt x="83" y="103"/>
                  </a:lnTo>
                  <a:lnTo>
                    <a:pt x="90" y="107"/>
                  </a:lnTo>
                  <a:lnTo>
                    <a:pt x="83" y="64"/>
                  </a:lnTo>
                  <a:lnTo>
                    <a:pt x="76" y="55"/>
                  </a:lnTo>
                  <a:lnTo>
                    <a:pt x="74" y="45"/>
                  </a:lnTo>
                  <a:lnTo>
                    <a:pt x="89" y="55"/>
                  </a:lnTo>
                  <a:lnTo>
                    <a:pt x="91" y="60"/>
                  </a:lnTo>
                  <a:lnTo>
                    <a:pt x="95" y="59"/>
                  </a:lnTo>
                  <a:lnTo>
                    <a:pt x="100" y="54"/>
                  </a:lnTo>
                  <a:lnTo>
                    <a:pt x="107" y="53"/>
                  </a:lnTo>
                  <a:lnTo>
                    <a:pt x="106" y="46"/>
                  </a:lnTo>
                  <a:lnTo>
                    <a:pt x="96" y="39"/>
                  </a:lnTo>
                  <a:lnTo>
                    <a:pt x="90" y="28"/>
                  </a:lnTo>
                  <a:lnTo>
                    <a:pt x="90" y="21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8" name="Freeform 25"/>
            <p:cNvSpPr>
              <a:spLocks/>
            </p:cNvSpPr>
            <p:nvPr/>
          </p:nvSpPr>
          <p:spPr bwMode="auto">
            <a:xfrm>
              <a:off x="4427260" y="1301070"/>
              <a:ext cx="127953" cy="107612"/>
            </a:xfrm>
            <a:custGeom>
              <a:avLst/>
              <a:gdLst>
                <a:gd name="T0" fmla="*/ 6 w 107"/>
                <a:gd name="T1" fmla="*/ 0 h 109"/>
                <a:gd name="T2" fmla="*/ 5 w 107"/>
                <a:gd name="T3" fmla="*/ 1 h 109"/>
                <a:gd name="T4" fmla="*/ 3 w 107"/>
                <a:gd name="T5" fmla="*/ 1 h 109"/>
                <a:gd name="T6" fmla="*/ 2 w 107"/>
                <a:gd name="T7" fmla="*/ 1 h 109"/>
                <a:gd name="T8" fmla="*/ 1 w 107"/>
                <a:gd name="T9" fmla="*/ 3 h 109"/>
                <a:gd name="T10" fmla="*/ 0 w 107"/>
                <a:gd name="T11" fmla="*/ 3 h 109"/>
                <a:gd name="T12" fmla="*/ 1 w 107"/>
                <a:gd name="T13" fmla="*/ 5 h 109"/>
                <a:gd name="T14" fmla="*/ 3 w 107"/>
                <a:gd name="T15" fmla="*/ 5 h 109"/>
                <a:gd name="T16" fmla="*/ 4 w 107"/>
                <a:gd name="T17" fmla="*/ 7 h 109"/>
                <a:gd name="T18" fmla="*/ 4 w 107"/>
                <a:gd name="T19" fmla="*/ 8 h 109"/>
                <a:gd name="T20" fmla="*/ 4 w 107"/>
                <a:gd name="T21" fmla="*/ 10 h 109"/>
                <a:gd name="T22" fmla="*/ 5 w 107"/>
                <a:gd name="T23" fmla="*/ 10 h 109"/>
                <a:gd name="T24" fmla="*/ 5 w 107"/>
                <a:gd name="T25" fmla="*/ 11 h 109"/>
                <a:gd name="T26" fmla="*/ 6 w 107"/>
                <a:gd name="T27" fmla="*/ 10 h 109"/>
                <a:gd name="T28" fmla="*/ 6 w 107"/>
                <a:gd name="T29" fmla="*/ 9 h 109"/>
                <a:gd name="T30" fmla="*/ 7 w 107"/>
                <a:gd name="T31" fmla="*/ 10 h 109"/>
                <a:gd name="T32" fmla="*/ 9 w 107"/>
                <a:gd name="T33" fmla="*/ 10 h 109"/>
                <a:gd name="T34" fmla="*/ 9 w 107"/>
                <a:gd name="T35" fmla="*/ 12 h 109"/>
                <a:gd name="T36" fmla="*/ 10 w 107"/>
                <a:gd name="T37" fmla="*/ 13 h 109"/>
                <a:gd name="T38" fmla="*/ 11 w 107"/>
                <a:gd name="T39" fmla="*/ 11 h 109"/>
                <a:gd name="T40" fmla="*/ 12 w 107"/>
                <a:gd name="T41" fmla="*/ 11 h 109"/>
                <a:gd name="T42" fmla="*/ 13 w 107"/>
                <a:gd name="T43" fmla="*/ 11 h 109"/>
                <a:gd name="T44" fmla="*/ 14 w 107"/>
                <a:gd name="T45" fmla="*/ 12 h 109"/>
                <a:gd name="T46" fmla="*/ 15 w 107"/>
                <a:gd name="T47" fmla="*/ 12 h 109"/>
                <a:gd name="T48" fmla="*/ 14 w 107"/>
                <a:gd name="T49" fmla="*/ 7 h 109"/>
                <a:gd name="T50" fmla="*/ 13 w 107"/>
                <a:gd name="T51" fmla="*/ 6 h 109"/>
                <a:gd name="T52" fmla="*/ 12 w 107"/>
                <a:gd name="T53" fmla="*/ 5 h 109"/>
                <a:gd name="T54" fmla="*/ 15 w 107"/>
                <a:gd name="T55" fmla="*/ 6 h 109"/>
                <a:gd name="T56" fmla="*/ 15 w 107"/>
                <a:gd name="T57" fmla="*/ 7 h 109"/>
                <a:gd name="T58" fmla="*/ 15 w 107"/>
                <a:gd name="T59" fmla="*/ 7 h 109"/>
                <a:gd name="T60" fmla="*/ 16 w 107"/>
                <a:gd name="T61" fmla="*/ 6 h 109"/>
                <a:gd name="T62" fmla="*/ 18 w 107"/>
                <a:gd name="T63" fmla="*/ 6 h 109"/>
                <a:gd name="T64" fmla="*/ 18 w 107"/>
                <a:gd name="T65" fmla="*/ 5 h 109"/>
                <a:gd name="T66" fmla="*/ 16 w 107"/>
                <a:gd name="T67" fmla="*/ 5 h 109"/>
                <a:gd name="T68" fmla="*/ 15 w 107"/>
                <a:gd name="T69" fmla="*/ 3 h 109"/>
                <a:gd name="T70" fmla="*/ 15 w 107"/>
                <a:gd name="T71" fmla="*/ 3 h 109"/>
                <a:gd name="T72" fmla="*/ 9 w 107"/>
                <a:gd name="T73" fmla="*/ 1 h 109"/>
                <a:gd name="T74" fmla="*/ 8 w 107"/>
                <a:gd name="T75" fmla="*/ 1 h 109"/>
                <a:gd name="T76" fmla="*/ 6 w 107"/>
                <a:gd name="T77" fmla="*/ 0 h 10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7"/>
                <a:gd name="T118" fmla="*/ 0 h 109"/>
                <a:gd name="T119" fmla="*/ 107 w 107"/>
                <a:gd name="T120" fmla="*/ 109 h 10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7" h="109">
                  <a:moveTo>
                    <a:pt x="41" y="0"/>
                  </a:moveTo>
                  <a:lnTo>
                    <a:pt x="31" y="1"/>
                  </a:lnTo>
                  <a:lnTo>
                    <a:pt x="19" y="9"/>
                  </a:lnTo>
                  <a:lnTo>
                    <a:pt x="11" y="7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6" y="41"/>
                  </a:lnTo>
                  <a:lnTo>
                    <a:pt x="19" y="47"/>
                  </a:lnTo>
                  <a:lnTo>
                    <a:pt x="25" y="58"/>
                  </a:lnTo>
                  <a:lnTo>
                    <a:pt x="21" y="71"/>
                  </a:lnTo>
                  <a:lnTo>
                    <a:pt x="23" y="82"/>
                  </a:lnTo>
                  <a:lnTo>
                    <a:pt x="27" y="88"/>
                  </a:lnTo>
                  <a:lnTo>
                    <a:pt x="34" y="91"/>
                  </a:lnTo>
                  <a:lnTo>
                    <a:pt x="36" y="81"/>
                  </a:lnTo>
                  <a:lnTo>
                    <a:pt x="41" y="74"/>
                  </a:lnTo>
                  <a:lnTo>
                    <a:pt x="44" y="80"/>
                  </a:lnTo>
                  <a:lnTo>
                    <a:pt x="52" y="86"/>
                  </a:lnTo>
                  <a:lnTo>
                    <a:pt x="56" y="108"/>
                  </a:lnTo>
                  <a:lnTo>
                    <a:pt x="60" y="109"/>
                  </a:lnTo>
                  <a:lnTo>
                    <a:pt x="64" y="92"/>
                  </a:lnTo>
                  <a:lnTo>
                    <a:pt x="71" y="89"/>
                  </a:lnTo>
                  <a:lnTo>
                    <a:pt x="76" y="97"/>
                  </a:lnTo>
                  <a:lnTo>
                    <a:pt x="83" y="103"/>
                  </a:lnTo>
                  <a:lnTo>
                    <a:pt x="90" y="107"/>
                  </a:lnTo>
                  <a:lnTo>
                    <a:pt x="83" y="64"/>
                  </a:lnTo>
                  <a:lnTo>
                    <a:pt x="76" y="55"/>
                  </a:lnTo>
                  <a:lnTo>
                    <a:pt x="74" y="45"/>
                  </a:lnTo>
                  <a:lnTo>
                    <a:pt x="89" y="55"/>
                  </a:lnTo>
                  <a:lnTo>
                    <a:pt x="91" y="60"/>
                  </a:lnTo>
                  <a:lnTo>
                    <a:pt x="95" y="59"/>
                  </a:lnTo>
                  <a:lnTo>
                    <a:pt x="100" y="54"/>
                  </a:lnTo>
                  <a:lnTo>
                    <a:pt x="107" y="53"/>
                  </a:lnTo>
                  <a:lnTo>
                    <a:pt x="106" y="46"/>
                  </a:lnTo>
                  <a:lnTo>
                    <a:pt x="96" y="39"/>
                  </a:lnTo>
                  <a:lnTo>
                    <a:pt x="90" y="28"/>
                  </a:lnTo>
                  <a:lnTo>
                    <a:pt x="90" y="21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1" y="0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9" name="Freeform 26"/>
            <p:cNvSpPr>
              <a:spLocks/>
            </p:cNvSpPr>
            <p:nvPr/>
          </p:nvSpPr>
          <p:spPr bwMode="auto">
            <a:xfrm>
              <a:off x="4384608" y="1295504"/>
              <a:ext cx="22341" cy="20409"/>
            </a:xfrm>
            <a:custGeom>
              <a:avLst/>
              <a:gdLst>
                <a:gd name="T0" fmla="*/ 3 w 19"/>
                <a:gd name="T1" fmla="*/ 3 h 19"/>
                <a:gd name="T2" fmla="*/ 3 w 19"/>
                <a:gd name="T3" fmla="*/ 2 h 19"/>
                <a:gd name="T4" fmla="*/ 2 w 19"/>
                <a:gd name="T5" fmla="*/ 1 h 19"/>
                <a:gd name="T6" fmla="*/ 2 w 19"/>
                <a:gd name="T7" fmla="*/ 0 h 19"/>
                <a:gd name="T8" fmla="*/ 0 w 19"/>
                <a:gd name="T9" fmla="*/ 1 h 19"/>
                <a:gd name="T10" fmla="*/ 1 w 19"/>
                <a:gd name="T11" fmla="*/ 3 h 19"/>
                <a:gd name="T12" fmla="*/ 2 w 19"/>
                <a:gd name="T13" fmla="*/ 3 h 19"/>
                <a:gd name="T14" fmla="*/ 3 w 19"/>
                <a:gd name="T15" fmla="*/ 3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9"/>
                <a:gd name="T26" fmla="*/ 19 w 19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9">
                  <a:moveTo>
                    <a:pt x="18" y="19"/>
                  </a:moveTo>
                  <a:lnTo>
                    <a:pt x="19" y="12"/>
                  </a:lnTo>
                  <a:lnTo>
                    <a:pt x="13" y="8"/>
                  </a:lnTo>
                  <a:lnTo>
                    <a:pt x="11" y="0"/>
                  </a:lnTo>
                  <a:lnTo>
                    <a:pt x="0" y="8"/>
                  </a:lnTo>
                  <a:lnTo>
                    <a:pt x="6" y="15"/>
                  </a:lnTo>
                  <a:lnTo>
                    <a:pt x="12" y="16"/>
                  </a:lnTo>
                  <a:lnTo>
                    <a:pt x="18" y="1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0" name="Freeform 27"/>
            <p:cNvSpPr>
              <a:spLocks/>
            </p:cNvSpPr>
            <p:nvPr/>
          </p:nvSpPr>
          <p:spPr bwMode="auto">
            <a:xfrm>
              <a:off x="4384608" y="1295504"/>
              <a:ext cx="22341" cy="20409"/>
            </a:xfrm>
            <a:custGeom>
              <a:avLst/>
              <a:gdLst>
                <a:gd name="T0" fmla="*/ 3 w 19"/>
                <a:gd name="T1" fmla="*/ 3 h 19"/>
                <a:gd name="T2" fmla="*/ 3 w 19"/>
                <a:gd name="T3" fmla="*/ 2 h 19"/>
                <a:gd name="T4" fmla="*/ 2 w 19"/>
                <a:gd name="T5" fmla="*/ 1 h 19"/>
                <a:gd name="T6" fmla="*/ 2 w 19"/>
                <a:gd name="T7" fmla="*/ 0 h 19"/>
                <a:gd name="T8" fmla="*/ 0 w 19"/>
                <a:gd name="T9" fmla="*/ 1 h 19"/>
                <a:gd name="T10" fmla="*/ 1 w 19"/>
                <a:gd name="T11" fmla="*/ 3 h 19"/>
                <a:gd name="T12" fmla="*/ 2 w 19"/>
                <a:gd name="T13" fmla="*/ 3 h 19"/>
                <a:gd name="T14" fmla="*/ 3 w 19"/>
                <a:gd name="T15" fmla="*/ 3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9"/>
                <a:gd name="T26" fmla="*/ 19 w 19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9">
                  <a:moveTo>
                    <a:pt x="18" y="19"/>
                  </a:moveTo>
                  <a:lnTo>
                    <a:pt x="19" y="12"/>
                  </a:lnTo>
                  <a:lnTo>
                    <a:pt x="13" y="8"/>
                  </a:lnTo>
                  <a:lnTo>
                    <a:pt x="11" y="0"/>
                  </a:lnTo>
                  <a:lnTo>
                    <a:pt x="0" y="8"/>
                  </a:lnTo>
                  <a:lnTo>
                    <a:pt x="6" y="15"/>
                  </a:lnTo>
                  <a:lnTo>
                    <a:pt x="12" y="16"/>
                  </a:lnTo>
                  <a:lnTo>
                    <a:pt x="18" y="19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1" name="Freeform 28"/>
            <p:cNvSpPr>
              <a:spLocks/>
            </p:cNvSpPr>
            <p:nvPr/>
          </p:nvSpPr>
          <p:spPr bwMode="auto">
            <a:xfrm>
              <a:off x="4526779" y="1260252"/>
              <a:ext cx="91395" cy="63083"/>
            </a:xfrm>
            <a:custGeom>
              <a:avLst/>
              <a:gdLst>
                <a:gd name="T0" fmla="*/ 13 w 75"/>
                <a:gd name="T1" fmla="*/ 6 h 64"/>
                <a:gd name="T2" fmla="*/ 13 w 75"/>
                <a:gd name="T3" fmla="*/ 7 h 64"/>
                <a:gd name="T4" fmla="*/ 13 w 75"/>
                <a:gd name="T5" fmla="*/ 6 h 64"/>
                <a:gd name="T6" fmla="*/ 11 w 75"/>
                <a:gd name="T7" fmla="*/ 6 h 64"/>
                <a:gd name="T8" fmla="*/ 10 w 75"/>
                <a:gd name="T9" fmla="*/ 4 h 64"/>
                <a:gd name="T10" fmla="*/ 10 w 75"/>
                <a:gd name="T11" fmla="*/ 3 h 64"/>
                <a:gd name="T12" fmla="*/ 9 w 75"/>
                <a:gd name="T13" fmla="*/ 3 h 64"/>
                <a:gd name="T14" fmla="*/ 7 w 75"/>
                <a:gd name="T15" fmla="*/ 3 h 64"/>
                <a:gd name="T16" fmla="*/ 6 w 75"/>
                <a:gd name="T17" fmla="*/ 2 h 64"/>
                <a:gd name="T18" fmla="*/ 3 w 75"/>
                <a:gd name="T19" fmla="*/ 1 h 64"/>
                <a:gd name="T20" fmla="*/ 3 w 75"/>
                <a:gd name="T21" fmla="*/ 0 h 64"/>
                <a:gd name="T22" fmla="*/ 2 w 75"/>
                <a:gd name="T23" fmla="*/ 0 h 64"/>
                <a:gd name="T24" fmla="*/ 0 w 75"/>
                <a:gd name="T25" fmla="*/ 2 h 64"/>
                <a:gd name="T26" fmla="*/ 1 w 75"/>
                <a:gd name="T27" fmla="*/ 2 h 64"/>
                <a:gd name="T28" fmla="*/ 5 w 75"/>
                <a:gd name="T29" fmla="*/ 3 h 64"/>
                <a:gd name="T30" fmla="*/ 5 w 75"/>
                <a:gd name="T31" fmla="*/ 4 h 64"/>
                <a:gd name="T32" fmla="*/ 6 w 75"/>
                <a:gd name="T33" fmla="*/ 4 h 64"/>
                <a:gd name="T34" fmla="*/ 8 w 75"/>
                <a:gd name="T35" fmla="*/ 5 h 64"/>
                <a:gd name="T36" fmla="*/ 10 w 75"/>
                <a:gd name="T37" fmla="*/ 5 h 64"/>
                <a:gd name="T38" fmla="*/ 10 w 75"/>
                <a:gd name="T39" fmla="*/ 6 h 64"/>
                <a:gd name="T40" fmla="*/ 10 w 75"/>
                <a:gd name="T41" fmla="*/ 7 h 64"/>
                <a:gd name="T42" fmla="*/ 11 w 75"/>
                <a:gd name="T43" fmla="*/ 7 h 64"/>
                <a:gd name="T44" fmla="*/ 13 w 75"/>
                <a:gd name="T45" fmla="*/ 7 h 64"/>
                <a:gd name="T46" fmla="*/ 13 w 75"/>
                <a:gd name="T47" fmla="*/ 6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64"/>
                <a:gd name="T74" fmla="*/ 75 w 75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64">
                  <a:moveTo>
                    <a:pt x="73" y="55"/>
                  </a:moveTo>
                  <a:lnTo>
                    <a:pt x="75" y="58"/>
                  </a:lnTo>
                  <a:lnTo>
                    <a:pt x="74" y="51"/>
                  </a:lnTo>
                  <a:lnTo>
                    <a:pt x="62" y="47"/>
                  </a:lnTo>
                  <a:lnTo>
                    <a:pt x="56" y="35"/>
                  </a:lnTo>
                  <a:lnTo>
                    <a:pt x="56" y="27"/>
                  </a:lnTo>
                  <a:lnTo>
                    <a:pt x="51" y="22"/>
                  </a:lnTo>
                  <a:lnTo>
                    <a:pt x="39" y="20"/>
                  </a:lnTo>
                  <a:lnTo>
                    <a:pt x="31" y="16"/>
                  </a:lnTo>
                  <a:lnTo>
                    <a:pt x="17" y="4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5" y="26"/>
                  </a:lnTo>
                  <a:lnTo>
                    <a:pt x="27" y="33"/>
                  </a:lnTo>
                  <a:lnTo>
                    <a:pt x="34" y="37"/>
                  </a:lnTo>
                  <a:lnTo>
                    <a:pt x="44" y="38"/>
                  </a:lnTo>
                  <a:lnTo>
                    <a:pt x="52" y="45"/>
                  </a:lnTo>
                  <a:lnTo>
                    <a:pt x="55" y="50"/>
                  </a:lnTo>
                  <a:lnTo>
                    <a:pt x="57" y="57"/>
                  </a:lnTo>
                  <a:lnTo>
                    <a:pt x="63" y="61"/>
                  </a:lnTo>
                  <a:lnTo>
                    <a:pt x="73" y="64"/>
                  </a:lnTo>
                  <a:lnTo>
                    <a:pt x="73" y="5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2" name="Freeform 29"/>
            <p:cNvSpPr>
              <a:spLocks/>
            </p:cNvSpPr>
            <p:nvPr/>
          </p:nvSpPr>
          <p:spPr bwMode="auto">
            <a:xfrm>
              <a:off x="4526779" y="1260252"/>
              <a:ext cx="91395" cy="63083"/>
            </a:xfrm>
            <a:custGeom>
              <a:avLst/>
              <a:gdLst>
                <a:gd name="T0" fmla="*/ 13 w 75"/>
                <a:gd name="T1" fmla="*/ 6 h 64"/>
                <a:gd name="T2" fmla="*/ 13 w 75"/>
                <a:gd name="T3" fmla="*/ 7 h 64"/>
                <a:gd name="T4" fmla="*/ 13 w 75"/>
                <a:gd name="T5" fmla="*/ 6 h 64"/>
                <a:gd name="T6" fmla="*/ 11 w 75"/>
                <a:gd name="T7" fmla="*/ 6 h 64"/>
                <a:gd name="T8" fmla="*/ 10 w 75"/>
                <a:gd name="T9" fmla="*/ 4 h 64"/>
                <a:gd name="T10" fmla="*/ 10 w 75"/>
                <a:gd name="T11" fmla="*/ 3 h 64"/>
                <a:gd name="T12" fmla="*/ 9 w 75"/>
                <a:gd name="T13" fmla="*/ 3 h 64"/>
                <a:gd name="T14" fmla="*/ 7 w 75"/>
                <a:gd name="T15" fmla="*/ 3 h 64"/>
                <a:gd name="T16" fmla="*/ 6 w 75"/>
                <a:gd name="T17" fmla="*/ 2 h 64"/>
                <a:gd name="T18" fmla="*/ 3 w 75"/>
                <a:gd name="T19" fmla="*/ 1 h 64"/>
                <a:gd name="T20" fmla="*/ 3 w 75"/>
                <a:gd name="T21" fmla="*/ 0 h 64"/>
                <a:gd name="T22" fmla="*/ 2 w 75"/>
                <a:gd name="T23" fmla="*/ 0 h 64"/>
                <a:gd name="T24" fmla="*/ 0 w 75"/>
                <a:gd name="T25" fmla="*/ 2 h 64"/>
                <a:gd name="T26" fmla="*/ 1 w 75"/>
                <a:gd name="T27" fmla="*/ 2 h 64"/>
                <a:gd name="T28" fmla="*/ 5 w 75"/>
                <a:gd name="T29" fmla="*/ 3 h 64"/>
                <a:gd name="T30" fmla="*/ 5 w 75"/>
                <a:gd name="T31" fmla="*/ 4 h 64"/>
                <a:gd name="T32" fmla="*/ 6 w 75"/>
                <a:gd name="T33" fmla="*/ 4 h 64"/>
                <a:gd name="T34" fmla="*/ 8 w 75"/>
                <a:gd name="T35" fmla="*/ 5 h 64"/>
                <a:gd name="T36" fmla="*/ 10 w 75"/>
                <a:gd name="T37" fmla="*/ 5 h 64"/>
                <a:gd name="T38" fmla="*/ 10 w 75"/>
                <a:gd name="T39" fmla="*/ 6 h 64"/>
                <a:gd name="T40" fmla="*/ 10 w 75"/>
                <a:gd name="T41" fmla="*/ 7 h 64"/>
                <a:gd name="T42" fmla="*/ 11 w 75"/>
                <a:gd name="T43" fmla="*/ 7 h 64"/>
                <a:gd name="T44" fmla="*/ 13 w 75"/>
                <a:gd name="T45" fmla="*/ 7 h 64"/>
                <a:gd name="T46" fmla="*/ 13 w 75"/>
                <a:gd name="T47" fmla="*/ 6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64"/>
                <a:gd name="T74" fmla="*/ 75 w 75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64">
                  <a:moveTo>
                    <a:pt x="73" y="55"/>
                  </a:moveTo>
                  <a:lnTo>
                    <a:pt x="75" y="58"/>
                  </a:lnTo>
                  <a:lnTo>
                    <a:pt x="74" y="51"/>
                  </a:lnTo>
                  <a:lnTo>
                    <a:pt x="62" y="47"/>
                  </a:lnTo>
                  <a:lnTo>
                    <a:pt x="56" y="35"/>
                  </a:lnTo>
                  <a:lnTo>
                    <a:pt x="56" y="27"/>
                  </a:lnTo>
                  <a:lnTo>
                    <a:pt x="51" y="22"/>
                  </a:lnTo>
                  <a:lnTo>
                    <a:pt x="39" y="20"/>
                  </a:lnTo>
                  <a:lnTo>
                    <a:pt x="31" y="16"/>
                  </a:lnTo>
                  <a:lnTo>
                    <a:pt x="17" y="4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5" y="26"/>
                  </a:lnTo>
                  <a:lnTo>
                    <a:pt x="27" y="33"/>
                  </a:lnTo>
                  <a:lnTo>
                    <a:pt x="34" y="37"/>
                  </a:lnTo>
                  <a:lnTo>
                    <a:pt x="44" y="38"/>
                  </a:lnTo>
                  <a:lnTo>
                    <a:pt x="52" y="45"/>
                  </a:lnTo>
                  <a:lnTo>
                    <a:pt x="55" y="50"/>
                  </a:lnTo>
                  <a:lnTo>
                    <a:pt x="57" y="57"/>
                  </a:lnTo>
                  <a:lnTo>
                    <a:pt x="63" y="61"/>
                  </a:lnTo>
                  <a:lnTo>
                    <a:pt x="73" y="64"/>
                  </a:lnTo>
                  <a:lnTo>
                    <a:pt x="73" y="55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3" name="Freeform 30"/>
            <p:cNvSpPr>
              <a:spLocks/>
            </p:cNvSpPr>
            <p:nvPr/>
          </p:nvSpPr>
          <p:spPr bwMode="auto">
            <a:xfrm>
              <a:off x="4346019" y="1215722"/>
              <a:ext cx="24372" cy="20409"/>
            </a:xfrm>
            <a:custGeom>
              <a:avLst/>
              <a:gdLst>
                <a:gd name="T0" fmla="*/ 4 w 19"/>
                <a:gd name="T1" fmla="*/ 1 h 24"/>
                <a:gd name="T2" fmla="*/ 4 w 19"/>
                <a:gd name="T3" fmla="*/ 1 h 24"/>
                <a:gd name="T4" fmla="*/ 3 w 19"/>
                <a:gd name="T5" fmla="*/ 0 h 24"/>
                <a:gd name="T6" fmla="*/ 1 w 19"/>
                <a:gd name="T7" fmla="*/ 0 h 24"/>
                <a:gd name="T8" fmla="*/ 0 w 19"/>
                <a:gd name="T9" fmla="*/ 0 h 24"/>
                <a:gd name="T10" fmla="*/ 2 w 19"/>
                <a:gd name="T11" fmla="*/ 1 h 24"/>
                <a:gd name="T12" fmla="*/ 3 w 19"/>
                <a:gd name="T13" fmla="*/ 1 h 24"/>
                <a:gd name="T14" fmla="*/ 4 w 19"/>
                <a:gd name="T15" fmla="*/ 1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4"/>
                <a:gd name="T26" fmla="*/ 19 w 1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4">
                  <a:moveTo>
                    <a:pt x="18" y="23"/>
                  </a:moveTo>
                  <a:lnTo>
                    <a:pt x="19" y="20"/>
                  </a:lnTo>
                  <a:lnTo>
                    <a:pt x="10" y="4"/>
                  </a:lnTo>
                  <a:lnTo>
                    <a:pt x="5" y="0"/>
                  </a:lnTo>
                  <a:lnTo>
                    <a:pt x="0" y="2"/>
                  </a:lnTo>
                  <a:lnTo>
                    <a:pt x="7" y="18"/>
                  </a:lnTo>
                  <a:lnTo>
                    <a:pt x="12" y="24"/>
                  </a:lnTo>
                  <a:lnTo>
                    <a:pt x="18" y="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4" name="Freeform 31"/>
            <p:cNvSpPr>
              <a:spLocks/>
            </p:cNvSpPr>
            <p:nvPr/>
          </p:nvSpPr>
          <p:spPr bwMode="auto">
            <a:xfrm>
              <a:off x="4346019" y="1215722"/>
              <a:ext cx="24372" cy="20409"/>
            </a:xfrm>
            <a:custGeom>
              <a:avLst/>
              <a:gdLst>
                <a:gd name="T0" fmla="*/ 4 w 19"/>
                <a:gd name="T1" fmla="*/ 1 h 24"/>
                <a:gd name="T2" fmla="*/ 4 w 19"/>
                <a:gd name="T3" fmla="*/ 1 h 24"/>
                <a:gd name="T4" fmla="*/ 3 w 19"/>
                <a:gd name="T5" fmla="*/ 0 h 24"/>
                <a:gd name="T6" fmla="*/ 1 w 19"/>
                <a:gd name="T7" fmla="*/ 0 h 24"/>
                <a:gd name="T8" fmla="*/ 0 w 19"/>
                <a:gd name="T9" fmla="*/ 0 h 24"/>
                <a:gd name="T10" fmla="*/ 2 w 19"/>
                <a:gd name="T11" fmla="*/ 1 h 24"/>
                <a:gd name="T12" fmla="*/ 3 w 19"/>
                <a:gd name="T13" fmla="*/ 1 h 24"/>
                <a:gd name="T14" fmla="*/ 4 w 19"/>
                <a:gd name="T15" fmla="*/ 1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4"/>
                <a:gd name="T26" fmla="*/ 19 w 1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4">
                  <a:moveTo>
                    <a:pt x="18" y="23"/>
                  </a:moveTo>
                  <a:lnTo>
                    <a:pt x="19" y="20"/>
                  </a:lnTo>
                  <a:lnTo>
                    <a:pt x="10" y="4"/>
                  </a:lnTo>
                  <a:lnTo>
                    <a:pt x="5" y="0"/>
                  </a:lnTo>
                  <a:lnTo>
                    <a:pt x="0" y="2"/>
                  </a:lnTo>
                  <a:lnTo>
                    <a:pt x="7" y="18"/>
                  </a:lnTo>
                  <a:lnTo>
                    <a:pt x="12" y="24"/>
                  </a:lnTo>
                  <a:lnTo>
                    <a:pt x="18" y="2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5" name="Freeform 32"/>
            <p:cNvSpPr>
              <a:spLocks/>
            </p:cNvSpPr>
            <p:nvPr/>
          </p:nvSpPr>
          <p:spPr bwMode="auto">
            <a:xfrm>
              <a:off x="6301887" y="1918905"/>
              <a:ext cx="48744" cy="18554"/>
            </a:xfrm>
            <a:custGeom>
              <a:avLst/>
              <a:gdLst>
                <a:gd name="T0" fmla="*/ 6 w 42"/>
                <a:gd name="T1" fmla="*/ 0 h 22"/>
                <a:gd name="T2" fmla="*/ 6 w 42"/>
                <a:gd name="T3" fmla="*/ 0 h 22"/>
                <a:gd name="T4" fmla="*/ 3 w 42"/>
                <a:gd name="T5" fmla="*/ 0 h 22"/>
                <a:gd name="T6" fmla="*/ 3 w 42"/>
                <a:gd name="T7" fmla="*/ 0 h 22"/>
                <a:gd name="T8" fmla="*/ 0 w 42"/>
                <a:gd name="T9" fmla="*/ 1 h 22"/>
                <a:gd name="T10" fmla="*/ 1 w 42"/>
                <a:gd name="T11" fmla="*/ 1 h 22"/>
                <a:gd name="T12" fmla="*/ 3 w 42"/>
                <a:gd name="T13" fmla="*/ 1 h 22"/>
                <a:gd name="T14" fmla="*/ 6 w 42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22"/>
                <a:gd name="T26" fmla="*/ 42 w 42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22">
                  <a:moveTo>
                    <a:pt x="42" y="1"/>
                  </a:moveTo>
                  <a:lnTo>
                    <a:pt x="38" y="0"/>
                  </a:lnTo>
                  <a:lnTo>
                    <a:pt x="23" y="1"/>
                  </a:lnTo>
                  <a:lnTo>
                    <a:pt x="19" y="8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3" y="16"/>
                  </a:lnTo>
                  <a:lnTo>
                    <a:pt x="42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6" name="Freeform 33"/>
            <p:cNvSpPr>
              <a:spLocks/>
            </p:cNvSpPr>
            <p:nvPr/>
          </p:nvSpPr>
          <p:spPr bwMode="auto">
            <a:xfrm>
              <a:off x="6301887" y="1918905"/>
              <a:ext cx="48744" cy="18554"/>
            </a:xfrm>
            <a:custGeom>
              <a:avLst/>
              <a:gdLst>
                <a:gd name="T0" fmla="*/ 6 w 42"/>
                <a:gd name="T1" fmla="*/ 0 h 22"/>
                <a:gd name="T2" fmla="*/ 6 w 42"/>
                <a:gd name="T3" fmla="*/ 0 h 22"/>
                <a:gd name="T4" fmla="*/ 3 w 42"/>
                <a:gd name="T5" fmla="*/ 0 h 22"/>
                <a:gd name="T6" fmla="*/ 3 w 42"/>
                <a:gd name="T7" fmla="*/ 0 h 22"/>
                <a:gd name="T8" fmla="*/ 0 w 42"/>
                <a:gd name="T9" fmla="*/ 1 h 22"/>
                <a:gd name="T10" fmla="*/ 1 w 42"/>
                <a:gd name="T11" fmla="*/ 1 h 22"/>
                <a:gd name="T12" fmla="*/ 3 w 42"/>
                <a:gd name="T13" fmla="*/ 1 h 22"/>
                <a:gd name="T14" fmla="*/ 6 w 42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22"/>
                <a:gd name="T26" fmla="*/ 42 w 42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22">
                  <a:moveTo>
                    <a:pt x="42" y="1"/>
                  </a:moveTo>
                  <a:lnTo>
                    <a:pt x="38" y="0"/>
                  </a:lnTo>
                  <a:lnTo>
                    <a:pt x="23" y="1"/>
                  </a:lnTo>
                  <a:lnTo>
                    <a:pt x="19" y="8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3" y="16"/>
                  </a:lnTo>
                  <a:lnTo>
                    <a:pt x="42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7" name="Freeform 34"/>
            <p:cNvSpPr>
              <a:spLocks/>
            </p:cNvSpPr>
            <p:nvPr/>
          </p:nvSpPr>
          <p:spPr bwMode="auto">
            <a:xfrm>
              <a:off x="6484679" y="2226895"/>
              <a:ext cx="16248" cy="22265"/>
            </a:xfrm>
            <a:custGeom>
              <a:avLst/>
              <a:gdLst>
                <a:gd name="T0" fmla="*/ 1 w 15"/>
                <a:gd name="T1" fmla="*/ 3 h 21"/>
                <a:gd name="T2" fmla="*/ 1 w 15"/>
                <a:gd name="T3" fmla="*/ 3 h 21"/>
                <a:gd name="T4" fmla="*/ 1 w 15"/>
                <a:gd name="T5" fmla="*/ 3 h 21"/>
                <a:gd name="T6" fmla="*/ 1 w 15"/>
                <a:gd name="T7" fmla="*/ 3 h 21"/>
                <a:gd name="T8" fmla="*/ 1 w 15"/>
                <a:gd name="T9" fmla="*/ 2 h 21"/>
                <a:gd name="T10" fmla="*/ 1 w 15"/>
                <a:gd name="T11" fmla="*/ 2 h 21"/>
                <a:gd name="T12" fmla="*/ 2 w 15"/>
                <a:gd name="T13" fmla="*/ 1 h 21"/>
                <a:gd name="T14" fmla="*/ 2 w 15"/>
                <a:gd name="T15" fmla="*/ 1 h 21"/>
                <a:gd name="T16" fmla="*/ 2 w 15"/>
                <a:gd name="T17" fmla="*/ 1 h 21"/>
                <a:gd name="T18" fmla="*/ 2 w 15"/>
                <a:gd name="T19" fmla="*/ 1 h 21"/>
                <a:gd name="T20" fmla="*/ 2 w 15"/>
                <a:gd name="T21" fmla="*/ 0 h 21"/>
                <a:gd name="T22" fmla="*/ 1 w 15"/>
                <a:gd name="T23" fmla="*/ 1 h 21"/>
                <a:gd name="T24" fmla="*/ 1 w 15"/>
                <a:gd name="T25" fmla="*/ 2 h 21"/>
                <a:gd name="T26" fmla="*/ 1 w 15"/>
                <a:gd name="T27" fmla="*/ 2 h 21"/>
                <a:gd name="T28" fmla="*/ 1 w 15"/>
                <a:gd name="T29" fmla="*/ 2 h 21"/>
                <a:gd name="T30" fmla="*/ 0 w 15"/>
                <a:gd name="T31" fmla="*/ 3 h 21"/>
                <a:gd name="T32" fmla="*/ 1 w 15"/>
                <a:gd name="T33" fmla="*/ 3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21"/>
                <a:gd name="T53" fmla="*/ 15 w 15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21">
                  <a:moveTo>
                    <a:pt x="1" y="21"/>
                  </a:moveTo>
                  <a:lnTo>
                    <a:pt x="2" y="20"/>
                  </a:lnTo>
                  <a:lnTo>
                    <a:pt x="4" y="19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5"/>
                  </a:lnTo>
                  <a:lnTo>
                    <a:pt x="15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9"/>
                  </a:lnTo>
                  <a:lnTo>
                    <a:pt x="1" y="2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8" name="Freeform 35"/>
            <p:cNvSpPr>
              <a:spLocks/>
            </p:cNvSpPr>
            <p:nvPr/>
          </p:nvSpPr>
          <p:spPr bwMode="auto">
            <a:xfrm>
              <a:off x="6484679" y="2226895"/>
              <a:ext cx="16248" cy="22265"/>
            </a:xfrm>
            <a:custGeom>
              <a:avLst/>
              <a:gdLst>
                <a:gd name="T0" fmla="*/ 1 w 15"/>
                <a:gd name="T1" fmla="*/ 3 h 21"/>
                <a:gd name="T2" fmla="*/ 1 w 15"/>
                <a:gd name="T3" fmla="*/ 3 h 21"/>
                <a:gd name="T4" fmla="*/ 1 w 15"/>
                <a:gd name="T5" fmla="*/ 3 h 21"/>
                <a:gd name="T6" fmla="*/ 1 w 15"/>
                <a:gd name="T7" fmla="*/ 3 h 21"/>
                <a:gd name="T8" fmla="*/ 1 w 15"/>
                <a:gd name="T9" fmla="*/ 2 h 21"/>
                <a:gd name="T10" fmla="*/ 1 w 15"/>
                <a:gd name="T11" fmla="*/ 2 h 21"/>
                <a:gd name="T12" fmla="*/ 2 w 15"/>
                <a:gd name="T13" fmla="*/ 1 h 21"/>
                <a:gd name="T14" fmla="*/ 2 w 15"/>
                <a:gd name="T15" fmla="*/ 1 h 21"/>
                <a:gd name="T16" fmla="*/ 2 w 15"/>
                <a:gd name="T17" fmla="*/ 1 h 21"/>
                <a:gd name="T18" fmla="*/ 2 w 15"/>
                <a:gd name="T19" fmla="*/ 1 h 21"/>
                <a:gd name="T20" fmla="*/ 2 w 15"/>
                <a:gd name="T21" fmla="*/ 0 h 21"/>
                <a:gd name="T22" fmla="*/ 1 w 15"/>
                <a:gd name="T23" fmla="*/ 1 h 21"/>
                <a:gd name="T24" fmla="*/ 1 w 15"/>
                <a:gd name="T25" fmla="*/ 2 h 21"/>
                <a:gd name="T26" fmla="*/ 1 w 15"/>
                <a:gd name="T27" fmla="*/ 2 h 21"/>
                <a:gd name="T28" fmla="*/ 1 w 15"/>
                <a:gd name="T29" fmla="*/ 2 h 21"/>
                <a:gd name="T30" fmla="*/ 0 w 15"/>
                <a:gd name="T31" fmla="*/ 3 h 21"/>
                <a:gd name="T32" fmla="*/ 1 w 15"/>
                <a:gd name="T33" fmla="*/ 3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21"/>
                <a:gd name="T53" fmla="*/ 15 w 15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21">
                  <a:moveTo>
                    <a:pt x="1" y="21"/>
                  </a:moveTo>
                  <a:lnTo>
                    <a:pt x="2" y="20"/>
                  </a:lnTo>
                  <a:lnTo>
                    <a:pt x="4" y="19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5"/>
                  </a:lnTo>
                  <a:lnTo>
                    <a:pt x="15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9"/>
                  </a:lnTo>
                  <a:lnTo>
                    <a:pt x="1" y="2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9" name="Freeform 36"/>
            <p:cNvSpPr>
              <a:spLocks/>
            </p:cNvSpPr>
            <p:nvPr/>
          </p:nvSpPr>
          <p:spPr bwMode="auto">
            <a:xfrm>
              <a:off x="5641807" y="3705618"/>
              <a:ext cx="14216" cy="27831"/>
            </a:xfrm>
            <a:custGeom>
              <a:avLst/>
              <a:gdLst>
                <a:gd name="T0" fmla="*/ 1 w 13"/>
                <a:gd name="T1" fmla="*/ 1 h 28"/>
                <a:gd name="T2" fmla="*/ 1 w 13"/>
                <a:gd name="T3" fmla="*/ 1 h 28"/>
                <a:gd name="T4" fmla="*/ 1 w 13"/>
                <a:gd name="T5" fmla="*/ 2 h 28"/>
                <a:gd name="T6" fmla="*/ 2 w 13"/>
                <a:gd name="T7" fmla="*/ 3 h 28"/>
                <a:gd name="T8" fmla="*/ 2 w 13"/>
                <a:gd name="T9" fmla="*/ 3 h 28"/>
                <a:gd name="T10" fmla="*/ 1 w 13"/>
                <a:gd name="T11" fmla="*/ 3 h 28"/>
                <a:gd name="T12" fmla="*/ 1 w 13"/>
                <a:gd name="T13" fmla="*/ 3 h 28"/>
                <a:gd name="T14" fmla="*/ 1 w 13"/>
                <a:gd name="T15" fmla="*/ 3 h 28"/>
                <a:gd name="T16" fmla="*/ 1 w 13"/>
                <a:gd name="T17" fmla="*/ 3 h 28"/>
                <a:gd name="T18" fmla="*/ 0 w 13"/>
                <a:gd name="T19" fmla="*/ 2 h 28"/>
                <a:gd name="T20" fmla="*/ 1 w 13"/>
                <a:gd name="T21" fmla="*/ 2 h 28"/>
                <a:gd name="T22" fmla="*/ 1 w 13"/>
                <a:gd name="T23" fmla="*/ 1 h 28"/>
                <a:gd name="T24" fmla="*/ 1 w 13"/>
                <a:gd name="T25" fmla="*/ 1 h 28"/>
                <a:gd name="T26" fmla="*/ 1 w 13"/>
                <a:gd name="T27" fmla="*/ 0 h 28"/>
                <a:gd name="T28" fmla="*/ 1 w 13"/>
                <a:gd name="T29" fmla="*/ 1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28"/>
                <a:gd name="T47" fmla="*/ 13 w 13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28">
                  <a:moveTo>
                    <a:pt x="7" y="1"/>
                  </a:moveTo>
                  <a:lnTo>
                    <a:pt x="9" y="3"/>
                  </a:lnTo>
                  <a:lnTo>
                    <a:pt x="9" y="13"/>
                  </a:lnTo>
                  <a:lnTo>
                    <a:pt x="13" y="23"/>
                  </a:lnTo>
                  <a:lnTo>
                    <a:pt x="13" y="26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2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1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0" name="Freeform 37"/>
            <p:cNvSpPr>
              <a:spLocks/>
            </p:cNvSpPr>
            <p:nvPr/>
          </p:nvSpPr>
          <p:spPr bwMode="auto">
            <a:xfrm>
              <a:off x="5641807" y="3705618"/>
              <a:ext cx="14216" cy="27831"/>
            </a:xfrm>
            <a:custGeom>
              <a:avLst/>
              <a:gdLst>
                <a:gd name="T0" fmla="*/ 1 w 13"/>
                <a:gd name="T1" fmla="*/ 1 h 28"/>
                <a:gd name="T2" fmla="*/ 1 w 13"/>
                <a:gd name="T3" fmla="*/ 1 h 28"/>
                <a:gd name="T4" fmla="*/ 1 w 13"/>
                <a:gd name="T5" fmla="*/ 2 h 28"/>
                <a:gd name="T6" fmla="*/ 2 w 13"/>
                <a:gd name="T7" fmla="*/ 3 h 28"/>
                <a:gd name="T8" fmla="*/ 2 w 13"/>
                <a:gd name="T9" fmla="*/ 3 h 28"/>
                <a:gd name="T10" fmla="*/ 1 w 13"/>
                <a:gd name="T11" fmla="*/ 3 h 28"/>
                <a:gd name="T12" fmla="*/ 1 w 13"/>
                <a:gd name="T13" fmla="*/ 3 h 28"/>
                <a:gd name="T14" fmla="*/ 1 w 13"/>
                <a:gd name="T15" fmla="*/ 3 h 28"/>
                <a:gd name="T16" fmla="*/ 1 w 13"/>
                <a:gd name="T17" fmla="*/ 3 h 28"/>
                <a:gd name="T18" fmla="*/ 0 w 13"/>
                <a:gd name="T19" fmla="*/ 2 h 28"/>
                <a:gd name="T20" fmla="*/ 1 w 13"/>
                <a:gd name="T21" fmla="*/ 2 h 28"/>
                <a:gd name="T22" fmla="*/ 1 w 13"/>
                <a:gd name="T23" fmla="*/ 1 h 28"/>
                <a:gd name="T24" fmla="*/ 1 w 13"/>
                <a:gd name="T25" fmla="*/ 1 h 28"/>
                <a:gd name="T26" fmla="*/ 1 w 13"/>
                <a:gd name="T27" fmla="*/ 0 h 28"/>
                <a:gd name="T28" fmla="*/ 1 w 13"/>
                <a:gd name="T29" fmla="*/ 1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28"/>
                <a:gd name="T47" fmla="*/ 13 w 13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28">
                  <a:moveTo>
                    <a:pt x="7" y="1"/>
                  </a:moveTo>
                  <a:lnTo>
                    <a:pt x="9" y="3"/>
                  </a:lnTo>
                  <a:lnTo>
                    <a:pt x="9" y="13"/>
                  </a:lnTo>
                  <a:lnTo>
                    <a:pt x="13" y="23"/>
                  </a:lnTo>
                  <a:lnTo>
                    <a:pt x="13" y="26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2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1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7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1" name="Freeform 38"/>
            <p:cNvSpPr>
              <a:spLocks/>
            </p:cNvSpPr>
            <p:nvPr/>
          </p:nvSpPr>
          <p:spPr bwMode="auto">
            <a:xfrm>
              <a:off x="5664148" y="3752002"/>
              <a:ext cx="12186" cy="5567"/>
            </a:xfrm>
            <a:custGeom>
              <a:avLst/>
              <a:gdLst>
                <a:gd name="T0" fmla="*/ 2 w 12"/>
                <a:gd name="T1" fmla="*/ 1 h 6"/>
                <a:gd name="T2" fmla="*/ 1 w 12"/>
                <a:gd name="T3" fmla="*/ 1 h 6"/>
                <a:gd name="T4" fmla="*/ 1 w 12"/>
                <a:gd name="T5" fmla="*/ 1 h 6"/>
                <a:gd name="T6" fmla="*/ 1 w 12"/>
                <a:gd name="T7" fmla="*/ 1 h 6"/>
                <a:gd name="T8" fmla="*/ 1 w 12"/>
                <a:gd name="T9" fmla="*/ 1 h 6"/>
                <a:gd name="T10" fmla="*/ 0 w 12"/>
                <a:gd name="T11" fmla="*/ 1 h 6"/>
                <a:gd name="T12" fmla="*/ 1 w 12"/>
                <a:gd name="T13" fmla="*/ 0 h 6"/>
                <a:gd name="T14" fmla="*/ 1 w 12"/>
                <a:gd name="T15" fmla="*/ 1 h 6"/>
                <a:gd name="T16" fmla="*/ 2 w 12"/>
                <a:gd name="T17" fmla="*/ 1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6"/>
                <a:gd name="T29" fmla="*/ 12 w 12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6">
                  <a:moveTo>
                    <a:pt x="12" y="5"/>
                  </a:moveTo>
                  <a:lnTo>
                    <a:pt x="9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10" y="3"/>
                  </a:lnTo>
                  <a:lnTo>
                    <a:pt x="12" y="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2" name="Freeform 39"/>
            <p:cNvSpPr>
              <a:spLocks/>
            </p:cNvSpPr>
            <p:nvPr/>
          </p:nvSpPr>
          <p:spPr bwMode="auto">
            <a:xfrm>
              <a:off x="5664148" y="3752002"/>
              <a:ext cx="12186" cy="5567"/>
            </a:xfrm>
            <a:custGeom>
              <a:avLst/>
              <a:gdLst>
                <a:gd name="T0" fmla="*/ 2 w 12"/>
                <a:gd name="T1" fmla="*/ 1 h 6"/>
                <a:gd name="T2" fmla="*/ 1 w 12"/>
                <a:gd name="T3" fmla="*/ 1 h 6"/>
                <a:gd name="T4" fmla="*/ 1 w 12"/>
                <a:gd name="T5" fmla="*/ 1 h 6"/>
                <a:gd name="T6" fmla="*/ 1 w 12"/>
                <a:gd name="T7" fmla="*/ 1 h 6"/>
                <a:gd name="T8" fmla="*/ 1 w 12"/>
                <a:gd name="T9" fmla="*/ 1 h 6"/>
                <a:gd name="T10" fmla="*/ 0 w 12"/>
                <a:gd name="T11" fmla="*/ 1 h 6"/>
                <a:gd name="T12" fmla="*/ 1 w 12"/>
                <a:gd name="T13" fmla="*/ 0 h 6"/>
                <a:gd name="T14" fmla="*/ 1 w 12"/>
                <a:gd name="T15" fmla="*/ 1 h 6"/>
                <a:gd name="T16" fmla="*/ 2 w 12"/>
                <a:gd name="T17" fmla="*/ 1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6"/>
                <a:gd name="T29" fmla="*/ 12 w 12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6">
                  <a:moveTo>
                    <a:pt x="12" y="5"/>
                  </a:moveTo>
                  <a:lnTo>
                    <a:pt x="9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10" y="3"/>
                  </a:lnTo>
                  <a:lnTo>
                    <a:pt x="12" y="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3" name="Freeform 40"/>
            <p:cNvSpPr>
              <a:spLocks/>
            </p:cNvSpPr>
            <p:nvPr/>
          </p:nvSpPr>
          <p:spPr bwMode="auto">
            <a:xfrm>
              <a:off x="5698676" y="3742725"/>
              <a:ext cx="16248" cy="14843"/>
            </a:xfrm>
            <a:custGeom>
              <a:avLst/>
              <a:gdLst>
                <a:gd name="T0" fmla="*/ 4 w 11"/>
                <a:gd name="T1" fmla="*/ 0 h 13"/>
                <a:gd name="T2" fmla="*/ 4 w 11"/>
                <a:gd name="T3" fmla="*/ 1 h 13"/>
                <a:gd name="T4" fmla="*/ 4 w 11"/>
                <a:gd name="T5" fmla="*/ 2 h 13"/>
                <a:gd name="T6" fmla="*/ 4 w 11"/>
                <a:gd name="T7" fmla="*/ 2 h 13"/>
                <a:gd name="T8" fmla="*/ 3 w 11"/>
                <a:gd name="T9" fmla="*/ 2 h 13"/>
                <a:gd name="T10" fmla="*/ 2 w 11"/>
                <a:gd name="T11" fmla="*/ 1 h 13"/>
                <a:gd name="T12" fmla="*/ 1 w 11"/>
                <a:gd name="T13" fmla="*/ 1 h 13"/>
                <a:gd name="T14" fmla="*/ 0 w 11"/>
                <a:gd name="T15" fmla="*/ 1 h 13"/>
                <a:gd name="T16" fmla="*/ 0 w 11"/>
                <a:gd name="T17" fmla="*/ 1 h 13"/>
                <a:gd name="T18" fmla="*/ 2 w 11"/>
                <a:gd name="T19" fmla="*/ 1 h 13"/>
                <a:gd name="T20" fmla="*/ 3 w 11"/>
                <a:gd name="T21" fmla="*/ 1 h 13"/>
                <a:gd name="T22" fmla="*/ 4 w 11"/>
                <a:gd name="T23" fmla="*/ 0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"/>
                <a:gd name="T37" fmla="*/ 0 h 13"/>
                <a:gd name="T38" fmla="*/ 11 w 11"/>
                <a:gd name="T39" fmla="*/ 13 h 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" h="13">
                  <a:moveTo>
                    <a:pt x="10" y="0"/>
                  </a:moveTo>
                  <a:lnTo>
                    <a:pt x="11" y="2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5" y="4"/>
                  </a:lnTo>
                  <a:lnTo>
                    <a:pt x="8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4" name="Freeform 41"/>
            <p:cNvSpPr>
              <a:spLocks/>
            </p:cNvSpPr>
            <p:nvPr/>
          </p:nvSpPr>
          <p:spPr bwMode="auto">
            <a:xfrm>
              <a:off x="5698676" y="3742725"/>
              <a:ext cx="16248" cy="14843"/>
            </a:xfrm>
            <a:custGeom>
              <a:avLst/>
              <a:gdLst>
                <a:gd name="T0" fmla="*/ 4 w 11"/>
                <a:gd name="T1" fmla="*/ 0 h 13"/>
                <a:gd name="T2" fmla="*/ 4 w 11"/>
                <a:gd name="T3" fmla="*/ 1 h 13"/>
                <a:gd name="T4" fmla="*/ 4 w 11"/>
                <a:gd name="T5" fmla="*/ 2 h 13"/>
                <a:gd name="T6" fmla="*/ 4 w 11"/>
                <a:gd name="T7" fmla="*/ 2 h 13"/>
                <a:gd name="T8" fmla="*/ 3 w 11"/>
                <a:gd name="T9" fmla="*/ 2 h 13"/>
                <a:gd name="T10" fmla="*/ 2 w 11"/>
                <a:gd name="T11" fmla="*/ 1 h 13"/>
                <a:gd name="T12" fmla="*/ 1 w 11"/>
                <a:gd name="T13" fmla="*/ 1 h 13"/>
                <a:gd name="T14" fmla="*/ 0 w 11"/>
                <a:gd name="T15" fmla="*/ 1 h 13"/>
                <a:gd name="T16" fmla="*/ 0 w 11"/>
                <a:gd name="T17" fmla="*/ 1 h 13"/>
                <a:gd name="T18" fmla="*/ 2 w 11"/>
                <a:gd name="T19" fmla="*/ 1 h 13"/>
                <a:gd name="T20" fmla="*/ 3 w 11"/>
                <a:gd name="T21" fmla="*/ 1 h 13"/>
                <a:gd name="T22" fmla="*/ 4 w 11"/>
                <a:gd name="T23" fmla="*/ 0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"/>
                <a:gd name="T37" fmla="*/ 0 h 13"/>
                <a:gd name="T38" fmla="*/ 11 w 11"/>
                <a:gd name="T39" fmla="*/ 13 h 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" h="13">
                  <a:moveTo>
                    <a:pt x="10" y="0"/>
                  </a:moveTo>
                  <a:lnTo>
                    <a:pt x="11" y="2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5" y="4"/>
                  </a:lnTo>
                  <a:lnTo>
                    <a:pt x="8" y="1"/>
                  </a:lnTo>
                  <a:lnTo>
                    <a:pt x="1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5" name="Freeform 42"/>
            <p:cNvSpPr>
              <a:spLocks/>
            </p:cNvSpPr>
            <p:nvPr/>
          </p:nvSpPr>
          <p:spPr bwMode="auto">
            <a:xfrm>
              <a:off x="2379994" y="2679604"/>
              <a:ext cx="14216" cy="11132"/>
            </a:xfrm>
            <a:custGeom>
              <a:avLst/>
              <a:gdLst>
                <a:gd name="T0" fmla="*/ 3 w 11"/>
                <a:gd name="T1" fmla="*/ 1 h 8"/>
                <a:gd name="T2" fmla="*/ 1 w 11"/>
                <a:gd name="T3" fmla="*/ 0 h 8"/>
                <a:gd name="T4" fmla="*/ 0 w 11"/>
                <a:gd name="T5" fmla="*/ 2 h 8"/>
                <a:gd name="T6" fmla="*/ 1 w 11"/>
                <a:gd name="T7" fmla="*/ 3 h 8"/>
                <a:gd name="T8" fmla="*/ 2 w 11"/>
                <a:gd name="T9" fmla="*/ 2 h 8"/>
                <a:gd name="T10" fmla="*/ 3 w 11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11" y="1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9" y="4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6" name="Freeform 43"/>
            <p:cNvSpPr>
              <a:spLocks/>
            </p:cNvSpPr>
            <p:nvPr/>
          </p:nvSpPr>
          <p:spPr bwMode="auto">
            <a:xfrm>
              <a:off x="2379994" y="2679604"/>
              <a:ext cx="14216" cy="11132"/>
            </a:xfrm>
            <a:custGeom>
              <a:avLst/>
              <a:gdLst>
                <a:gd name="T0" fmla="*/ 3 w 11"/>
                <a:gd name="T1" fmla="*/ 1 h 8"/>
                <a:gd name="T2" fmla="*/ 1 w 11"/>
                <a:gd name="T3" fmla="*/ 0 h 8"/>
                <a:gd name="T4" fmla="*/ 0 w 11"/>
                <a:gd name="T5" fmla="*/ 2 h 8"/>
                <a:gd name="T6" fmla="*/ 1 w 11"/>
                <a:gd name="T7" fmla="*/ 3 h 8"/>
                <a:gd name="T8" fmla="*/ 2 w 11"/>
                <a:gd name="T9" fmla="*/ 2 h 8"/>
                <a:gd name="T10" fmla="*/ 3 w 11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11" y="1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9" y="4"/>
                  </a:lnTo>
                  <a:lnTo>
                    <a:pt x="11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7" name="Freeform 44"/>
            <p:cNvSpPr>
              <a:spLocks/>
            </p:cNvSpPr>
            <p:nvPr/>
          </p:nvSpPr>
          <p:spPr bwMode="auto">
            <a:xfrm>
              <a:off x="3728589" y="3017279"/>
              <a:ext cx="24372" cy="24119"/>
            </a:xfrm>
            <a:custGeom>
              <a:avLst/>
              <a:gdLst>
                <a:gd name="T0" fmla="*/ 3 w 21"/>
                <a:gd name="T1" fmla="*/ 1 h 26"/>
                <a:gd name="T2" fmla="*/ 3 w 21"/>
                <a:gd name="T3" fmla="*/ 2 h 26"/>
                <a:gd name="T4" fmla="*/ 2 w 21"/>
                <a:gd name="T5" fmla="*/ 3 h 26"/>
                <a:gd name="T6" fmla="*/ 2 w 21"/>
                <a:gd name="T7" fmla="*/ 3 h 26"/>
                <a:gd name="T8" fmla="*/ 2 w 21"/>
                <a:gd name="T9" fmla="*/ 3 h 26"/>
                <a:gd name="T10" fmla="*/ 1 w 21"/>
                <a:gd name="T11" fmla="*/ 3 h 26"/>
                <a:gd name="T12" fmla="*/ 0 w 21"/>
                <a:gd name="T13" fmla="*/ 3 h 26"/>
                <a:gd name="T14" fmla="*/ 0 w 21"/>
                <a:gd name="T15" fmla="*/ 2 h 26"/>
                <a:gd name="T16" fmla="*/ 1 w 21"/>
                <a:gd name="T17" fmla="*/ 0 h 26"/>
                <a:gd name="T18" fmla="*/ 2 w 21"/>
                <a:gd name="T19" fmla="*/ 0 h 26"/>
                <a:gd name="T20" fmla="*/ 3 w 21"/>
                <a:gd name="T21" fmla="*/ 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6"/>
                <a:gd name="T35" fmla="*/ 21 w 2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6">
                  <a:moveTo>
                    <a:pt x="21" y="8"/>
                  </a:moveTo>
                  <a:lnTo>
                    <a:pt x="21" y="14"/>
                  </a:lnTo>
                  <a:lnTo>
                    <a:pt x="17" y="23"/>
                  </a:lnTo>
                  <a:lnTo>
                    <a:pt x="14" y="24"/>
                  </a:lnTo>
                  <a:lnTo>
                    <a:pt x="11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8" y="0"/>
                  </a:lnTo>
                  <a:lnTo>
                    <a:pt x="13" y="0"/>
                  </a:lnTo>
                  <a:lnTo>
                    <a:pt x="21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8" name="Freeform 45"/>
            <p:cNvSpPr>
              <a:spLocks/>
            </p:cNvSpPr>
            <p:nvPr/>
          </p:nvSpPr>
          <p:spPr bwMode="auto">
            <a:xfrm>
              <a:off x="3728589" y="3017279"/>
              <a:ext cx="24372" cy="24119"/>
            </a:xfrm>
            <a:custGeom>
              <a:avLst/>
              <a:gdLst>
                <a:gd name="T0" fmla="*/ 3 w 21"/>
                <a:gd name="T1" fmla="*/ 1 h 26"/>
                <a:gd name="T2" fmla="*/ 3 w 21"/>
                <a:gd name="T3" fmla="*/ 2 h 26"/>
                <a:gd name="T4" fmla="*/ 2 w 21"/>
                <a:gd name="T5" fmla="*/ 3 h 26"/>
                <a:gd name="T6" fmla="*/ 2 w 21"/>
                <a:gd name="T7" fmla="*/ 3 h 26"/>
                <a:gd name="T8" fmla="*/ 2 w 21"/>
                <a:gd name="T9" fmla="*/ 3 h 26"/>
                <a:gd name="T10" fmla="*/ 1 w 21"/>
                <a:gd name="T11" fmla="*/ 3 h 26"/>
                <a:gd name="T12" fmla="*/ 0 w 21"/>
                <a:gd name="T13" fmla="*/ 3 h 26"/>
                <a:gd name="T14" fmla="*/ 0 w 21"/>
                <a:gd name="T15" fmla="*/ 2 h 26"/>
                <a:gd name="T16" fmla="*/ 1 w 21"/>
                <a:gd name="T17" fmla="*/ 0 h 26"/>
                <a:gd name="T18" fmla="*/ 2 w 21"/>
                <a:gd name="T19" fmla="*/ 0 h 26"/>
                <a:gd name="T20" fmla="*/ 3 w 21"/>
                <a:gd name="T21" fmla="*/ 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6"/>
                <a:gd name="T35" fmla="*/ 21 w 2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6">
                  <a:moveTo>
                    <a:pt x="21" y="8"/>
                  </a:moveTo>
                  <a:lnTo>
                    <a:pt x="21" y="14"/>
                  </a:lnTo>
                  <a:lnTo>
                    <a:pt x="17" y="23"/>
                  </a:lnTo>
                  <a:lnTo>
                    <a:pt x="14" y="24"/>
                  </a:lnTo>
                  <a:lnTo>
                    <a:pt x="11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8" y="0"/>
                  </a:lnTo>
                  <a:lnTo>
                    <a:pt x="13" y="0"/>
                  </a:lnTo>
                  <a:lnTo>
                    <a:pt x="21" y="8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9" name="Freeform 46"/>
            <p:cNvSpPr>
              <a:spLocks/>
            </p:cNvSpPr>
            <p:nvPr/>
          </p:nvSpPr>
          <p:spPr bwMode="auto">
            <a:xfrm>
              <a:off x="3572201" y="3249199"/>
              <a:ext cx="6092" cy="9277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0 h 5"/>
                <a:gd name="T4" fmla="*/ 2 w 4"/>
                <a:gd name="T5" fmla="*/ 3 h 5"/>
                <a:gd name="T6" fmla="*/ 2 w 4"/>
                <a:gd name="T7" fmla="*/ 7 h 5"/>
                <a:gd name="T8" fmla="*/ 1 w 4"/>
                <a:gd name="T9" fmla="*/ 6 h 5"/>
                <a:gd name="T10" fmla="*/ 0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0" name="Freeform 47"/>
            <p:cNvSpPr>
              <a:spLocks/>
            </p:cNvSpPr>
            <p:nvPr/>
          </p:nvSpPr>
          <p:spPr bwMode="auto">
            <a:xfrm>
              <a:off x="3572201" y="3249199"/>
              <a:ext cx="6092" cy="9277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0 h 5"/>
                <a:gd name="T4" fmla="*/ 2 w 4"/>
                <a:gd name="T5" fmla="*/ 3 h 5"/>
                <a:gd name="T6" fmla="*/ 2 w 4"/>
                <a:gd name="T7" fmla="*/ 7 h 5"/>
                <a:gd name="T8" fmla="*/ 1 w 4"/>
                <a:gd name="T9" fmla="*/ 6 h 5"/>
                <a:gd name="T10" fmla="*/ 0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1" y="4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1" name="Freeform 48"/>
            <p:cNvSpPr>
              <a:spLocks/>
            </p:cNvSpPr>
            <p:nvPr/>
          </p:nvSpPr>
          <p:spPr bwMode="auto">
            <a:xfrm>
              <a:off x="5461046" y="2447683"/>
              <a:ext cx="6092" cy="556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0 h 8"/>
                <a:gd name="T6" fmla="*/ 0 w 7"/>
                <a:gd name="T7" fmla="*/ 0 h 8"/>
                <a:gd name="T8" fmla="*/ 0 w 7"/>
                <a:gd name="T9" fmla="*/ 0 h 8"/>
                <a:gd name="T10" fmla="*/ 0 w 7"/>
                <a:gd name="T11" fmla="*/ 0 h 8"/>
                <a:gd name="T12" fmla="*/ 0 w 7"/>
                <a:gd name="T13" fmla="*/ 0 h 8"/>
                <a:gd name="T14" fmla="*/ 0 w 7"/>
                <a:gd name="T15" fmla="*/ 0 h 8"/>
                <a:gd name="T16" fmla="*/ 0 w 7"/>
                <a:gd name="T17" fmla="*/ 0 h 8"/>
                <a:gd name="T18" fmla="*/ 0 w 7"/>
                <a:gd name="T19" fmla="*/ 0 h 8"/>
                <a:gd name="T20" fmla="*/ 0 w 7"/>
                <a:gd name="T21" fmla="*/ 0 h 8"/>
                <a:gd name="T22" fmla="*/ 0 w 7"/>
                <a:gd name="T23" fmla="*/ 0 h 8"/>
                <a:gd name="T24" fmla="*/ 0 w 7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"/>
                <a:gd name="T40" fmla="*/ 0 h 8"/>
                <a:gd name="T41" fmla="*/ 7 w 7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" h="8">
                  <a:moveTo>
                    <a:pt x="3" y="3"/>
                  </a:moveTo>
                  <a:lnTo>
                    <a:pt x="4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8"/>
                  </a:lnTo>
                  <a:lnTo>
                    <a:pt x="6" y="8"/>
                  </a:lnTo>
                  <a:lnTo>
                    <a:pt x="7" y="6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2" name="Freeform 49"/>
            <p:cNvSpPr>
              <a:spLocks/>
            </p:cNvSpPr>
            <p:nvPr/>
          </p:nvSpPr>
          <p:spPr bwMode="auto">
            <a:xfrm>
              <a:off x="5461046" y="2447683"/>
              <a:ext cx="6092" cy="556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0 h 8"/>
                <a:gd name="T6" fmla="*/ 0 w 7"/>
                <a:gd name="T7" fmla="*/ 0 h 8"/>
                <a:gd name="T8" fmla="*/ 0 w 7"/>
                <a:gd name="T9" fmla="*/ 0 h 8"/>
                <a:gd name="T10" fmla="*/ 0 w 7"/>
                <a:gd name="T11" fmla="*/ 0 h 8"/>
                <a:gd name="T12" fmla="*/ 0 w 7"/>
                <a:gd name="T13" fmla="*/ 0 h 8"/>
                <a:gd name="T14" fmla="*/ 0 w 7"/>
                <a:gd name="T15" fmla="*/ 0 h 8"/>
                <a:gd name="T16" fmla="*/ 0 w 7"/>
                <a:gd name="T17" fmla="*/ 0 h 8"/>
                <a:gd name="T18" fmla="*/ 0 w 7"/>
                <a:gd name="T19" fmla="*/ 0 h 8"/>
                <a:gd name="T20" fmla="*/ 0 w 7"/>
                <a:gd name="T21" fmla="*/ 0 h 8"/>
                <a:gd name="T22" fmla="*/ 0 w 7"/>
                <a:gd name="T23" fmla="*/ 0 h 8"/>
                <a:gd name="T24" fmla="*/ 0 w 7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"/>
                <a:gd name="T40" fmla="*/ 0 h 8"/>
                <a:gd name="T41" fmla="*/ 7 w 7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" h="8">
                  <a:moveTo>
                    <a:pt x="3" y="3"/>
                  </a:moveTo>
                  <a:lnTo>
                    <a:pt x="4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8"/>
                  </a:lnTo>
                  <a:lnTo>
                    <a:pt x="6" y="8"/>
                  </a:lnTo>
                  <a:lnTo>
                    <a:pt x="7" y="6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3" name="Freeform 50"/>
            <p:cNvSpPr>
              <a:spLocks/>
            </p:cNvSpPr>
            <p:nvPr/>
          </p:nvSpPr>
          <p:spPr bwMode="auto">
            <a:xfrm>
              <a:off x="5454955" y="2460671"/>
              <a:ext cx="26403" cy="12987"/>
            </a:xfrm>
            <a:custGeom>
              <a:avLst/>
              <a:gdLst>
                <a:gd name="T0" fmla="*/ 2 w 23"/>
                <a:gd name="T1" fmla="*/ 1 h 14"/>
                <a:gd name="T2" fmla="*/ 2 w 23"/>
                <a:gd name="T3" fmla="*/ 1 h 14"/>
                <a:gd name="T4" fmla="*/ 2 w 23"/>
                <a:gd name="T5" fmla="*/ 1 h 14"/>
                <a:gd name="T6" fmla="*/ 2 w 23"/>
                <a:gd name="T7" fmla="*/ 1 h 14"/>
                <a:gd name="T8" fmla="*/ 2 w 23"/>
                <a:gd name="T9" fmla="*/ 1 h 14"/>
                <a:gd name="T10" fmla="*/ 1 w 23"/>
                <a:gd name="T11" fmla="*/ 0 h 14"/>
                <a:gd name="T12" fmla="*/ 1 w 23"/>
                <a:gd name="T13" fmla="*/ 0 h 14"/>
                <a:gd name="T14" fmla="*/ 1 w 23"/>
                <a:gd name="T15" fmla="*/ 1 h 14"/>
                <a:gd name="T16" fmla="*/ 0 w 23"/>
                <a:gd name="T17" fmla="*/ 1 h 14"/>
                <a:gd name="T18" fmla="*/ 0 w 23"/>
                <a:gd name="T19" fmla="*/ 1 h 14"/>
                <a:gd name="T20" fmla="*/ 1 w 23"/>
                <a:gd name="T21" fmla="*/ 1 h 14"/>
                <a:gd name="T22" fmla="*/ 1 w 23"/>
                <a:gd name="T23" fmla="*/ 1 h 14"/>
                <a:gd name="T24" fmla="*/ 1 w 23"/>
                <a:gd name="T25" fmla="*/ 1 h 14"/>
                <a:gd name="T26" fmla="*/ 1 w 23"/>
                <a:gd name="T27" fmla="*/ 1 h 14"/>
                <a:gd name="T28" fmla="*/ 1 w 23"/>
                <a:gd name="T29" fmla="*/ 1 h 14"/>
                <a:gd name="T30" fmla="*/ 1 w 23"/>
                <a:gd name="T31" fmla="*/ 1 h 14"/>
                <a:gd name="T32" fmla="*/ 1 w 23"/>
                <a:gd name="T33" fmla="*/ 1 h 14"/>
                <a:gd name="T34" fmla="*/ 3 w 23"/>
                <a:gd name="T35" fmla="*/ 2 h 14"/>
                <a:gd name="T36" fmla="*/ 3 w 23"/>
                <a:gd name="T37" fmla="*/ 1 h 14"/>
                <a:gd name="T38" fmla="*/ 3 w 23"/>
                <a:gd name="T39" fmla="*/ 1 h 14"/>
                <a:gd name="T40" fmla="*/ 3 w 23"/>
                <a:gd name="T41" fmla="*/ 1 h 14"/>
                <a:gd name="T42" fmla="*/ 3 w 23"/>
                <a:gd name="T43" fmla="*/ 1 h 14"/>
                <a:gd name="T44" fmla="*/ 2 w 23"/>
                <a:gd name="T45" fmla="*/ 1 h 14"/>
                <a:gd name="T46" fmla="*/ 2 w 23"/>
                <a:gd name="T47" fmla="*/ 1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4"/>
                <a:gd name="T74" fmla="*/ 23 w 23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4">
                  <a:moveTo>
                    <a:pt x="15" y="8"/>
                  </a:moveTo>
                  <a:lnTo>
                    <a:pt x="15" y="10"/>
                  </a:lnTo>
                  <a:lnTo>
                    <a:pt x="14" y="11"/>
                  </a:lnTo>
                  <a:lnTo>
                    <a:pt x="13" y="10"/>
                  </a:lnTo>
                  <a:lnTo>
                    <a:pt x="11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6" y="5"/>
                  </a:lnTo>
                  <a:lnTo>
                    <a:pt x="7" y="9"/>
                  </a:lnTo>
                  <a:lnTo>
                    <a:pt x="5" y="10"/>
                  </a:lnTo>
                  <a:lnTo>
                    <a:pt x="3" y="9"/>
                  </a:lnTo>
                  <a:lnTo>
                    <a:pt x="6" y="12"/>
                  </a:lnTo>
                  <a:lnTo>
                    <a:pt x="22" y="14"/>
                  </a:lnTo>
                  <a:lnTo>
                    <a:pt x="23" y="12"/>
                  </a:lnTo>
                  <a:lnTo>
                    <a:pt x="22" y="10"/>
                  </a:lnTo>
                  <a:lnTo>
                    <a:pt x="19" y="9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4" name="Freeform 51"/>
            <p:cNvSpPr>
              <a:spLocks/>
            </p:cNvSpPr>
            <p:nvPr/>
          </p:nvSpPr>
          <p:spPr bwMode="auto">
            <a:xfrm>
              <a:off x="5454955" y="2460671"/>
              <a:ext cx="26403" cy="12987"/>
            </a:xfrm>
            <a:custGeom>
              <a:avLst/>
              <a:gdLst>
                <a:gd name="T0" fmla="*/ 2 w 23"/>
                <a:gd name="T1" fmla="*/ 1 h 14"/>
                <a:gd name="T2" fmla="*/ 2 w 23"/>
                <a:gd name="T3" fmla="*/ 1 h 14"/>
                <a:gd name="T4" fmla="*/ 2 w 23"/>
                <a:gd name="T5" fmla="*/ 1 h 14"/>
                <a:gd name="T6" fmla="*/ 2 w 23"/>
                <a:gd name="T7" fmla="*/ 1 h 14"/>
                <a:gd name="T8" fmla="*/ 2 w 23"/>
                <a:gd name="T9" fmla="*/ 1 h 14"/>
                <a:gd name="T10" fmla="*/ 1 w 23"/>
                <a:gd name="T11" fmla="*/ 0 h 14"/>
                <a:gd name="T12" fmla="*/ 1 w 23"/>
                <a:gd name="T13" fmla="*/ 0 h 14"/>
                <a:gd name="T14" fmla="*/ 1 w 23"/>
                <a:gd name="T15" fmla="*/ 1 h 14"/>
                <a:gd name="T16" fmla="*/ 0 w 23"/>
                <a:gd name="T17" fmla="*/ 1 h 14"/>
                <a:gd name="T18" fmla="*/ 0 w 23"/>
                <a:gd name="T19" fmla="*/ 1 h 14"/>
                <a:gd name="T20" fmla="*/ 1 w 23"/>
                <a:gd name="T21" fmla="*/ 1 h 14"/>
                <a:gd name="T22" fmla="*/ 1 w 23"/>
                <a:gd name="T23" fmla="*/ 1 h 14"/>
                <a:gd name="T24" fmla="*/ 1 w 23"/>
                <a:gd name="T25" fmla="*/ 1 h 14"/>
                <a:gd name="T26" fmla="*/ 1 w 23"/>
                <a:gd name="T27" fmla="*/ 1 h 14"/>
                <a:gd name="T28" fmla="*/ 1 w 23"/>
                <a:gd name="T29" fmla="*/ 1 h 14"/>
                <a:gd name="T30" fmla="*/ 1 w 23"/>
                <a:gd name="T31" fmla="*/ 1 h 14"/>
                <a:gd name="T32" fmla="*/ 1 w 23"/>
                <a:gd name="T33" fmla="*/ 1 h 14"/>
                <a:gd name="T34" fmla="*/ 3 w 23"/>
                <a:gd name="T35" fmla="*/ 2 h 14"/>
                <a:gd name="T36" fmla="*/ 3 w 23"/>
                <a:gd name="T37" fmla="*/ 1 h 14"/>
                <a:gd name="T38" fmla="*/ 3 w 23"/>
                <a:gd name="T39" fmla="*/ 1 h 14"/>
                <a:gd name="T40" fmla="*/ 3 w 23"/>
                <a:gd name="T41" fmla="*/ 1 h 14"/>
                <a:gd name="T42" fmla="*/ 3 w 23"/>
                <a:gd name="T43" fmla="*/ 1 h 14"/>
                <a:gd name="T44" fmla="*/ 2 w 23"/>
                <a:gd name="T45" fmla="*/ 1 h 14"/>
                <a:gd name="T46" fmla="*/ 2 w 23"/>
                <a:gd name="T47" fmla="*/ 1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4"/>
                <a:gd name="T74" fmla="*/ 23 w 23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4">
                  <a:moveTo>
                    <a:pt x="15" y="8"/>
                  </a:moveTo>
                  <a:lnTo>
                    <a:pt x="15" y="10"/>
                  </a:lnTo>
                  <a:lnTo>
                    <a:pt x="14" y="11"/>
                  </a:lnTo>
                  <a:lnTo>
                    <a:pt x="13" y="10"/>
                  </a:lnTo>
                  <a:lnTo>
                    <a:pt x="11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6" y="5"/>
                  </a:lnTo>
                  <a:lnTo>
                    <a:pt x="7" y="9"/>
                  </a:lnTo>
                  <a:lnTo>
                    <a:pt x="5" y="10"/>
                  </a:lnTo>
                  <a:lnTo>
                    <a:pt x="3" y="9"/>
                  </a:lnTo>
                  <a:lnTo>
                    <a:pt x="6" y="12"/>
                  </a:lnTo>
                  <a:lnTo>
                    <a:pt x="22" y="14"/>
                  </a:lnTo>
                  <a:lnTo>
                    <a:pt x="23" y="12"/>
                  </a:lnTo>
                  <a:lnTo>
                    <a:pt x="22" y="10"/>
                  </a:lnTo>
                  <a:lnTo>
                    <a:pt x="19" y="9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5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5" name="Freeform 52"/>
            <p:cNvSpPr>
              <a:spLocks/>
            </p:cNvSpPr>
            <p:nvPr/>
          </p:nvSpPr>
          <p:spPr bwMode="auto">
            <a:xfrm>
              <a:off x="5808351" y="3616561"/>
              <a:ext cx="16248" cy="5567"/>
            </a:xfrm>
            <a:custGeom>
              <a:avLst/>
              <a:gdLst>
                <a:gd name="T0" fmla="*/ 2 w 12"/>
                <a:gd name="T1" fmla="*/ 1 h 4"/>
                <a:gd name="T2" fmla="*/ 2 w 12"/>
                <a:gd name="T3" fmla="*/ 0 h 4"/>
                <a:gd name="T4" fmla="*/ 1 w 12"/>
                <a:gd name="T5" fmla="*/ 0 h 4"/>
                <a:gd name="T6" fmla="*/ 0 w 12"/>
                <a:gd name="T7" fmla="*/ 2 h 4"/>
                <a:gd name="T8" fmla="*/ 2 w 12"/>
                <a:gd name="T9" fmla="*/ 2 h 4"/>
                <a:gd name="T10" fmla="*/ 3 w 12"/>
                <a:gd name="T11" fmla="*/ 0 h 4"/>
                <a:gd name="T12" fmla="*/ 2 w 12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4"/>
                <a:gd name="T23" fmla="*/ 12 w 12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4">
                  <a:moveTo>
                    <a:pt x="6" y="1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6" y="4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6" name="Freeform 53"/>
            <p:cNvSpPr>
              <a:spLocks/>
            </p:cNvSpPr>
            <p:nvPr/>
          </p:nvSpPr>
          <p:spPr bwMode="auto">
            <a:xfrm>
              <a:off x="5808351" y="3616561"/>
              <a:ext cx="16248" cy="5567"/>
            </a:xfrm>
            <a:custGeom>
              <a:avLst/>
              <a:gdLst>
                <a:gd name="T0" fmla="*/ 2 w 12"/>
                <a:gd name="T1" fmla="*/ 1 h 4"/>
                <a:gd name="T2" fmla="*/ 2 w 12"/>
                <a:gd name="T3" fmla="*/ 0 h 4"/>
                <a:gd name="T4" fmla="*/ 1 w 12"/>
                <a:gd name="T5" fmla="*/ 0 h 4"/>
                <a:gd name="T6" fmla="*/ 0 w 12"/>
                <a:gd name="T7" fmla="*/ 2 h 4"/>
                <a:gd name="T8" fmla="*/ 2 w 12"/>
                <a:gd name="T9" fmla="*/ 2 h 4"/>
                <a:gd name="T10" fmla="*/ 3 w 12"/>
                <a:gd name="T11" fmla="*/ 0 h 4"/>
                <a:gd name="T12" fmla="*/ 2 w 12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4"/>
                <a:gd name="T23" fmla="*/ 12 w 12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4">
                  <a:moveTo>
                    <a:pt x="6" y="1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6" y="4"/>
                  </a:lnTo>
                  <a:lnTo>
                    <a:pt x="12" y="0"/>
                  </a:lnTo>
                  <a:lnTo>
                    <a:pt x="6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7" name="Freeform 54"/>
            <p:cNvSpPr>
              <a:spLocks/>
            </p:cNvSpPr>
            <p:nvPr/>
          </p:nvSpPr>
          <p:spPr bwMode="auto">
            <a:xfrm>
              <a:off x="4002777" y="2095165"/>
              <a:ext cx="582901" cy="755132"/>
            </a:xfrm>
            <a:custGeom>
              <a:avLst/>
              <a:gdLst>
                <a:gd name="T0" fmla="*/ 13 w 489"/>
                <a:gd name="T1" fmla="*/ 12 h 756"/>
                <a:gd name="T2" fmla="*/ 15 w 489"/>
                <a:gd name="T3" fmla="*/ 15 h 756"/>
                <a:gd name="T4" fmla="*/ 20 w 489"/>
                <a:gd name="T5" fmla="*/ 17 h 756"/>
                <a:gd name="T6" fmla="*/ 15 w 489"/>
                <a:gd name="T7" fmla="*/ 38 h 756"/>
                <a:gd name="T8" fmla="*/ 2 w 489"/>
                <a:gd name="T9" fmla="*/ 50 h 756"/>
                <a:gd name="T10" fmla="*/ 2 w 489"/>
                <a:gd name="T11" fmla="*/ 51 h 756"/>
                <a:gd name="T12" fmla="*/ 0 w 489"/>
                <a:gd name="T13" fmla="*/ 52 h 756"/>
                <a:gd name="T14" fmla="*/ 2 w 489"/>
                <a:gd name="T15" fmla="*/ 53 h 756"/>
                <a:gd name="T16" fmla="*/ 4 w 489"/>
                <a:gd name="T17" fmla="*/ 54 h 756"/>
                <a:gd name="T18" fmla="*/ 5 w 489"/>
                <a:gd name="T19" fmla="*/ 58 h 756"/>
                <a:gd name="T20" fmla="*/ 9 w 489"/>
                <a:gd name="T21" fmla="*/ 58 h 756"/>
                <a:gd name="T22" fmla="*/ 12 w 489"/>
                <a:gd name="T23" fmla="*/ 58 h 756"/>
                <a:gd name="T24" fmla="*/ 13 w 489"/>
                <a:gd name="T25" fmla="*/ 60 h 756"/>
                <a:gd name="T26" fmla="*/ 11 w 489"/>
                <a:gd name="T27" fmla="*/ 61 h 756"/>
                <a:gd name="T28" fmla="*/ 9 w 489"/>
                <a:gd name="T29" fmla="*/ 62 h 756"/>
                <a:gd name="T30" fmla="*/ 11 w 489"/>
                <a:gd name="T31" fmla="*/ 67 h 756"/>
                <a:gd name="T32" fmla="*/ 14 w 489"/>
                <a:gd name="T33" fmla="*/ 76 h 756"/>
                <a:gd name="T34" fmla="*/ 15 w 489"/>
                <a:gd name="T35" fmla="*/ 78 h 756"/>
                <a:gd name="T36" fmla="*/ 9 w 489"/>
                <a:gd name="T37" fmla="*/ 78 h 756"/>
                <a:gd name="T38" fmla="*/ 6 w 489"/>
                <a:gd name="T39" fmla="*/ 78 h 756"/>
                <a:gd name="T40" fmla="*/ 5 w 489"/>
                <a:gd name="T41" fmla="*/ 80 h 756"/>
                <a:gd name="T42" fmla="*/ 7 w 489"/>
                <a:gd name="T43" fmla="*/ 83 h 756"/>
                <a:gd name="T44" fmla="*/ 11 w 489"/>
                <a:gd name="T45" fmla="*/ 84 h 756"/>
                <a:gd name="T46" fmla="*/ 15 w 489"/>
                <a:gd name="T47" fmla="*/ 92 h 756"/>
                <a:gd name="T48" fmla="*/ 15 w 489"/>
                <a:gd name="T49" fmla="*/ 92 h 756"/>
                <a:gd name="T50" fmla="*/ 19 w 489"/>
                <a:gd name="T51" fmla="*/ 92 h 756"/>
                <a:gd name="T52" fmla="*/ 21 w 489"/>
                <a:gd name="T53" fmla="*/ 91 h 756"/>
                <a:gd name="T54" fmla="*/ 23 w 489"/>
                <a:gd name="T55" fmla="*/ 90 h 756"/>
                <a:gd name="T56" fmla="*/ 24 w 489"/>
                <a:gd name="T57" fmla="*/ 90 h 756"/>
                <a:gd name="T58" fmla="*/ 25 w 489"/>
                <a:gd name="T59" fmla="*/ 90 h 756"/>
                <a:gd name="T60" fmla="*/ 26 w 489"/>
                <a:gd name="T61" fmla="*/ 91 h 756"/>
                <a:gd name="T62" fmla="*/ 27 w 489"/>
                <a:gd name="T63" fmla="*/ 92 h 756"/>
                <a:gd name="T64" fmla="*/ 29 w 489"/>
                <a:gd name="T65" fmla="*/ 90 h 756"/>
                <a:gd name="T66" fmla="*/ 33 w 489"/>
                <a:gd name="T67" fmla="*/ 89 h 756"/>
                <a:gd name="T68" fmla="*/ 36 w 489"/>
                <a:gd name="T69" fmla="*/ 88 h 756"/>
                <a:gd name="T70" fmla="*/ 40 w 489"/>
                <a:gd name="T71" fmla="*/ 88 h 756"/>
                <a:gd name="T72" fmla="*/ 40 w 489"/>
                <a:gd name="T73" fmla="*/ 88 h 756"/>
                <a:gd name="T74" fmla="*/ 42 w 489"/>
                <a:gd name="T75" fmla="*/ 87 h 756"/>
                <a:gd name="T76" fmla="*/ 43 w 489"/>
                <a:gd name="T77" fmla="*/ 86 h 756"/>
                <a:gd name="T78" fmla="*/ 43 w 489"/>
                <a:gd name="T79" fmla="*/ 85 h 756"/>
                <a:gd name="T80" fmla="*/ 42 w 489"/>
                <a:gd name="T81" fmla="*/ 84 h 756"/>
                <a:gd name="T82" fmla="*/ 52 w 489"/>
                <a:gd name="T83" fmla="*/ 82 h 756"/>
                <a:gd name="T84" fmla="*/ 54 w 489"/>
                <a:gd name="T85" fmla="*/ 82 h 756"/>
                <a:gd name="T86" fmla="*/ 57 w 489"/>
                <a:gd name="T87" fmla="*/ 81 h 756"/>
                <a:gd name="T88" fmla="*/ 58 w 489"/>
                <a:gd name="T89" fmla="*/ 79 h 756"/>
                <a:gd name="T90" fmla="*/ 60 w 489"/>
                <a:gd name="T91" fmla="*/ 78 h 756"/>
                <a:gd name="T92" fmla="*/ 62 w 489"/>
                <a:gd name="T93" fmla="*/ 76 h 756"/>
                <a:gd name="T94" fmla="*/ 63 w 489"/>
                <a:gd name="T95" fmla="*/ 74 h 756"/>
                <a:gd name="T96" fmla="*/ 65 w 489"/>
                <a:gd name="T97" fmla="*/ 73 h 756"/>
                <a:gd name="T98" fmla="*/ 71 w 489"/>
                <a:gd name="T99" fmla="*/ 69 h 756"/>
                <a:gd name="T100" fmla="*/ 70 w 489"/>
                <a:gd name="T101" fmla="*/ 69 h 756"/>
                <a:gd name="T102" fmla="*/ 67 w 489"/>
                <a:gd name="T103" fmla="*/ 64 h 756"/>
                <a:gd name="T104" fmla="*/ 65 w 489"/>
                <a:gd name="T105" fmla="*/ 62 h 756"/>
                <a:gd name="T106" fmla="*/ 65 w 489"/>
                <a:gd name="T107" fmla="*/ 60 h 756"/>
                <a:gd name="T108" fmla="*/ 66 w 489"/>
                <a:gd name="T109" fmla="*/ 55 h 756"/>
                <a:gd name="T110" fmla="*/ 67 w 489"/>
                <a:gd name="T111" fmla="*/ 55 h 756"/>
                <a:gd name="T112" fmla="*/ 67 w 489"/>
                <a:gd name="T113" fmla="*/ 54 h 756"/>
                <a:gd name="T114" fmla="*/ 72 w 489"/>
                <a:gd name="T115" fmla="*/ 47 h 756"/>
                <a:gd name="T116" fmla="*/ 73 w 489"/>
                <a:gd name="T117" fmla="*/ 45 h 756"/>
                <a:gd name="T118" fmla="*/ 80 w 489"/>
                <a:gd name="T119" fmla="*/ 23 h 756"/>
                <a:gd name="T120" fmla="*/ 20 w 489"/>
                <a:gd name="T121" fmla="*/ 0 h 756"/>
                <a:gd name="T122" fmla="*/ 12 w 489"/>
                <a:gd name="T123" fmla="*/ 11 h 7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89"/>
                <a:gd name="T187" fmla="*/ 0 h 756"/>
                <a:gd name="T188" fmla="*/ 489 w 489"/>
                <a:gd name="T189" fmla="*/ 756 h 7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89" h="756">
                  <a:moveTo>
                    <a:pt x="75" y="88"/>
                  </a:moveTo>
                  <a:lnTo>
                    <a:pt x="82" y="101"/>
                  </a:lnTo>
                  <a:lnTo>
                    <a:pt x="82" y="104"/>
                  </a:lnTo>
                  <a:lnTo>
                    <a:pt x="88" y="119"/>
                  </a:lnTo>
                  <a:lnTo>
                    <a:pt x="96" y="130"/>
                  </a:lnTo>
                  <a:lnTo>
                    <a:pt x="121" y="144"/>
                  </a:lnTo>
                  <a:lnTo>
                    <a:pt x="108" y="165"/>
                  </a:lnTo>
                  <a:lnTo>
                    <a:pt x="92" y="313"/>
                  </a:lnTo>
                  <a:lnTo>
                    <a:pt x="14" y="400"/>
                  </a:lnTo>
                  <a:lnTo>
                    <a:pt x="14" y="409"/>
                  </a:lnTo>
                  <a:lnTo>
                    <a:pt x="9" y="411"/>
                  </a:lnTo>
                  <a:lnTo>
                    <a:pt x="10" y="420"/>
                  </a:lnTo>
                  <a:lnTo>
                    <a:pt x="3" y="421"/>
                  </a:lnTo>
                  <a:lnTo>
                    <a:pt x="0" y="425"/>
                  </a:lnTo>
                  <a:lnTo>
                    <a:pt x="1" y="434"/>
                  </a:lnTo>
                  <a:lnTo>
                    <a:pt x="14" y="438"/>
                  </a:lnTo>
                  <a:lnTo>
                    <a:pt x="19" y="443"/>
                  </a:lnTo>
                  <a:lnTo>
                    <a:pt x="24" y="447"/>
                  </a:lnTo>
                  <a:lnTo>
                    <a:pt x="30" y="453"/>
                  </a:lnTo>
                  <a:lnTo>
                    <a:pt x="33" y="471"/>
                  </a:lnTo>
                  <a:lnTo>
                    <a:pt x="46" y="473"/>
                  </a:lnTo>
                  <a:lnTo>
                    <a:pt x="57" y="472"/>
                  </a:lnTo>
                  <a:lnTo>
                    <a:pt x="68" y="476"/>
                  </a:lnTo>
                  <a:lnTo>
                    <a:pt x="74" y="474"/>
                  </a:lnTo>
                  <a:lnTo>
                    <a:pt x="81" y="487"/>
                  </a:lnTo>
                  <a:lnTo>
                    <a:pt x="78" y="491"/>
                  </a:lnTo>
                  <a:lnTo>
                    <a:pt x="76" y="497"/>
                  </a:lnTo>
                  <a:lnTo>
                    <a:pt x="69" y="504"/>
                  </a:lnTo>
                  <a:lnTo>
                    <a:pt x="56" y="507"/>
                  </a:lnTo>
                  <a:lnTo>
                    <a:pt x="58" y="512"/>
                  </a:lnTo>
                  <a:lnTo>
                    <a:pt x="63" y="535"/>
                  </a:lnTo>
                  <a:lnTo>
                    <a:pt x="70" y="549"/>
                  </a:lnTo>
                  <a:lnTo>
                    <a:pt x="66" y="591"/>
                  </a:lnTo>
                  <a:lnTo>
                    <a:pt x="86" y="625"/>
                  </a:lnTo>
                  <a:lnTo>
                    <a:pt x="89" y="637"/>
                  </a:lnTo>
                  <a:lnTo>
                    <a:pt x="88" y="640"/>
                  </a:lnTo>
                  <a:lnTo>
                    <a:pt x="84" y="642"/>
                  </a:lnTo>
                  <a:lnTo>
                    <a:pt x="55" y="636"/>
                  </a:lnTo>
                  <a:lnTo>
                    <a:pt x="39" y="639"/>
                  </a:lnTo>
                  <a:lnTo>
                    <a:pt x="36" y="641"/>
                  </a:lnTo>
                  <a:lnTo>
                    <a:pt x="33" y="646"/>
                  </a:lnTo>
                  <a:lnTo>
                    <a:pt x="32" y="658"/>
                  </a:lnTo>
                  <a:lnTo>
                    <a:pt x="33" y="667"/>
                  </a:lnTo>
                  <a:lnTo>
                    <a:pt x="42" y="680"/>
                  </a:lnTo>
                  <a:lnTo>
                    <a:pt x="49" y="685"/>
                  </a:lnTo>
                  <a:lnTo>
                    <a:pt x="66" y="690"/>
                  </a:lnTo>
                  <a:lnTo>
                    <a:pt x="69" y="692"/>
                  </a:lnTo>
                  <a:lnTo>
                    <a:pt x="89" y="755"/>
                  </a:lnTo>
                  <a:lnTo>
                    <a:pt x="91" y="756"/>
                  </a:lnTo>
                  <a:lnTo>
                    <a:pt x="94" y="754"/>
                  </a:lnTo>
                  <a:lnTo>
                    <a:pt x="110" y="752"/>
                  </a:lnTo>
                  <a:lnTo>
                    <a:pt x="116" y="754"/>
                  </a:lnTo>
                  <a:lnTo>
                    <a:pt x="120" y="754"/>
                  </a:lnTo>
                  <a:lnTo>
                    <a:pt x="128" y="747"/>
                  </a:lnTo>
                  <a:lnTo>
                    <a:pt x="139" y="745"/>
                  </a:lnTo>
                  <a:lnTo>
                    <a:pt x="140" y="740"/>
                  </a:lnTo>
                  <a:lnTo>
                    <a:pt x="143" y="739"/>
                  </a:lnTo>
                  <a:lnTo>
                    <a:pt x="146" y="738"/>
                  </a:lnTo>
                  <a:lnTo>
                    <a:pt x="149" y="738"/>
                  </a:lnTo>
                  <a:lnTo>
                    <a:pt x="150" y="738"/>
                  </a:lnTo>
                  <a:lnTo>
                    <a:pt x="153" y="743"/>
                  </a:lnTo>
                  <a:lnTo>
                    <a:pt x="156" y="745"/>
                  </a:lnTo>
                  <a:lnTo>
                    <a:pt x="162" y="751"/>
                  </a:lnTo>
                  <a:lnTo>
                    <a:pt x="165" y="750"/>
                  </a:lnTo>
                  <a:lnTo>
                    <a:pt x="166" y="746"/>
                  </a:lnTo>
                  <a:lnTo>
                    <a:pt x="179" y="743"/>
                  </a:lnTo>
                  <a:lnTo>
                    <a:pt x="186" y="738"/>
                  </a:lnTo>
                  <a:lnTo>
                    <a:pt x="203" y="730"/>
                  </a:lnTo>
                  <a:lnTo>
                    <a:pt x="216" y="731"/>
                  </a:lnTo>
                  <a:lnTo>
                    <a:pt x="222" y="727"/>
                  </a:lnTo>
                  <a:lnTo>
                    <a:pt x="243" y="727"/>
                  </a:lnTo>
                  <a:lnTo>
                    <a:pt x="244" y="727"/>
                  </a:lnTo>
                  <a:lnTo>
                    <a:pt x="245" y="722"/>
                  </a:lnTo>
                  <a:lnTo>
                    <a:pt x="247" y="719"/>
                  </a:lnTo>
                  <a:lnTo>
                    <a:pt x="251" y="719"/>
                  </a:lnTo>
                  <a:lnTo>
                    <a:pt x="255" y="716"/>
                  </a:lnTo>
                  <a:lnTo>
                    <a:pt x="257" y="710"/>
                  </a:lnTo>
                  <a:lnTo>
                    <a:pt x="261" y="707"/>
                  </a:lnTo>
                  <a:lnTo>
                    <a:pt x="263" y="703"/>
                  </a:lnTo>
                  <a:lnTo>
                    <a:pt x="261" y="697"/>
                  </a:lnTo>
                  <a:lnTo>
                    <a:pt x="256" y="693"/>
                  </a:lnTo>
                  <a:lnTo>
                    <a:pt x="256" y="691"/>
                  </a:lnTo>
                  <a:lnTo>
                    <a:pt x="257" y="687"/>
                  </a:lnTo>
                  <a:lnTo>
                    <a:pt x="315" y="678"/>
                  </a:lnTo>
                  <a:lnTo>
                    <a:pt x="319" y="680"/>
                  </a:lnTo>
                  <a:lnTo>
                    <a:pt x="328" y="675"/>
                  </a:lnTo>
                  <a:lnTo>
                    <a:pt x="332" y="668"/>
                  </a:lnTo>
                  <a:lnTo>
                    <a:pt x="348" y="662"/>
                  </a:lnTo>
                  <a:lnTo>
                    <a:pt x="350" y="659"/>
                  </a:lnTo>
                  <a:lnTo>
                    <a:pt x="354" y="651"/>
                  </a:lnTo>
                  <a:lnTo>
                    <a:pt x="367" y="637"/>
                  </a:lnTo>
                  <a:lnTo>
                    <a:pt x="370" y="636"/>
                  </a:lnTo>
                  <a:lnTo>
                    <a:pt x="375" y="634"/>
                  </a:lnTo>
                  <a:lnTo>
                    <a:pt x="380" y="626"/>
                  </a:lnTo>
                  <a:lnTo>
                    <a:pt x="385" y="624"/>
                  </a:lnTo>
                  <a:lnTo>
                    <a:pt x="385" y="612"/>
                  </a:lnTo>
                  <a:lnTo>
                    <a:pt x="389" y="601"/>
                  </a:lnTo>
                  <a:lnTo>
                    <a:pt x="394" y="597"/>
                  </a:lnTo>
                  <a:lnTo>
                    <a:pt x="437" y="586"/>
                  </a:lnTo>
                  <a:lnTo>
                    <a:pt x="434" y="571"/>
                  </a:lnTo>
                  <a:lnTo>
                    <a:pt x="431" y="568"/>
                  </a:lnTo>
                  <a:lnTo>
                    <a:pt x="426" y="564"/>
                  </a:lnTo>
                  <a:lnTo>
                    <a:pt x="425" y="563"/>
                  </a:lnTo>
                  <a:lnTo>
                    <a:pt x="411" y="521"/>
                  </a:lnTo>
                  <a:lnTo>
                    <a:pt x="412" y="508"/>
                  </a:lnTo>
                  <a:lnTo>
                    <a:pt x="394" y="513"/>
                  </a:lnTo>
                  <a:lnTo>
                    <a:pt x="391" y="513"/>
                  </a:lnTo>
                  <a:lnTo>
                    <a:pt x="392" y="495"/>
                  </a:lnTo>
                  <a:lnTo>
                    <a:pt x="399" y="479"/>
                  </a:lnTo>
                  <a:lnTo>
                    <a:pt x="401" y="458"/>
                  </a:lnTo>
                  <a:lnTo>
                    <a:pt x="404" y="454"/>
                  </a:lnTo>
                  <a:lnTo>
                    <a:pt x="410" y="451"/>
                  </a:lnTo>
                  <a:lnTo>
                    <a:pt x="411" y="450"/>
                  </a:lnTo>
                  <a:lnTo>
                    <a:pt x="412" y="446"/>
                  </a:lnTo>
                  <a:lnTo>
                    <a:pt x="411" y="428"/>
                  </a:lnTo>
                  <a:lnTo>
                    <a:pt x="438" y="390"/>
                  </a:lnTo>
                  <a:lnTo>
                    <a:pt x="441" y="373"/>
                  </a:lnTo>
                  <a:lnTo>
                    <a:pt x="442" y="371"/>
                  </a:lnTo>
                  <a:lnTo>
                    <a:pt x="489" y="368"/>
                  </a:lnTo>
                  <a:lnTo>
                    <a:pt x="489" y="191"/>
                  </a:lnTo>
                  <a:lnTo>
                    <a:pt x="482" y="190"/>
                  </a:lnTo>
                  <a:lnTo>
                    <a:pt x="122" y="0"/>
                  </a:lnTo>
                  <a:lnTo>
                    <a:pt x="75" y="17"/>
                  </a:lnTo>
                  <a:lnTo>
                    <a:pt x="75" y="8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8" name="Freeform 55"/>
            <p:cNvSpPr>
              <a:spLocks/>
            </p:cNvSpPr>
            <p:nvPr/>
          </p:nvSpPr>
          <p:spPr bwMode="auto">
            <a:xfrm>
              <a:off x="4002777" y="2095165"/>
              <a:ext cx="582901" cy="755132"/>
            </a:xfrm>
            <a:custGeom>
              <a:avLst/>
              <a:gdLst>
                <a:gd name="T0" fmla="*/ 13 w 489"/>
                <a:gd name="T1" fmla="*/ 12 h 756"/>
                <a:gd name="T2" fmla="*/ 15 w 489"/>
                <a:gd name="T3" fmla="*/ 15 h 756"/>
                <a:gd name="T4" fmla="*/ 20 w 489"/>
                <a:gd name="T5" fmla="*/ 17 h 756"/>
                <a:gd name="T6" fmla="*/ 15 w 489"/>
                <a:gd name="T7" fmla="*/ 38 h 756"/>
                <a:gd name="T8" fmla="*/ 2 w 489"/>
                <a:gd name="T9" fmla="*/ 50 h 756"/>
                <a:gd name="T10" fmla="*/ 2 w 489"/>
                <a:gd name="T11" fmla="*/ 51 h 756"/>
                <a:gd name="T12" fmla="*/ 0 w 489"/>
                <a:gd name="T13" fmla="*/ 52 h 756"/>
                <a:gd name="T14" fmla="*/ 2 w 489"/>
                <a:gd name="T15" fmla="*/ 53 h 756"/>
                <a:gd name="T16" fmla="*/ 4 w 489"/>
                <a:gd name="T17" fmla="*/ 54 h 756"/>
                <a:gd name="T18" fmla="*/ 5 w 489"/>
                <a:gd name="T19" fmla="*/ 58 h 756"/>
                <a:gd name="T20" fmla="*/ 9 w 489"/>
                <a:gd name="T21" fmla="*/ 58 h 756"/>
                <a:gd name="T22" fmla="*/ 12 w 489"/>
                <a:gd name="T23" fmla="*/ 58 h 756"/>
                <a:gd name="T24" fmla="*/ 13 w 489"/>
                <a:gd name="T25" fmla="*/ 60 h 756"/>
                <a:gd name="T26" fmla="*/ 11 w 489"/>
                <a:gd name="T27" fmla="*/ 61 h 756"/>
                <a:gd name="T28" fmla="*/ 9 w 489"/>
                <a:gd name="T29" fmla="*/ 62 h 756"/>
                <a:gd name="T30" fmla="*/ 11 w 489"/>
                <a:gd name="T31" fmla="*/ 67 h 756"/>
                <a:gd name="T32" fmla="*/ 14 w 489"/>
                <a:gd name="T33" fmla="*/ 76 h 756"/>
                <a:gd name="T34" fmla="*/ 15 w 489"/>
                <a:gd name="T35" fmla="*/ 78 h 756"/>
                <a:gd name="T36" fmla="*/ 9 w 489"/>
                <a:gd name="T37" fmla="*/ 78 h 756"/>
                <a:gd name="T38" fmla="*/ 6 w 489"/>
                <a:gd name="T39" fmla="*/ 78 h 756"/>
                <a:gd name="T40" fmla="*/ 5 w 489"/>
                <a:gd name="T41" fmla="*/ 80 h 756"/>
                <a:gd name="T42" fmla="*/ 7 w 489"/>
                <a:gd name="T43" fmla="*/ 83 h 756"/>
                <a:gd name="T44" fmla="*/ 11 w 489"/>
                <a:gd name="T45" fmla="*/ 84 h 756"/>
                <a:gd name="T46" fmla="*/ 15 w 489"/>
                <a:gd name="T47" fmla="*/ 92 h 756"/>
                <a:gd name="T48" fmla="*/ 15 w 489"/>
                <a:gd name="T49" fmla="*/ 92 h 756"/>
                <a:gd name="T50" fmla="*/ 19 w 489"/>
                <a:gd name="T51" fmla="*/ 92 h 756"/>
                <a:gd name="T52" fmla="*/ 21 w 489"/>
                <a:gd name="T53" fmla="*/ 91 h 756"/>
                <a:gd name="T54" fmla="*/ 23 w 489"/>
                <a:gd name="T55" fmla="*/ 90 h 756"/>
                <a:gd name="T56" fmla="*/ 24 w 489"/>
                <a:gd name="T57" fmla="*/ 90 h 756"/>
                <a:gd name="T58" fmla="*/ 25 w 489"/>
                <a:gd name="T59" fmla="*/ 90 h 756"/>
                <a:gd name="T60" fmla="*/ 26 w 489"/>
                <a:gd name="T61" fmla="*/ 91 h 756"/>
                <a:gd name="T62" fmla="*/ 27 w 489"/>
                <a:gd name="T63" fmla="*/ 92 h 756"/>
                <a:gd name="T64" fmla="*/ 29 w 489"/>
                <a:gd name="T65" fmla="*/ 90 h 756"/>
                <a:gd name="T66" fmla="*/ 33 w 489"/>
                <a:gd name="T67" fmla="*/ 89 h 756"/>
                <a:gd name="T68" fmla="*/ 36 w 489"/>
                <a:gd name="T69" fmla="*/ 88 h 756"/>
                <a:gd name="T70" fmla="*/ 40 w 489"/>
                <a:gd name="T71" fmla="*/ 88 h 756"/>
                <a:gd name="T72" fmla="*/ 40 w 489"/>
                <a:gd name="T73" fmla="*/ 88 h 756"/>
                <a:gd name="T74" fmla="*/ 42 w 489"/>
                <a:gd name="T75" fmla="*/ 87 h 756"/>
                <a:gd name="T76" fmla="*/ 43 w 489"/>
                <a:gd name="T77" fmla="*/ 86 h 756"/>
                <a:gd name="T78" fmla="*/ 43 w 489"/>
                <a:gd name="T79" fmla="*/ 85 h 756"/>
                <a:gd name="T80" fmla="*/ 42 w 489"/>
                <a:gd name="T81" fmla="*/ 84 h 756"/>
                <a:gd name="T82" fmla="*/ 52 w 489"/>
                <a:gd name="T83" fmla="*/ 82 h 756"/>
                <a:gd name="T84" fmla="*/ 54 w 489"/>
                <a:gd name="T85" fmla="*/ 82 h 756"/>
                <a:gd name="T86" fmla="*/ 57 w 489"/>
                <a:gd name="T87" fmla="*/ 81 h 756"/>
                <a:gd name="T88" fmla="*/ 58 w 489"/>
                <a:gd name="T89" fmla="*/ 79 h 756"/>
                <a:gd name="T90" fmla="*/ 60 w 489"/>
                <a:gd name="T91" fmla="*/ 78 h 756"/>
                <a:gd name="T92" fmla="*/ 62 w 489"/>
                <a:gd name="T93" fmla="*/ 76 h 756"/>
                <a:gd name="T94" fmla="*/ 63 w 489"/>
                <a:gd name="T95" fmla="*/ 74 h 756"/>
                <a:gd name="T96" fmla="*/ 65 w 489"/>
                <a:gd name="T97" fmla="*/ 73 h 756"/>
                <a:gd name="T98" fmla="*/ 71 w 489"/>
                <a:gd name="T99" fmla="*/ 69 h 756"/>
                <a:gd name="T100" fmla="*/ 70 w 489"/>
                <a:gd name="T101" fmla="*/ 69 h 756"/>
                <a:gd name="T102" fmla="*/ 67 w 489"/>
                <a:gd name="T103" fmla="*/ 64 h 756"/>
                <a:gd name="T104" fmla="*/ 65 w 489"/>
                <a:gd name="T105" fmla="*/ 62 h 756"/>
                <a:gd name="T106" fmla="*/ 65 w 489"/>
                <a:gd name="T107" fmla="*/ 60 h 756"/>
                <a:gd name="T108" fmla="*/ 66 w 489"/>
                <a:gd name="T109" fmla="*/ 55 h 756"/>
                <a:gd name="T110" fmla="*/ 67 w 489"/>
                <a:gd name="T111" fmla="*/ 55 h 756"/>
                <a:gd name="T112" fmla="*/ 67 w 489"/>
                <a:gd name="T113" fmla="*/ 54 h 756"/>
                <a:gd name="T114" fmla="*/ 72 w 489"/>
                <a:gd name="T115" fmla="*/ 47 h 756"/>
                <a:gd name="T116" fmla="*/ 73 w 489"/>
                <a:gd name="T117" fmla="*/ 45 h 756"/>
                <a:gd name="T118" fmla="*/ 80 w 489"/>
                <a:gd name="T119" fmla="*/ 23 h 756"/>
                <a:gd name="T120" fmla="*/ 20 w 489"/>
                <a:gd name="T121" fmla="*/ 0 h 756"/>
                <a:gd name="T122" fmla="*/ 12 w 489"/>
                <a:gd name="T123" fmla="*/ 11 h 7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89"/>
                <a:gd name="T187" fmla="*/ 0 h 756"/>
                <a:gd name="T188" fmla="*/ 489 w 489"/>
                <a:gd name="T189" fmla="*/ 756 h 7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89" h="756">
                  <a:moveTo>
                    <a:pt x="75" y="88"/>
                  </a:moveTo>
                  <a:lnTo>
                    <a:pt x="82" y="101"/>
                  </a:lnTo>
                  <a:lnTo>
                    <a:pt x="82" y="104"/>
                  </a:lnTo>
                  <a:lnTo>
                    <a:pt x="88" y="119"/>
                  </a:lnTo>
                  <a:lnTo>
                    <a:pt x="96" y="130"/>
                  </a:lnTo>
                  <a:lnTo>
                    <a:pt x="121" y="144"/>
                  </a:lnTo>
                  <a:lnTo>
                    <a:pt x="108" y="165"/>
                  </a:lnTo>
                  <a:lnTo>
                    <a:pt x="92" y="313"/>
                  </a:lnTo>
                  <a:lnTo>
                    <a:pt x="14" y="400"/>
                  </a:lnTo>
                  <a:lnTo>
                    <a:pt x="14" y="409"/>
                  </a:lnTo>
                  <a:lnTo>
                    <a:pt x="9" y="411"/>
                  </a:lnTo>
                  <a:lnTo>
                    <a:pt x="10" y="420"/>
                  </a:lnTo>
                  <a:lnTo>
                    <a:pt x="3" y="421"/>
                  </a:lnTo>
                  <a:lnTo>
                    <a:pt x="0" y="425"/>
                  </a:lnTo>
                  <a:lnTo>
                    <a:pt x="1" y="434"/>
                  </a:lnTo>
                  <a:lnTo>
                    <a:pt x="14" y="438"/>
                  </a:lnTo>
                  <a:lnTo>
                    <a:pt x="19" y="443"/>
                  </a:lnTo>
                  <a:lnTo>
                    <a:pt x="24" y="447"/>
                  </a:lnTo>
                  <a:lnTo>
                    <a:pt x="30" y="453"/>
                  </a:lnTo>
                  <a:lnTo>
                    <a:pt x="33" y="471"/>
                  </a:lnTo>
                  <a:lnTo>
                    <a:pt x="46" y="473"/>
                  </a:lnTo>
                  <a:lnTo>
                    <a:pt x="57" y="472"/>
                  </a:lnTo>
                  <a:lnTo>
                    <a:pt x="68" y="476"/>
                  </a:lnTo>
                  <a:lnTo>
                    <a:pt x="74" y="474"/>
                  </a:lnTo>
                  <a:lnTo>
                    <a:pt x="81" y="487"/>
                  </a:lnTo>
                  <a:lnTo>
                    <a:pt x="78" y="491"/>
                  </a:lnTo>
                  <a:lnTo>
                    <a:pt x="76" y="497"/>
                  </a:lnTo>
                  <a:lnTo>
                    <a:pt x="69" y="504"/>
                  </a:lnTo>
                  <a:lnTo>
                    <a:pt x="56" y="507"/>
                  </a:lnTo>
                  <a:lnTo>
                    <a:pt x="58" y="512"/>
                  </a:lnTo>
                  <a:lnTo>
                    <a:pt x="63" y="535"/>
                  </a:lnTo>
                  <a:lnTo>
                    <a:pt x="70" y="549"/>
                  </a:lnTo>
                  <a:lnTo>
                    <a:pt x="66" y="591"/>
                  </a:lnTo>
                  <a:lnTo>
                    <a:pt x="86" y="625"/>
                  </a:lnTo>
                  <a:lnTo>
                    <a:pt x="89" y="637"/>
                  </a:lnTo>
                  <a:lnTo>
                    <a:pt x="88" y="640"/>
                  </a:lnTo>
                  <a:lnTo>
                    <a:pt x="84" y="642"/>
                  </a:lnTo>
                  <a:lnTo>
                    <a:pt x="55" y="636"/>
                  </a:lnTo>
                  <a:lnTo>
                    <a:pt x="39" y="639"/>
                  </a:lnTo>
                  <a:lnTo>
                    <a:pt x="36" y="641"/>
                  </a:lnTo>
                  <a:lnTo>
                    <a:pt x="33" y="646"/>
                  </a:lnTo>
                  <a:lnTo>
                    <a:pt x="32" y="658"/>
                  </a:lnTo>
                  <a:lnTo>
                    <a:pt x="33" y="667"/>
                  </a:lnTo>
                  <a:lnTo>
                    <a:pt x="42" y="680"/>
                  </a:lnTo>
                  <a:lnTo>
                    <a:pt x="49" y="685"/>
                  </a:lnTo>
                  <a:lnTo>
                    <a:pt x="66" y="690"/>
                  </a:lnTo>
                  <a:lnTo>
                    <a:pt x="69" y="692"/>
                  </a:lnTo>
                  <a:lnTo>
                    <a:pt x="89" y="755"/>
                  </a:lnTo>
                  <a:lnTo>
                    <a:pt x="91" y="756"/>
                  </a:lnTo>
                  <a:lnTo>
                    <a:pt x="94" y="754"/>
                  </a:lnTo>
                  <a:lnTo>
                    <a:pt x="110" y="752"/>
                  </a:lnTo>
                  <a:lnTo>
                    <a:pt x="116" y="754"/>
                  </a:lnTo>
                  <a:lnTo>
                    <a:pt x="120" y="754"/>
                  </a:lnTo>
                  <a:lnTo>
                    <a:pt x="128" y="747"/>
                  </a:lnTo>
                  <a:lnTo>
                    <a:pt x="139" y="745"/>
                  </a:lnTo>
                  <a:lnTo>
                    <a:pt x="140" y="740"/>
                  </a:lnTo>
                  <a:lnTo>
                    <a:pt x="143" y="739"/>
                  </a:lnTo>
                  <a:lnTo>
                    <a:pt x="146" y="738"/>
                  </a:lnTo>
                  <a:lnTo>
                    <a:pt x="149" y="738"/>
                  </a:lnTo>
                  <a:lnTo>
                    <a:pt x="150" y="738"/>
                  </a:lnTo>
                  <a:lnTo>
                    <a:pt x="153" y="743"/>
                  </a:lnTo>
                  <a:lnTo>
                    <a:pt x="156" y="745"/>
                  </a:lnTo>
                  <a:lnTo>
                    <a:pt x="162" y="751"/>
                  </a:lnTo>
                  <a:lnTo>
                    <a:pt x="165" y="750"/>
                  </a:lnTo>
                  <a:lnTo>
                    <a:pt x="166" y="746"/>
                  </a:lnTo>
                  <a:lnTo>
                    <a:pt x="179" y="743"/>
                  </a:lnTo>
                  <a:lnTo>
                    <a:pt x="186" y="738"/>
                  </a:lnTo>
                  <a:lnTo>
                    <a:pt x="203" y="730"/>
                  </a:lnTo>
                  <a:lnTo>
                    <a:pt x="216" y="731"/>
                  </a:lnTo>
                  <a:lnTo>
                    <a:pt x="222" y="727"/>
                  </a:lnTo>
                  <a:lnTo>
                    <a:pt x="243" y="727"/>
                  </a:lnTo>
                  <a:lnTo>
                    <a:pt x="244" y="727"/>
                  </a:lnTo>
                  <a:lnTo>
                    <a:pt x="245" y="722"/>
                  </a:lnTo>
                  <a:lnTo>
                    <a:pt x="247" y="719"/>
                  </a:lnTo>
                  <a:lnTo>
                    <a:pt x="251" y="719"/>
                  </a:lnTo>
                  <a:lnTo>
                    <a:pt x="255" y="716"/>
                  </a:lnTo>
                  <a:lnTo>
                    <a:pt x="257" y="710"/>
                  </a:lnTo>
                  <a:lnTo>
                    <a:pt x="261" y="707"/>
                  </a:lnTo>
                  <a:lnTo>
                    <a:pt x="263" y="703"/>
                  </a:lnTo>
                  <a:lnTo>
                    <a:pt x="261" y="697"/>
                  </a:lnTo>
                  <a:lnTo>
                    <a:pt x="256" y="693"/>
                  </a:lnTo>
                  <a:lnTo>
                    <a:pt x="256" y="691"/>
                  </a:lnTo>
                  <a:lnTo>
                    <a:pt x="257" y="687"/>
                  </a:lnTo>
                  <a:lnTo>
                    <a:pt x="315" y="678"/>
                  </a:lnTo>
                  <a:lnTo>
                    <a:pt x="319" y="680"/>
                  </a:lnTo>
                  <a:lnTo>
                    <a:pt x="328" y="675"/>
                  </a:lnTo>
                  <a:lnTo>
                    <a:pt x="332" y="668"/>
                  </a:lnTo>
                  <a:lnTo>
                    <a:pt x="348" y="662"/>
                  </a:lnTo>
                  <a:lnTo>
                    <a:pt x="350" y="659"/>
                  </a:lnTo>
                  <a:lnTo>
                    <a:pt x="354" y="651"/>
                  </a:lnTo>
                  <a:lnTo>
                    <a:pt x="367" y="637"/>
                  </a:lnTo>
                  <a:lnTo>
                    <a:pt x="370" y="636"/>
                  </a:lnTo>
                  <a:lnTo>
                    <a:pt x="375" y="634"/>
                  </a:lnTo>
                  <a:lnTo>
                    <a:pt x="380" y="626"/>
                  </a:lnTo>
                  <a:lnTo>
                    <a:pt x="385" y="624"/>
                  </a:lnTo>
                  <a:lnTo>
                    <a:pt x="385" y="612"/>
                  </a:lnTo>
                  <a:lnTo>
                    <a:pt x="389" y="601"/>
                  </a:lnTo>
                  <a:lnTo>
                    <a:pt x="394" y="597"/>
                  </a:lnTo>
                  <a:lnTo>
                    <a:pt x="437" y="586"/>
                  </a:lnTo>
                  <a:lnTo>
                    <a:pt x="434" y="571"/>
                  </a:lnTo>
                  <a:lnTo>
                    <a:pt x="431" y="568"/>
                  </a:lnTo>
                  <a:lnTo>
                    <a:pt x="426" y="564"/>
                  </a:lnTo>
                  <a:lnTo>
                    <a:pt x="425" y="563"/>
                  </a:lnTo>
                  <a:lnTo>
                    <a:pt x="411" y="521"/>
                  </a:lnTo>
                  <a:lnTo>
                    <a:pt x="412" y="508"/>
                  </a:lnTo>
                  <a:lnTo>
                    <a:pt x="394" y="513"/>
                  </a:lnTo>
                  <a:lnTo>
                    <a:pt x="391" y="513"/>
                  </a:lnTo>
                  <a:lnTo>
                    <a:pt x="392" y="495"/>
                  </a:lnTo>
                  <a:lnTo>
                    <a:pt x="399" y="479"/>
                  </a:lnTo>
                  <a:lnTo>
                    <a:pt x="401" y="458"/>
                  </a:lnTo>
                  <a:lnTo>
                    <a:pt x="404" y="454"/>
                  </a:lnTo>
                  <a:lnTo>
                    <a:pt x="410" y="451"/>
                  </a:lnTo>
                  <a:lnTo>
                    <a:pt x="411" y="450"/>
                  </a:lnTo>
                  <a:lnTo>
                    <a:pt x="412" y="446"/>
                  </a:lnTo>
                  <a:lnTo>
                    <a:pt x="411" y="428"/>
                  </a:lnTo>
                  <a:lnTo>
                    <a:pt x="438" y="390"/>
                  </a:lnTo>
                  <a:lnTo>
                    <a:pt x="441" y="373"/>
                  </a:lnTo>
                  <a:lnTo>
                    <a:pt x="442" y="371"/>
                  </a:lnTo>
                  <a:lnTo>
                    <a:pt x="489" y="368"/>
                  </a:lnTo>
                  <a:lnTo>
                    <a:pt x="489" y="191"/>
                  </a:lnTo>
                  <a:lnTo>
                    <a:pt x="482" y="190"/>
                  </a:lnTo>
                  <a:lnTo>
                    <a:pt x="122" y="0"/>
                  </a:lnTo>
                  <a:lnTo>
                    <a:pt x="75" y="17"/>
                  </a:lnTo>
                  <a:lnTo>
                    <a:pt x="75" y="8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9" name="Freeform 56"/>
            <p:cNvSpPr>
              <a:spLocks/>
            </p:cNvSpPr>
            <p:nvPr/>
          </p:nvSpPr>
          <p:spPr bwMode="auto">
            <a:xfrm>
              <a:off x="4374454" y="1095124"/>
              <a:ext cx="351365" cy="241198"/>
            </a:xfrm>
            <a:custGeom>
              <a:avLst/>
              <a:gdLst>
                <a:gd name="T0" fmla="*/ 44 w 294"/>
                <a:gd name="T1" fmla="*/ 7 h 245"/>
                <a:gd name="T2" fmla="*/ 35 w 294"/>
                <a:gd name="T3" fmla="*/ 6 h 245"/>
                <a:gd name="T4" fmla="*/ 32 w 294"/>
                <a:gd name="T5" fmla="*/ 6 h 245"/>
                <a:gd name="T6" fmla="*/ 28 w 294"/>
                <a:gd name="T7" fmla="*/ 7 h 245"/>
                <a:gd name="T8" fmla="*/ 28 w 294"/>
                <a:gd name="T9" fmla="*/ 9 h 245"/>
                <a:gd name="T10" fmla="*/ 31 w 294"/>
                <a:gd name="T11" fmla="*/ 11 h 245"/>
                <a:gd name="T12" fmla="*/ 30 w 294"/>
                <a:gd name="T13" fmla="*/ 11 h 245"/>
                <a:gd name="T14" fmla="*/ 27 w 294"/>
                <a:gd name="T15" fmla="*/ 11 h 245"/>
                <a:gd name="T16" fmla="*/ 29 w 294"/>
                <a:gd name="T17" fmla="*/ 13 h 245"/>
                <a:gd name="T18" fmla="*/ 26 w 294"/>
                <a:gd name="T19" fmla="*/ 11 h 245"/>
                <a:gd name="T20" fmla="*/ 25 w 294"/>
                <a:gd name="T21" fmla="*/ 12 h 245"/>
                <a:gd name="T22" fmla="*/ 26 w 294"/>
                <a:gd name="T23" fmla="*/ 13 h 245"/>
                <a:gd name="T24" fmla="*/ 24 w 294"/>
                <a:gd name="T25" fmla="*/ 11 h 245"/>
                <a:gd name="T26" fmla="*/ 20 w 294"/>
                <a:gd name="T27" fmla="*/ 9 h 245"/>
                <a:gd name="T28" fmla="*/ 19 w 294"/>
                <a:gd name="T29" fmla="*/ 8 h 245"/>
                <a:gd name="T30" fmla="*/ 19 w 294"/>
                <a:gd name="T31" fmla="*/ 13 h 245"/>
                <a:gd name="T32" fmla="*/ 22 w 294"/>
                <a:gd name="T33" fmla="*/ 16 h 245"/>
                <a:gd name="T34" fmla="*/ 23 w 294"/>
                <a:gd name="T35" fmla="*/ 19 h 245"/>
                <a:gd name="T36" fmla="*/ 22 w 294"/>
                <a:gd name="T37" fmla="*/ 18 h 245"/>
                <a:gd name="T38" fmla="*/ 21 w 294"/>
                <a:gd name="T39" fmla="*/ 17 h 245"/>
                <a:gd name="T40" fmla="*/ 21 w 294"/>
                <a:gd name="T41" fmla="*/ 20 h 245"/>
                <a:gd name="T42" fmla="*/ 18 w 294"/>
                <a:gd name="T43" fmla="*/ 20 h 245"/>
                <a:gd name="T44" fmla="*/ 22 w 294"/>
                <a:gd name="T45" fmla="*/ 21 h 245"/>
                <a:gd name="T46" fmla="*/ 24 w 294"/>
                <a:gd name="T47" fmla="*/ 23 h 245"/>
                <a:gd name="T48" fmla="*/ 27 w 294"/>
                <a:gd name="T49" fmla="*/ 24 h 245"/>
                <a:gd name="T50" fmla="*/ 29 w 294"/>
                <a:gd name="T51" fmla="*/ 25 h 245"/>
                <a:gd name="T52" fmla="*/ 27 w 294"/>
                <a:gd name="T53" fmla="*/ 28 h 245"/>
                <a:gd name="T54" fmla="*/ 22 w 294"/>
                <a:gd name="T55" fmla="*/ 27 h 245"/>
                <a:gd name="T56" fmla="*/ 22 w 294"/>
                <a:gd name="T57" fmla="*/ 25 h 245"/>
                <a:gd name="T58" fmla="*/ 21 w 294"/>
                <a:gd name="T59" fmla="*/ 25 h 245"/>
                <a:gd name="T60" fmla="*/ 18 w 294"/>
                <a:gd name="T61" fmla="*/ 24 h 245"/>
                <a:gd name="T62" fmla="*/ 15 w 294"/>
                <a:gd name="T63" fmla="*/ 24 h 245"/>
                <a:gd name="T64" fmla="*/ 11 w 294"/>
                <a:gd name="T65" fmla="*/ 24 h 245"/>
                <a:gd name="T66" fmla="*/ 9 w 294"/>
                <a:gd name="T67" fmla="*/ 23 h 245"/>
                <a:gd name="T68" fmla="*/ 8 w 294"/>
                <a:gd name="T69" fmla="*/ 24 h 245"/>
                <a:gd name="T70" fmla="*/ 6 w 294"/>
                <a:gd name="T71" fmla="*/ 20 h 245"/>
                <a:gd name="T72" fmla="*/ 6 w 294"/>
                <a:gd name="T73" fmla="*/ 20 h 245"/>
                <a:gd name="T74" fmla="*/ 5 w 294"/>
                <a:gd name="T75" fmla="*/ 20 h 245"/>
                <a:gd name="T76" fmla="*/ 1 w 294"/>
                <a:gd name="T77" fmla="*/ 16 h 245"/>
                <a:gd name="T78" fmla="*/ 1 w 294"/>
                <a:gd name="T79" fmla="*/ 15 h 245"/>
                <a:gd name="T80" fmla="*/ 1 w 294"/>
                <a:gd name="T81" fmla="*/ 15 h 245"/>
                <a:gd name="T82" fmla="*/ 2 w 294"/>
                <a:gd name="T83" fmla="*/ 13 h 245"/>
                <a:gd name="T84" fmla="*/ 4 w 294"/>
                <a:gd name="T85" fmla="*/ 12 h 245"/>
                <a:gd name="T86" fmla="*/ 6 w 294"/>
                <a:gd name="T87" fmla="*/ 8 h 245"/>
                <a:gd name="T88" fmla="*/ 11 w 294"/>
                <a:gd name="T89" fmla="*/ 6 h 245"/>
                <a:gd name="T90" fmla="*/ 15 w 294"/>
                <a:gd name="T91" fmla="*/ 4 h 245"/>
                <a:gd name="T92" fmla="*/ 20 w 294"/>
                <a:gd name="T93" fmla="*/ 3 h 245"/>
                <a:gd name="T94" fmla="*/ 35 w 294"/>
                <a:gd name="T95" fmla="*/ 2 h 245"/>
                <a:gd name="T96" fmla="*/ 43 w 294"/>
                <a:gd name="T97" fmla="*/ 3 h 245"/>
                <a:gd name="T98" fmla="*/ 45 w 294"/>
                <a:gd name="T99" fmla="*/ 1 h 245"/>
                <a:gd name="T100" fmla="*/ 48 w 294"/>
                <a:gd name="T101" fmla="*/ 1 h 245"/>
                <a:gd name="T102" fmla="*/ 48 w 294"/>
                <a:gd name="T103" fmla="*/ 2 h 245"/>
                <a:gd name="T104" fmla="*/ 46 w 294"/>
                <a:gd name="T105" fmla="*/ 6 h 24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94"/>
                <a:gd name="T160" fmla="*/ 0 h 245"/>
                <a:gd name="T161" fmla="*/ 294 w 294"/>
                <a:gd name="T162" fmla="*/ 245 h 24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94" h="245">
                  <a:moveTo>
                    <a:pt x="270" y="65"/>
                  </a:moveTo>
                  <a:lnTo>
                    <a:pt x="263" y="59"/>
                  </a:lnTo>
                  <a:lnTo>
                    <a:pt x="224" y="49"/>
                  </a:lnTo>
                  <a:lnTo>
                    <a:pt x="210" y="56"/>
                  </a:lnTo>
                  <a:lnTo>
                    <a:pt x="204" y="56"/>
                  </a:lnTo>
                  <a:lnTo>
                    <a:pt x="196" y="52"/>
                  </a:lnTo>
                  <a:lnTo>
                    <a:pt x="186" y="61"/>
                  </a:lnTo>
                  <a:lnTo>
                    <a:pt x="173" y="64"/>
                  </a:lnTo>
                  <a:lnTo>
                    <a:pt x="161" y="72"/>
                  </a:lnTo>
                  <a:lnTo>
                    <a:pt x="168" y="79"/>
                  </a:lnTo>
                  <a:lnTo>
                    <a:pt x="179" y="84"/>
                  </a:lnTo>
                  <a:lnTo>
                    <a:pt x="187" y="93"/>
                  </a:lnTo>
                  <a:lnTo>
                    <a:pt x="190" y="97"/>
                  </a:lnTo>
                  <a:lnTo>
                    <a:pt x="180" y="90"/>
                  </a:lnTo>
                  <a:lnTo>
                    <a:pt x="168" y="87"/>
                  </a:lnTo>
                  <a:lnTo>
                    <a:pt x="164" y="94"/>
                  </a:lnTo>
                  <a:lnTo>
                    <a:pt x="173" y="101"/>
                  </a:lnTo>
                  <a:lnTo>
                    <a:pt x="174" y="112"/>
                  </a:lnTo>
                  <a:lnTo>
                    <a:pt x="163" y="96"/>
                  </a:lnTo>
                  <a:lnTo>
                    <a:pt x="154" y="93"/>
                  </a:lnTo>
                  <a:lnTo>
                    <a:pt x="150" y="94"/>
                  </a:lnTo>
                  <a:lnTo>
                    <a:pt x="152" y="104"/>
                  </a:lnTo>
                  <a:lnTo>
                    <a:pt x="161" y="110"/>
                  </a:lnTo>
                  <a:lnTo>
                    <a:pt x="156" y="113"/>
                  </a:lnTo>
                  <a:lnTo>
                    <a:pt x="147" y="105"/>
                  </a:lnTo>
                  <a:lnTo>
                    <a:pt x="143" y="94"/>
                  </a:lnTo>
                  <a:lnTo>
                    <a:pt x="124" y="81"/>
                  </a:lnTo>
                  <a:lnTo>
                    <a:pt x="122" y="78"/>
                  </a:lnTo>
                  <a:lnTo>
                    <a:pt x="126" y="72"/>
                  </a:lnTo>
                  <a:lnTo>
                    <a:pt x="114" y="76"/>
                  </a:lnTo>
                  <a:lnTo>
                    <a:pt x="113" y="111"/>
                  </a:lnTo>
                  <a:lnTo>
                    <a:pt x="119" y="117"/>
                  </a:lnTo>
                  <a:lnTo>
                    <a:pt x="122" y="129"/>
                  </a:lnTo>
                  <a:lnTo>
                    <a:pt x="137" y="144"/>
                  </a:lnTo>
                  <a:lnTo>
                    <a:pt x="143" y="158"/>
                  </a:lnTo>
                  <a:lnTo>
                    <a:pt x="139" y="161"/>
                  </a:lnTo>
                  <a:lnTo>
                    <a:pt x="136" y="160"/>
                  </a:lnTo>
                  <a:lnTo>
                    <a:pt x="137" y="155"/>
                  </a:lnTo>
                  <a:lnTo>
                    <a:pt x="134" y="150"/>
                  </a:lnTo>
                  <a:lnTo>
                    <a:pt x="126" y="149"/>
                  </a:lnTo>
                  <a:lnTo>
                    <a:pt x="125" y="156"/>
                  </a:lnTo>
                  <a:lnTo>
                    <a:pt x="129" y="168"/>
                  </a:lnTo>
                  <a:lnTo>
                    <a:pt x="126" y="170"/>
                  </a:lnTo>
                  <a:lnTo>
                    <a:pt x="109" y="172"/>
                  </a:lnTo>
                  <a:lnTo>
                    <a:pt x="112" y="178"/>
                  </a:lnTo>
                  <a:lnTo>
                    <a:pt x="136" y="187"/>
                  </a:lnTo>
                  <a:lnTo>
                    <a:pt x="143" y="188"/>
                  </a:lnTo>
                  <a:lnTo>
                    <a:pt x="147" y="198"/>
                  </a:lnTo>
                  <a:lnTo>
                    <a:pt x="152" y="198"/>
                  </a:lnTo>
                  <a:lnTo>
                    <a:pt x="166" y="209"/>
                  </a:lnTo>
                  <a:lnTo>
                    <a:pt x="170" y="210"/>
                  </a:lnTo>
                  <a:lnTo>
                    <a:pt x="176" y="214"/>
                  </a:lnTo>
                  <a:lnTo>
                    <a:pt x="177" y="245"/>
                  </a:lnTo>
                  <a:lnTo>
                    <a:pt x="166" y="238"/>
                  </a:lnTo>
                  <a:lnTo>
                    <a:pt x="158" y="227"/>
                  </a:lnTo>
                  <a:lnTo>
                    <a:pt x="134" y="230"/>
                  </a:lnTo>
                  <a:lnTo>
                    <a:pt x="127" y="225"/>
                  </a:lnTo>
                  <a:lnTo>
                    <a:pt x="135" y="223"/>
                  </a:lnTo>
                  <a:lnTo>
                    <a:pt x="137" y="216"/>
                  </a:lnTo>
                  <a:lnTo>
                    <a:pt x="128" y="215"/>
                  </a:lnTo>
                  <a:lnTo>
                    <a:pt x="115" y="204"/>
                  </a:lnTo>
                  <a:lnTo>
                    <a:pt x="110" y="209"/>
                  </a:lnTo>
                  <a:lnTo>
                    <a:pt x="103" y="205"/>
                  </a:lnTo>
                  <a:lnTo>
                    <a:pt x="92" y="207"/>
                  </a:lnTo>
                  <a:lnTo>
                    <a:pt x="81" y="205"/>
                  </a:lnTo>
                  <a:lnTo>
                    <a:pt x="67" y="207"/>
                  </a:lnTo>
                  <a:lnTo>
                    <a:pt x="55" y="203"/>
                  </a:lnTo>
                  <a:lnTo>
                    <a:pt x="52" y="203"/>
                  </a:lnTo>
                  <a:lnTo>
                    <a:pt x="50" y="205"/>
                  </a:lnTo>
                  <a:lnTo>
                    <a:pt x="46" y="207"/>
                  </a:lnTo>
                  <a:lnTo>
                    <a:pt x="28" y="175"/>
                  </a:lnTo>
                  <a:lnTo>
                    <a:pt x="36" y="176"/>
                  </a:lnTo>
                  <a:lnTo>
                    <a:pt x="44" y="175"/>
                  </a:lnTo>
                  <a:lnTo>
                    <a:pt x="41" y="168"/>
                  </a:lnTo>
                  <a:lnTo>
                    <a:pt x="29" y="162"/>
                  </a:lnTo>
                  <a:lnTo>
                    <a:pt x="27" y="170"/>
                  </a:lnTo>
                  <a:lnTo>
                    <a:pt x="14" y="149"/>
                  </a:lnTo>
                  <a:lnTo>
                    <a:pt x="6" y="143"/>
                  </a:lnTo>
                  <a:lnTo>
                    <a:pt x="3" y="129"/>
                  </a:lnTo>
                  <a:lnTo>
                    <a:pt x="1" y="127"/>
                  </a:lnTo>
                  <a:lnTo>
                    <a:pt x="0" y="127"/>
                  </a:lnTo>
                  <a:lnTo>
                    <a:pt x="1" y="127"/>
                  </a:lnTo>
                  <a:lnTo>
                    <a:pt x="8" y="122"/>
                  </a:lnTo>
                  <a:lnTo>
                    <a:pt x="11" y="117"/>
                  </a:lnTo>
                  <a:lnTo>
                    <a:pt x="14" y="107"/>
                  </a:lnTo>
                  <a:lnTo>
                    <a:pt x="22" y="101"/>
                  </a:lnTo>
                  <a:lnTo>
                    <a:pt x="30" y="87"/>
                  </a:lnTo>
                  <a:lnTo>
                    <a:pt x="40" y="77"/>
                  </a:lnTo>
                  <a:lnTo>
                    <a:pt x="39" y="56"/>
                  </a:lnTo>
                  <a:lnTo>
                    <a:pt x="69" y="52"/>
                  </a:lnTo>
                  <a:lnTo>
                    <a:pt x="78" y="44"/>
                  </a:lnTo>
                  <a:lnTo>
                    <a:pt x="93" y="38"/>
                  </a:lnTo>
                  <a:lnTo>
                    <a:pt x="110" y="38"/>
                  </a:lnTo>
                  <a:lnTo>
                    <a:pt x="122" y="26"/>
                  </a:lnTo>
                  <a:lnTo>
                    <a:pt x="206" y="14"/>
                  </a:lnTo>
                  <a:lnTo>
                    <a:pt x="214" y="21"/>
                  </a:lnTo>
                  <a:lnTo>
                    <a:pt x="244" y="31"/>
                  </a:lnTo>
                  <a:lnTo>
                    <a:pt x="261" y="27"/>
                  </a:lnTo>
                  <a:lnTo>
                    <a:pt x="273" y="18"/>
                  </a:lnTo>
                  <a:lnTo>
                    <a:pt x="274" y="1"/>
                  </a:lnTo>
                  <a:lnTo>
                    <a:pt x="283" y="0"/>
                  </a:lnTo>
                  <a:lnTo>
                    <a:pt x="286" y="6"/>
                  </a:lnTo>
                  <a:lnTo>
                    <a:pt x="294" y="12"/>
                  </a:lnTo>
                  <a:lnTo>
                    <a:pt x="293" y="21"/>
                  </a:lnTo>
                  <a:lnTo>
                    <a:pt x="283" y="28"/>
                  </a:lnTo>
                  <a:lnTo>
                    <a:pt x="279" y="53"/>
                  </a:lnTo>
                  <a:lnTo>
                    <a:pt x="270" y="6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0" name="Freeform 57"/>
            <p:cNvSpPr>
              <a:spLocks/>
            </p:cNvSpPr>
            <p:nvPr/>
          </p:nvSpPr>
          <p:spPr bwMode="auto">
            <a:xfrm>
              <a:off x="4374454" y="1095124"/>
              <a:ext cx="351365" cy="241198"/>
            </a:xfrm>
            <a:custGeom>
              <a:avLst/>
              <a:gdLst>
                <a:gd name="T0" fmla="*/ 44 w 294"/>
                <a:gd name="T1" fmla="*/ 7 h 245"/>
                <a:gd name="T2" fmla="*/ 35 w 294"/>
                <a:gd name="T3" fmla="*/ 6 h 245"/>
                <a:gd name="T4" fmla="*/ 32 w 294"/>
                <a:gd name="T5" fmla="*/ 6 h 245"/>
                <a:gd name="T6" fmla="*/ 28 w 294"/>
                <a:gd name="T7" fmla="*/ 7 h 245"/>
                <a:gd name="T8" fmla="*/ 28 w 294"/>
                <a:gd name="T9" fmla="*/ 9 h 245"/>
                <a:gd name="T10" fmla="*/ 31 w 294"/>
                <a:gd name="T11" fmla="*/ 11 h 245"/>
                <a:gd name="T12" fmla="*/ 30 w 294"/>
                <a:gd name="T13" fmla="*/ 11 h 245"/>
                <a:gd name="T14" fmla="*/ 27 w 294"/>
                <a:gd name="T15" fmla="*/ 11 h 245"/>
                <a:gd name="T16" fmla="*/ 29 w 294"/>
                <a:gd name="T17" fmla="*/ 13 h 245"/>
                <a:gd name="T18" fmla="*/ 26 w 294"/>
                <a:gd name="T19" fmla="*/ 11 h 245"/>
                <a:gd name="T20" fmla="*/ 25 w 294"/>
                <a:gd name="T21" fmla="*/ 12 h 245"/>
                <a:gd name="T22" fmla="*/ 26 w 294"/>
                <a:gd name="T23" fmla="*/ 13 h 245"/>
                <a:gd name="T24" fmla="*/ 24 w 294"/>
                <a:gd name="T25" fmla="*/ 11 h 245"/>
                <a:gd name="T26" fmla="*/ 20 w 294"/>
                <a:gd name="T27" fmla="*/ 9 h 245"/>
                <a:gd name="T28" fmla="*/ 19 w 294"/>
                <a:gd name="T29" fmla="*/ 8 h 245"/>
                <a:gd name="T30" fmla="*/ 19 w 294"/>
                <a:gd name="T31" fmla="*/ 13 h 245"/>
                <a:gd name="T32" fmla="*/ 22 w 294"/>
                <a:gd name="T33" fmla="*/ 16 h 245"/>
                <a:gd name="T34" fmla="*/ 23 w 294"/>
                <a:gd name="T35" fmla="*/ 19 h 245"/>
                <a:gd name="T36" fmla="*/ 22 w 294"/>
                <a:gd name="T37" fmla="*/ 18 h 245"/>
                <a:gd name="T38" fmla="*/ 21 w 294"/>
                <a:gd name="T39" fmla="*/ 17 h 245"/>
                <a:gd name="T40" fmla="*/ 21 w 294"/>
                <a:gd name="T41" fmla="*/ 20 h 245"/>
                <a:gd name="T42" fmla="*/ 18 w 294"/>
                <a:gd name="T43" fmla="*/ 20 h 245"/>
                <a:gd name="T44" fmla="*/ 22 w 294"/>
                <a:gd name="T45" fmla="*/ 21 h 245"/>
                <a:gd name="T46" fmla="*/ 24 w 294"/>
                <a:gd name="T47" fmla="*/ 23 h 245"/>
                <a:gd name="T48" fmla="*/ 27 w 294"/>
                <a:gd name="T49" fmla="*/ 24 h 245"/>
                <a:gd name="T50" fmla="*/ 29 w 294"/>
                <a:gd name="T51" fmla="*/ 25 h 245"/>
                <a:gd name="T52" fmla="*/ 27 w 294"/>
                <a:gd name="T53" fmla="*/ 28 h 245"/>
                <a:gd name="T54" fmla="*/ 22 w 294"/>
                <a:gd name="T55" fmla="*/ 27 h 245"/>
                <a:gd name="T56" fmla="*/ 22 w 294"/>
                <a:gd name="T57" fmla="*/ 25 h 245"/>
                <a:gd name="T58" fmla="*/ 21 w 294"/>
                <a:gd name="T59" fmla="*/ 25 h 245"/>
                <a:gd name="T60" fmla="*/ 18 w 294"/>
                <a:gd name="T61" fmla="*/ 24 h 245"/>
                <a:gd name="T62" fmla="*/ 15 w 294"/>
                <a:gd name="T63" fmla="*/ 24 h 245"/>
                <a:gd name="T64" fmla="*/ 11 w 294"/>
                <a:gd name="T65" fmla="*/ 24 h 245"/>
                <a:gd name="T66" fmla="*/ 9 w 294"/>
                <a:gd name="T67" fmla="*/ 23 h 245"/>
                <a:gd name="T68" fmla="*/ 8 w 294"/>
                <a:gd name="T69" fmla="*/ 24 h 245"/>
                <a:gd name="T70" fmla="*/ 6 w 294"/>
                <a:gd name="T71" fmla="*/ 20 h 245"/>
                <a:gd name="T72" fmla="*/ 6 w 294"/>
                <a:gd name="T73" fmla="*/ 20 h 245"/>
                <a:gd name="T74" fmla="*/ 5 w 294"/>
                <a:gd name="T75" fmla="*/ 20 h 245"/>
                <a:gd name="T76" fmla="*/ 1 w 294"/>
                <a:gd name="T77" fmla="*/ 16 h 245"/>
                <a:gd name="T78" fmla="*/ 1 w 294"/>
                <a:gd name="T79" fmla="*/ 15 h 245"/>
                <a:gd name="T80" fmla="*/ 1 w 294"/>
                <a:gd name="T81" fmla="*/ 15 h 245"/>
                <a:gd name="T82" fmla="*/ 2 w 294"/>
                <a:gd name="T83" fmla="*/ 13 h 245"/>
                <a:gd name="T84" fmla="*/ 4 w 294"/>
                <a:gd name="T85" fmla="*/ 12 h 245"/>
                <a:gd name="T86" fmla="*/ 6 w 294"/>
                <a:gd name="T87" fmla="*/ 8 h 245"/>
                <a:gd name="T88" fmla="*/ 11 w 294"/>
                <a:gd name="T89" fmla="*/ 6 h 245"/>
                <a:gd name="T90" fmla="*/ 15 w 294"/>
                <a:gd name="T91" fmla="*/ 4 h 245"/>
                <a:gd name="T92" fmla="*/ 20 w 294"/>
                <a:gd name="T93" fmla="*/ 3 h 245"/>
                <a:gd name="T94" fmla="*/ 35 w 294"/>
                <a:gd name="T95" fmla="*/ 2 h 245"/>
                <a:gd name="T96" fmla="*/ 43 w 294"/>
                <a:gd name="T97" fmla="*/ 3 h 245"/>
                <a:gd name="T98" fmla="*/ 45 w 294"/>
                <a:gd name="T99" fmla="*/ 1 h 245"/>
                <a:gd name="T100" fmla="*/ 48 w 294"/>
                <a:gd name="T101" fmla="*/ 1 h 245"/>
                <a:gd name="T102" fmla="*/ 48 w 294"/>
                <a:gd name="T103" fmla="*/ 2 h 245"/>
                <a:gd name="T104" fmla="*/ 46 w 294"/>
                <a:gd name="T105" fmla="*/ 6 h 24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94"/>
                <a:gd name="T160" fmla="*/ 0 h 245"/>
                <a:gd name="T161" fmla="*/ 294 w 294"/>
                <a:gd name="T162" fmla="*/ 245 h 24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94" h="245">
                  <a:moveTo>
                    <a:pt x="270" y="65"/>
                  </a:moveTo>
                  <a:lnTo>
                    <a:pt x="263" y="59"/>
                  </a:lnTo>
                  <a:lnTo>
                    <a:pt x="224" y="49"/>
                  </a:lnTo>
                  <a:lnTo>
                    <a:pt x="210" y="56"/>
                  </a:lnTo>
                  <a:lnTo>
                    <a:pt x="204" y="56"/>
                  </a:lnTo>
                  <a:lnTo>
                    <a:pt x="196" y="52"/>
                  </a:lnTo>
                  <a:lnTo>
                    <a:pt x="186" y="61"/>
                  </a:lnTo>
                  <a:lnTo>
                    <a:pt x="173" y="64"/>
                  </a:lnTo>
                  <a:lnTo>
                    <a:pt x="161" y="72"/>
                  </a:lnTo>
                  <a:lnTo>
                    <a:pt x="168" y="79"/>
                  </a:lnTo>
                  <a:lnTo>
                    <a:pt x="179" y="84"/>
                  </a:lnTo>
                  <a:lnTo>
                    <a:pt x="187" y="93"/>
                  </a:lnTo>
                  <a:lnTo>
                    <a:pt x="190" y="97"/>
                  </a:lnTo>
                  <a:lnTo>
                    <a:pt x="180" y="90"/>
                  </a:lnTo>
                  <a:lnTo>
                    <a:pt x="168" y="87"/>
                  </a:lnTo>
                  <a:lnTo>
                    <a:pt x="164" y="94"/>
                  </a:lnTo>
                  <a:lnTo>
                    <a:pt x="173" y="101"/>
                  </a:lnTo>
                  <a:lnTo>
                    <a:pt x="174" y="112"/>
                  </a:lnTo>
                  <a:lnTo>
                    <a:pt x="163" y="96"/>
                  </a:lnTo>
                  <a:lnTo>
                    <a:pt x="154" y="93"/>
                  </a:lnTo>
                  <a:lnTo>
                    <a:pt x="150" y="94"/>
                  </a:lnTo>
                  <a:lnTo>
                    <a:pt x="152" y="104"/>
                  </a:lnTo>
                  <a:lnTo>
                    <a:pt x="161" y="110"/>
                  </a:lnTo>
                  <a:lnTo>
                    <a:pt x="156" y="113"/>
                  </a:lnTo>
                  <a:lnTo>
                    <a:pt x="147" y="105"/>
                  </a:lnTo>
                  <a:lnTo>
                    <a:pt x="143" y="94"/>
                  </a:lnTo>
                  <a:lnTo>
                    <a:pt x="124" y="81"/>
                  </a:lnTo>
                  <a:lnTo>
                    <a:pt x="122" y="78"/>
                  </a:lnTo>
                  <a:lnTo>
                    <a:pt x="126" y="72"/>
                  </a:lnTo>
                  <a:lnTo>
                    <a:pt x="114" y="76"/>
                  </a:lnTo>
                  <a:lnTo>
                    <a:pt x="113" y="111"/>
                  </a:lnTo>
                  <a:lnTo>
                    <a:pt x="119" y="117"/>
                  </a:lnTo>
                  <a:lnTo>
                    <a:pt x="122" y="129"/>
                  </a:lnTo>
                  <a:lnTo>
                    <a:pt x="137" y="144"/>
                  </a:lnTo>
                  <a:lnTo>
                    <a:pt x="143" y="158"/>
                  </a:lnTo>
                  <a:lnTo>
                    <a:pt x="139" y="161"/>
                  </a:lnTo>
                  <a:lnTo>
                    <a:pt x="136" y="160"/>
                  </a:lnTo>
                  <a:lnTo>
                    <a:pt x="137" y="155"/>
                  </a:lnTo>
                  <a:lnTo>
                    <a:pt x="134" y="150"/>
                  </a:lnTo>
                  <a:lnTo>
                    <a:pt x="126" y="149"/>
                  </a:lnTo>
                  <a:lnTo>
                    <a:pt x="125" y="156"/>
                  </a:lnTo>
                  <a:lnTo>
                    <a:pt x="129" y="168"/>
                  </a:lnTo>
                  <a:lnTo>
                    <a:pt x="126" y="170"/>
                  </a:lnTo>
                  <a:lnTo>
                    <a:pt x="109" y="172"/>
                  </a:lnTo>
                  <a:lnTo>
                    <a:pt x="112" y="178"/>
                  </a:lnTo>
                  <a:lnTo>
                    <a:pt x="136" y="187"/>
                  </a:lnTo>
                  <a:lnTo>
                    <a:pt x="143" y="188"/>
                  </a:lnTo>
                  <a:lnTo>
                    <a:pt x="147" y="198"/>
                  </a:lnTo>
                  <a:lnTo>
                    <a:pt x="152" y="198"/>
                  </a:lnTo>
                  <a:lnTo>
                    <a:pt x="166" y="209"/>
                  </a:lnTo>
                  <a:lnTo>
                    <a:pt x="170" y="210"/>
                  </a:lnTo>
                  <a:lnTo>
                    <a:pt x="176" y="214"/>
                  </a:lnTo>
                  <a:lnTo>
                    <a:pt x="177" y="245"/>
                  </a:lnTo>
                  <a:lnTo>
                    <a:pt x="166" y="238"/>
                  </a:lnTo>
                  <a:lnTo>
                    <a:pt x="158" y="227"/>
                  </a:lnTo>
                  <a:lnTo>
                    <a:pt x="134" y="230"/>
                  </a:lnTo>
                  <a:lnTo>
                    <a:pt x="127" y="225"/>
                  </a:lnTo>
                  <a:lnTo>
                    <a:pt x="135" y="223"/>
                  </a:lnTo>
                  <a:lnTo>
                    <a:pt x="137" y="216"/>
                  </a:lnTo>
                  <a:lnTo>
                    <a:pt x="128" y="215"/>
                  </a:lnTo>
                  <a:lnTo>
                    <a:pt x="115" y="204"/>
                  </a:lnTo>
                  <a:lnTo>
                    <a:pt x="110" y="209"/>
                  </a:lnTo>
                  <a:lnTo>
                    <a:pt x="103" y="205"/>
                  </a:lnTo>
                  <a:lnTo>
                    <a:pt x="92" y="207"/>
                  </a:lnTo>
                  <a:lnTo>
                    <a:pt x="81" y="205"/>
                  </a:lnTo>
                  <a:lnTo>
                    <a:pt x="67" y="207"/>
                  </a:lnTo>
                  <a:lnTo>
                    <a:pt x="55" y="203"/>
                  </a:lnTo>
                  <a:lnTo>
                    <a:pt x="52" y="203"/>
                  </a:lnTo>
                  <a:lnTo>
                    <a:pt x="50" y="205"/>
                  </a:lnTo>
                  <a:lnTo>
                    <a:pt x="46" y="207"/>
                  </a:lnTo>
                  <a:lnTo>
                    <a:pt x="28" y="175"/>
                  </a:lnTo>
                  <a:lnTo>
                    <a:pt x="36" y="176"/>
                  </a:lnTo>
                  <a:lnTo>
                    <a:pt x="44" y="175"/>
                  </a:lnTo>
                  <a:lnTo>
                    <a:pt x="41" y="168"/>
                  </a:lnTo>
                  <a:lnTo>
                    <a:pt x="29" y="162"/>
                  </a:lnTo>
                  <a:lnTo>
                    <a:pt x="27" y="170"/>
                  </a:lnTo>
                  <a:lnTo>
                    <a:pt x="14" y="149"/>
                  </a:lnTo>
                  <a:lnTo>
                    <a:pt x="6" y="143"/>
                  </a:lnTo>
                  <a:lnTo>
                    <a:pt x="3" y="129"/>
                  </a:lnTo>
                  <a:lnTo>
                    <a:pt x="1" y="127"/>
                  </a:lnTo>
                  <a:lnTo>
                    <a:pt x="0" y="127"/>
                  </a:lnTo>
                  <a:lnTo>
                    <a:pt x="1" y="127"/>
                  </a:lnTo>
                  <a:lnTo>
                    <a:pt x="8" y="122"/>
                  </a:lnTo>
                  <a:lnTo>
                    <a:pt x="11" y="117"/>
                  </a:lnTo>
                  <a:lnTo>
                    <a:pt x="14" y="107"/>
                  </a:lnTo>
                  <a:lnTo>
                    <a:pt x="22" y="101"/>
                  </a:lnTo>
                  <a:lnTo>
                    <a:pt x="30" y="87"/>
                  </a:lnTo>
                  <a:lnTo>
                    <a:pt x="40" y="77"/>
                  </a:lnTo>
                  <a:lnTo>
                    <a:pt x="39" y="56"/>
                  </a:lnTo>
                  <a:lnTo>
                    <a:pt x="69" y="52"/>
                  </a:lnTo>
                  <a:lnTo>
                    <a:pt x="78" y="44"/>
                  </a:lnTo>
                  <a:lnTo>
                    <a:pt x="93" y="38"/>
                  </a:lnTo>
                  <a:lnTo>
                    <a:pt x="110" y="38"/>
                  </a:lnTo>
                  <a:lnTo>
                    <a:pt x="122" y="26"/>
                  </a:lnTo>
                  <a:lnTo>
                    <a:pt x="206" y="14"/>
                  </a:lnTo>
                  <a:lnTo>
                    <a:pt x="214" y="21"/>
                  </a:lnTo>
                  <a:lnTo>
                    <a:pt x="244" y="31"/>
                  </a:lnTo>
                  <a:lnTo>
                    <a:pt x="261" y="27"/>
                  </a:lnTo>
                  <a:lnTo>
                    <a:pt x="273" y="18"/>
                  </a:lnTo>
                  <a:lnTo>
                    <a:pt x="274" y="1"/>
                  </a:lnTo>
                  <a:lnTo>
                    <a:pt x="283" y="0"/>
                  </a:lnTo>
                  <a:lnTo>
                    <a:pt x="286" y="6"/>
                  </a:lnTo>
                  <a:lnTo>
                    <a:pt x="294" y="12"/>
                  </a:lnTo>
                  <a:lnTo>
                    <a:pt x="293" y="21"/>
                  </a:lnTo>
                  <a:lnTo>
                    <a:pt x="283" y="28"/>
                  </a:lnTo>
                  <a:lnTo>
                    <a:pt x="279" y="53"/>
                  </a:lnTo>
                  <a:lnTo>
                    <a:pt x="270" y="65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1" name="Freeform 58"/>
            <p:cNvSpPr>
              <a:spLocks/>
            </p:cNvSpPr>
            <p:nvPr/>
          </p:nvSpPr>
          <p:spPr bwMode="auto">
            <a:xfrm>
              <a:off x="5186861" y="1499593"/>
              <a:ext cx="95457" cy="96479"/>
            </a:xfrm>
            <a:custGeom>
              <a:avLst/>
              <a:gdLst>
                <a:gd name="T0" fmla="*/ 5 w 78"/>
                <a:gd name="T1" fmla="*/ 10 h 97"/>
                <a:gd name="T2" fmla="*/ 6 w 78"/>
                <a:gd name="T3" fmla="*/ 10 h 97"/>
                <a:gd name="T4" fmla="*/ 7 w 78"/>
                <a:gd name="T5" fmla="*/ 10 h 97"/>
                <a:gd name="T6" fmla="*/ 7 w 78"/>
                <a:gd name="T7" fmla="*/ 9 h 97"/>
                <a:gd name="T8" fmla="*/ 8 w 78"/>
                <a:gd name="T9" fmla="*/ 8 h 97"/>
                <a:gd name="T10" fmla="*/ 8 w 78"/>
                <a:gd name="T11" fmla="*/ 8 h 97"/>
                <a:gd name="T12" fmla="*/ 8 w 78"/>
                <a:gd name="T13" fmla="*/ 8 h 97"/>
                <a:gd name="T14" fmla="*/ 8 w 78"/>
                <a:gd name="T15" fmla="*/ 8 h 97"/>
                <a:gd name="T16" fmla="*/ 8 w 78"/>
                <a:gd name="T17" fmla="*/ 8 h 97"/>
                <a:gd name="T18" fmla="*/ 8 w 78"/>
                <a:gd name="T19" fmla="*/ 7 h 97"/>
                <a:gd name="T20" fmla="*/ 8 w 78"/>
                <a:gd name="T21" fmla="*/ 7 h 97"/>
                <a:gd name="T22" fmla="*/ 8 w 78"/>
                <a:gd name="T23" fmla="*/ 6 h 97"/>
                <a:gd name="T24" fmla="*/ 11 w 78"/>
                <a:gd name="T25" fmla="*/ 6 h 97"/>
                <a:gd name="T26" fmla="*/ 11 w 78"/>
                <a:gd name="T27" fmla="*/ 6 h 97"/>
                <a:gd name="T28" fmla="*/ 12 w 78"/>
                <a:gd name="T29" fmla="*/ 6 h 97"/>
                <a:gd name="T30" fmla="*/ 12 w 78"/>
                <a:gd name="T31" fmla="*/ 6 h 97"/>
                <a:gd name="T32" fmla="*/ 11 w 78"/>
                <a:gd name="T33" fmla="*/ 6 h 97"/>
                <a:gd name="T34" fmla="*/ 11 w 78"/>
                <a:gd name="T35" fmla="*/ 6 h 97"/>
                <a:gd name="T36" fmla="*/ 11 w 78"/>
                <a:gd name="T37" fmla="*/ 5 h 97"/>
                <a:gd name="T38" fmla="*/ 11 w 78"/>
                <a:gd name="T39" fmla="*/ 5 h 97"/>
                <a:gd name="T40" fmla="*/ 11 w 78"/>
                <a:gd name="T41" fmla="*/ 5 h 97"/>
                <a:gd name="T42" fmla="*/ 12 w 78"/>
                <a:gd name="T43" fmla="*/ 5 h 97"/>
                <a:gd name="T44" fmla="*/ 13 w 78"/>
                <a:gd name="T45" fmla="*/ 4 h 97"/>
                <a:gd name="T46" fmla="*/ 13 w 78"/>
                <a:gd name="T47" fmla="*/ 4 h 97"/>
                <a:gd name="T48" fmla="*/ 13 w 78"/>
                <a:gd name="T49" fmla="*/ 4 h 97"/>
                <a:gd name="T50" fmla="*/ 14 w 78"/>
                <a:gd name="T51" fmla="*/ 3 h 97"/>
                <a:gd name="T52" fmla="*/ 13 w 78"/>
                <a:gd name="T53" fmla="*/ 3 h 97"/>
                <a:gd name="T54" fmla="*/ 14 w 78"/>
                <a:gd name="T55" fmla="*/ 3 h 97"/>
                <a:gd name="T56" fmla="*/ 13 w 78"/>
                <a:gd name="T57" fmla="*/ 3 h 97"/>
                <a:gd name="T58" fmla="*/ 13 w 78"/>
                <a:gd name="T59" fmla="*/ 2 h 97"/>
                <a:gd name="T60" fmla="*/ 13 w 78"/>
                <a:gd name="T61" fmla="*/ 2 h 97"/>
                <a:gd name="T62" fmla="*/ 12 w 78"/>
                <a:gd name="T63" fmla="*/ 2 h 97"/>
                <a:gd name="T64" fmla="*/ 11 w 78"/>
                <a:gd name="T65" fmla="*/ 2 h 97"/>
                <a:gd name="T66" fmla="*/ 11 w 78"/>
                <a:gd name="T67" fmla="*/ 2 h 97"/>
                <a:gd name="T68" fmla="*/ 12 w 78"/>
                <a:gd name="T69" fmla="*/ 1 h 97"/>
                <a:gd name="T70" fmla="*/ 12 w 78"/>
                <a:gd name="T71" fmla="*/ 1 h 97"/>
                <a:gd name="T72" fmla="*/ 13 w 78"/>
                <a:gd name="T73" fmla="*/ 1 h 97"/>
                <a:gd name="T74" fmla="*/ 13 w 78"/>
                <a:gd name="T75" fmla="*/ 1 h 97"/>
                <a:gd name="T76" fmla="*/ 12 w 78"/>
                <a:gd name="T77" fmla="*/ 1 h 97"/>
                <a:gd name="T78" fmla="*/ 12 w 78"/>
                <a:gd name="T79" fmla="*/ 1 h 97"/>
                <a:gd name="T80" fmla="*/ 11 w 78"/>
                <a:gd name="T81" fmla="*/ 0 h 97"/>
                <a:gd name="T82" fmla="*/ 11 w 78"/>
                <a:gd name="T83" fmla="*/ 1 h 97"/>
                <a:gd name="T84" fmla="*/ 11 w 78"/>
                <a:gd name="T85" fmla="*/ 1 h 97"/>
                <a:gd name="T86" fmla="*/ 8 w 78"/>
                <a:gd name="T87" fmla="*/ 1 h 97"/>
                <a:gd name="T88" fmla="*/ 8 w 78"/>
                <a:gd name="T89" fmla="*/ 2 h 97"/>
                <a:gd name="T90" fmla="*/ 6 w 78"/>
                <a:gd name="T91" fmla="*/ 3 h 97"/>
                <a:gd name="T92" fmla="*/ 5 w 78"/>
                <a:gd name="T93" fmla="*/ 5 h 97"/>
                <a:gd name="T94" fmla="*/ 4 w 78"/>
                <a:gd name="T95" fmla="*/ 5 h 97"/>
                <a:gd name="T96" fmla="*/ 4 w 78"/>
                <a:gd name="T97" fmla="*/ 6 h 97"/>
                <a:gd name="T98" fmla="*/ 4 w 78"/>
                <a:gd name="T99" fmla="*/ 6 h 97"/>
                <a:gd name="T100" fmla="*/ 0 w 78"/>
                <a:gd name="T101" fmla="*/ 11 h 97"/>
                <a:gd name="T102" fmla="*/ 1 w 78"/>
                <a:gd name="T103" fmla="*/ 11 h 97"/>
                <a:gd name="T104" fmla="*/ 2 w 78"/>
                <a:gd name="T105" fmla="*/ 11 h 97"/>
                <a:gd name="T106" fmla="*/ 2 w 78"/>
                <a:gd name="T107" fmla="*/ 11 h 97"/>
                <a:gd name="T108" fmla="*/ 2 w 78"/>
                <a:gd name="T109" fmla="*/ 11 h 97"/>
                <a:gd name="T110" fmla="*/ 3 w 78"/>
                <a:gd name="T111" fmla="*/ 11 h 97"/>
                <a:gd name="T112" fmla="*/ 4 w 78"/>
                <a:gd name="T113" fmla="*/ 11 h 97"/>
                <a:gd name="T114" fmla="*/ 4 w 78"/>
                <a:gd name="T115" fmla="*/ 10 h 97"/>
                <a:gd name="T116" fmla="*/ 4 w 78"/>
                <a:gd name="T117" fmla="*/ 10 h 97"/>
                <a:gd name="T118" fmla="*/ 5 w 78"/>
                <a:gd name="T119" fmla="*/ 10 h 97"/>
                <a:gd name="T120" fmla="*/ 5 w 78"/>
                <a:gd name="T121" fmla="*/ 10 h 9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"/>
                <a:gd name="T184" fmla="*/ 0 h 97"/>
                <a:gd name="T185" fmla="*/ 78 w 78"/>
                <a:gd name="T186" fmla="*/ 97 h 9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" h="97">
                  <a:moveTo>
                    <a:pt x="27" y="86"/>
                  </a:moveTo>
                  <a:lnTo>
                    <a:pt x="33" y="81"/>
                  </a:lnTo>
                  <a:lnTo>
                    <a:pt x="37" y="80"/>
                  </a:lnTo>
                  <a:lnTo>
                    <a:pt x="38" y="77"/>
                  </a:lnTo>
                  <a:lnTo>
                    <a:pt x="46" y="69"/>
                  </a:lnTo>
                  <a:lnTo>
                    <a:pt x="48" y="69"/>
                  </a:lnTo>
                  <a:lnTo>
                    <a:pt x="48" y="65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6" y="58"/>
                  </a:lnTo>
                  <a:lnTo>
                    <a:pt x="48" y="57"/>
                  </a:lnTo>
                  <a:lnTo>
                    <a:pt x="49" y="53"/>
                  </a:lnTo>
                  <a:lnTo>
                    <a:pt x="61" y="52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1" y="48"/>
                  </a:lnTo>
                  <a:lnTo>
                    <a:pt x="62" y="44"/>
                  </a:lnTo>
                  <a:lnTo>
                    <a:pt x="65" y="43"/>
                  </a:lnTo>
                  <a:lnTo>
                    <a:pt x="65" y="40"/>
                  </a:lnTo>
                  <a:lnTo>
                    <a:pt x="68" y="39"/>
                  </a:lnTo>
                  <a:lnTo>
                    <a:pt x="73" y="36"/>
                  </a:lnTo>
                  <a:lnTo>
                    <a:pt x="75" y="36"/>
                  </a:lnTo>
                  <a:lnTo>
                    <a:pt x="76" y="32"/>
                  </a:lnTo>
                  <a:lnTo>
                    <a:pt x="78" y="30"/>
                  </a:lnTo>
                  <a:lnTo>
                    <a:pt x="76" y="29"/>
                  </a:lnTo>
                  <a:lnTo>
                    <a:pt x="77" y="25"/>
                  </a:lnTo>
                  <a:lnTo>
                    <a:pt x="74" y="22"/>
                  </a:lnTo>
                  <a:lnTo>
                    <a:pt x="75" y="18"/>
                  </a:lnTo>
                  <a:lnTo>
                    <a:pt x="71" y="17"/>
                  </a:lnTo>
                  <a:lnTo>
                    <a:pt x="70" y="12"/>
                  </a:lnTo>
                  <a:lnTo>
                    <a:pt x="65" y="12"/>
                  </a:lnTo>
                  <a:lnTo>
                    <a:pt x="65" y="11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1" y="4"/>
                  </a:lnTo>
                  <a:lnTo>
                    <a:pt x="46" y="4"/>
                  </a:lnTo>
                  <a:lnTo>
                    <a:pt x="48" y="12"/>
                  </a:lnTo>
                  <a:lnTo>
                    <a:pt x="34" y="24"/>
                  </a:lnTo>
                  <a:lnTo>
                    <a:pt x="28" y="44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0" y="50"/>
                  </a:lnTo>
                  <a:lnTo>
                    <a:pt x="0" y="93"/>
                  </a:lnTo>
                  <a:lnTo>
                    <a:pt x="2" y="95"/>
                  </a:lnTo>
                  <a:lnTo>
                    <a:pt x="11" y="94"/>
                  </a:lnTo>
                  <a:lnTo>
                    <a:pt x="13" y="97"/>
                  </a:lnTo>
                  <a:lnTo>
                    <a:pt x="15" y="97"/>
                  </a:lnTo>
                  <a:lnTo>
                    <a:pt x="17" y="95"/>
                  </a:lnTo>
                  <a:lnTo>
                    <a:pt x="21" y="96"/>
                  </a:lnTo>
                  <a:lnTo>
                    <a:pt x="22" y="85"/>
                  </a:lnTo>
                  <a:lnTo>
                    <a:pt x="24" y="83"/>
                  </a:lnTo>
                  <a:lnTo>
                    <a:pt x="26" y="84"/>
                  </a:lnTo>
                  <a:lnTo>
                    <a:pt x="27" y="8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2" name="Freeform 59"/>
            <p:cNvSpPr>
              <a:spLocks/>
            </p:cNvSpPr>
            <p:nvPr/>
          </p:nvSpPr>
          <p:spPr bwMode="auto">
            <a:xfrm>
              <a:off x="5186861" y="1499593"/>
              <a:ext cx="95457" cy="96479"/>
            </a:xfrm>
            <a:custGeom>
              <a:avLst/>
              <a:gdLst>
                <a:gd name="T0" fmla="*/ 5 w 78"/>
                <a:gd name="T1" fmla="*/ 10 h 97"/>
                <a:gd name="T2" fmla="*/ 6 w 78"/>
                <a:gd name="T3" fmla="*/ 10 h 97"/>
                <a:gd name="T4" fmla="*/ 7 w 78"/>
                <a:gd name="T5" fmla="*/ 10 h 97"/>
                <a:gd name="T6" fmla="*/ 7 w 78"/>
                <a:gd name="T7" fmla="*/ 9 h 97"/>
                <a:gd name="T8" fmla="*/ 8 w 78"/>
                <a:gd name="T9" fmla="*/ 8 h 97"/>
                <a:gd name="T10" fmla="*/ 8 w 78"/>
                <a:gd name="T11" fmla="*/ 8 h 97"/>
                <a:gd name="T12" fmla="*/ 8 w 78"/>
                <a:gd name="T13" fmla="*/ 8 h 97"/>
                <a:gd name="T14" fmla="*/ 8 w 78"/>
                <a:gd name="T15" fmla="*/ 8 h 97"/>
                <a:gd name="T16" fmla="*/ 8 w 78"/>
                <a:gd name="T17" fmla="*/ 8 h 97"/>
                <a:gd name="T18" fmla="*/ 8 w 78"/>
                <a:gd name="T19" fmla="*/ 7 h 97"/>
                <a:gd name="T20" fmla="*/ 8 w 78"/>
                <a:gd name="T21" fmla="*/ 7 h 97"/>
                <a:gd name="T22" fmla="*/ 8 w 78"/>
                <a:gd name="T23" fmla="*/ 6 h 97"/>
                <a:gd name="T24" fmla="*/ 11 w 78"/>
                <a:gd name="T25" fmla="*/ 6 h 97"/>
                <a:gd name="T26" fmla="*/ 11 w 78"/>
                <a:gd name="T27" fmla="*/ 6 h 97"/>
                <a:gd name="T28" fmla="*/ 12 w 78"/>
                <a:gd name="T29" fmla="*/ 6 h 97"/>
                <a:gd name="T30" fmla="*/ 12 w 78"/>
                <a:gd name="T31" fmla="*/ 6 h 97"/>
                <a:gd name="T32" fmla="*/ 11 w 78"/>
                <a:gd name="T33" fmla="*/ 6 h 97"/>
                <a:gd name="T34" fmla="*/ 11 w 78"/>
                <a:gd name="T35" fmla="*/ 6 h 97"/>
                <a:gd name="T36" fmla="*/ 11 w 78"/>
                <a:gd name="T37" fmla="*/ 5 h 97"/>
                <a:gd name="T38" fmla="*/ 11 w 78"/>
                <a:gd name="T39" fmla="*/ 5 h 97"/>
                <a:gd name="T40" fmla="*/ 11 w 78"/>
                <a:gd name="T41" fmla="*/ 5 h 97"/>
                <a:gd name="T42" fmla="*/ 12 w 78"/>
                <a:gd name="T43" fmla="*/ 5 h 97"/>
                <a:gd name="T44" fmla="*/ 13 w 78"/>
                <a:gd name="T45" fmla="*/ 4 h 97"/>
                <a:gd name="T46" fmla="*/ 13 w 78"/>
                <a:gd name="T47" fmla="*/ 4 h 97"/>
                <a:gd name="T48" fmla="*/ 13 w 78"/>
                <a:gd name="T49" fmla="*/ 4 h 97"/>
                <a:gd name="T50" fmla="*/ 14 w 78"/>
                <a:gd name="T51" fmla="*/ 3 h 97"/>
                <a:gd name="T52" fmla="*/ 13 w 78"/>
                <a:gd name="T53" fmla="*/ 3 h 97"/>
                <a:gd name="T54" fmla="*/ 14 w 78"/>
                <a:gd name="T55" fmla="*/ 3 h 97"/>
                <a:gd name="T56" fmla="*/ 13 w 78"/>
                <a:gd name="T57" fmla="*/ 3 h 97"/>
                <a:gd name="T58" fmla="*/ 13 w 78"/>
                <a:gd name="T59" fmla="*/ 2 h 97"/>
                <a:gd name="T60" fmla="*/ 13 w 78"/>
                <a:gd name="T61" fmla="*/ 2 h 97"/>
                <a:gd name="T62" fmla="*/ 12 w 78"/>
                <a:gd name="T63" fmla="*/ 2 h 97"/>
                <a:gd name="T64" fmla="*/ 11 w 78"/>
                <a:gd name="T65" fmla="*/ 2 h 97"/>
                <a:gd name="T66" fmla="*/ 11 w 78"/>
                <a:gd name="T67" fmla="*/ 2 h 97"/>
                <a:gd name="T68" fmla="*/ 12 w 78"/>
                <a:gd name="T69" fmla="*/ 1 h 97"/>
                <a:gd name="T70" fmla="*/ 12 w 78"/>
                <a:gd name="T71" fmla="*/ 1 h 97"/>
                <a:gd name="T72" fmla="*/ 13 w 78"/>
                <a:gd name="T73" fmla="*/ 1 h 97"/>
                <a:gd name="T74" fmla="*/ 13 w 78"/>
                <a:gd name="T75" fmla="*/ 1 h 97"/>
                <a:gd name="T76" fmla="*/ 12 w 78"/>
                <a:gd name="T77" fmla="*/ 1 h 97"/>
                <a:gd name="T78" fmla="*/ 12 w 78"/>
                <a:gd name="T79" fmla="*/ 1 h 97"/>
                <a:gd name="T80" fmla="*/ 11 w 78"/>
                <a:gd name="T81" fmla="*/ 0 h 97"/>
                <a:gd name="T82" fmla="*/ 11 w 78"/>
                <a:gd name="T83" fmla="*/ 1 h 97"/>
                <a:gd name="T84" fmla="*/ 11 w 78"/>
                <a:gd name="T85" fmla="*/ 1 h 97"/>
                <a:gd name="T86" fmla="*/ 8 w 78"/>
                <a:gd name="T87" fmla="*/ 1 h 97"/>
                <a:gd name="T88" fmla="*/ 8 w 78"/>
                <a:gd name="T89" fmla="*/ 2 h 97"/>
                <a:gd name="T90" fmla="*/ 6 w 78"/>
                <a:gd name="T91" fmla="*/ 3 h 97"/>
                <a:gd name="T92" fmla="*/ 5 w 78"/>
                <a:gd name="T93" fmla="*/ 5 h 97"/>
                <a:gd name="T94" fmla="*/ 4 w 78"/>
                <a:gd name="T95" fmla="*/ 5 h 97"/>
                <a:gd name="T96" fmla="*/ 4 w 78"/>
                <a:gd name="T97" fmla="*/ 6 h 97"/>
                <a:gd name="T98" fmla="*/ 4 w 78"/>
                <a:gd name="T99" fmla="*/ 6 h 97"/>
                <a:gd name="T100" fmla="*/ 0 w 78"/>
                <a:gd name="T101" fmla="*/ 11 h 97"/>
                <a:gd name="T102" fmla="*/ 1 w 78"/>
                <a:gd name="T103" fmla="*/ 11 h 97"/>
                <a:gd name="T104" fmla="*/ 2 w 78"/>
                <a:gd name="T105" fmla="*/ 11 h 97"/>
                <a:gd name="T106" fmla="*/ 2 w 78"/>
                <a:gd name="T107" fmla="*/ 11 h 97"/>
                <a:gd name="T108" fmla="*/ 2 w 78"/>
                <a:gd name="T109" fmla="*/ 11 h 97"/>
                <a:gd name="T110" fmla="*/ 3 w 78"/>
                <a:gd name="T111" fmla="*/ 11 h 97"/>
                <a:gd name="T112" fmla="*/ 4 w 78"/>
                <a:gd name="T113" fmla="*/ 11 h 97"/>
                <a:gd name="T114" fmla="*/ 4 w 78"/>
                <a:gd name="T115" fmla="*/ 10 h 97"/>
                <a:gd name="T116" fmla="*/ 4 w 78"/>
                <a:gd name="T117" fmla="*/ 10 h 97"/>
                <a:gd name="T118" fmla="*/ 5 w 78"/>
                <a:gd name="T119" fmla="*/ 10 h 97"/>
                <a:gd name="T120" fmla="*/ 5 w 78"/>
                <a:gd name="T121" fmla="*/ 10 h 9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"/>
                <a:gd name="T184" fmla="*/ 0 h 97"/>
                <a:gd name="T185" fmla="*/ 78 w 78"/>
                <a:gd name="T186" fmla="*/ 97 h 9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" h="97">
                  <a:moveTo>
                    <a:pt x="27" y="86"/>
                  </a:moveTo>
                  <a:lnTo>
                    <a:pt x="33" y="81"/>
                  </a:lnTo>
                  <a:lnTo>
                    <a:pt x="37" y="80"/>
                  </a:lnTo>
                  <a:lnTo>
                    <a:pt x="38" y="77"/>
                  </a:lnTo>
                  <a:lnTo>
                    <a:pt x="46" y="69"/>
                  </a:lnTo>
                  <a:lnTo>
                    <a:pt x="48" y="69"/>
                  </a:lnTo>
                  <a:lnTo>
                    <a:pt x="48" y="65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6" y="58"/>
                  </a:lnTo>
                  <a:lnTo>
                    <a:pt x="48" y="57"/>
                  </a:lnTo>
                  <a:lnTo>
                    <a:pt x="49" y="53"/>
                  </a:lnTo>
                  <a:lnTo>
                    <a:pt x="61" y="52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1" y="48"/>
                  </a:lnTo>
                  <a:lnTo>
                    <a:pt x="62" y="44"/>
                  </a:lnTo>
                  <a:lnTo>
                    <a:pt x="65" y="43"/>
                  </a:lnTo>
                  <a:lnTo>
                    <a:pt x="65" y="40"/>
                  </a:lnTo>
                  <a:lnTo>
                    <a:pt x="68" y="39"/>
                  </a:lnTo>
                  <a:lnTo>
                    <a:pt x="73" y="36"/>
                  </a:lnTo>
                  <a:lnTo>
                    <a:pt x="75" y="36"/>
                  </a:lnTo>
                  <a:lnTo>
                    <a:pt x="76" y="32"/>
                  </a:lnTo>
                  <a:lnTo>
                    <a:pt x="78" y="30"/>
                  </a:lnTo>
                  <a:lnTo>
                    <a:pt x="76" y="29"/>
                  </a:lnTo>
                  <a:lnTo>
                    <a:pt x="77" y="25"/>
                  </a:lnTo>
                  <a:lnTo>
                    <a:pt x="74" y="22"/>
                  </a:lnTo>
                  <a:lnTo>
                    <a:pt x="75" y="18"/>
                  </a:lnTo>
                  <a:lnTo>
                    <a:pt x="71" y="17"/>
                  </a:lnTo>
                  <a:lnTo>
                    <a:pt x="70" y="12"/>
                  </a:lnTo>
                  <a:lnTo>
                    <a:pt x="65" y="12"/>
                  </a:lnTo>
                  <a:lnTo>
                    <a:pt x="65" y="11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1" y="4"/>
                  </a:lnTo>
                  <a:lnTo>
                    <a:pt x="46" y="4"/>
                  </a:lnTo>
                  <a:lnTo>
                    <a:pt x="48" y="12"/>
                  </a:lnTo>
                  <a:lnTo>
                    <a:pt x="34" y="24"/>
                  </a:lnTo>
                  <a:lnTo>
                    <a:pt x="28" y="44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0" y="50"/>
                  </a:lnTo>
                  <a:lnTo>
                    <a:pt x="0" y="93"/>
                  </a:lnTo>
                  <a:lnTo>
                    <a:pt x="2" y="95"/>
                  </a:lnTo>
                  <a:lnTo>
                    <a:pt x="11" y="94"/>
                  </a:lnTo>
                  <a:lnTo>
                    <a:pt x="13" y="97"/>
                  </a:lnTo>
                  <a:lnTo>
                    <a:pt x="15" y="97"/>
                  </a:lnTo>
                  <a:lnTo>
                    <a:pt x="17" y="95"/>
                  </a:lnTo>
                  <a:lnTo>
                    <a:pt x="21" y="96"/>
                  </a:lnTo>
                  <a:lnTo>
                    <a:pt x="22" y="85"/>
                  </a:lnTo>
                  <a:lnTo>
                    <a:pt x="24" y="83"/>
                  </a:lnTo>
                  <a:lnTo>
                    <a:pt x="26" y="84"/>
                  </a:lnTo>
                  <a:lnTo>
                    <a:pt x="27" y="8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3" name="Freeform 60"/>
            <p:cNvSpPr>
              <a:spLocks/>
            </p:cNvSpPr>
            <p:nvPr/>
          </p:nvSpPr>
          <p:spPr bwMode="auto">
            <a:xfrm>
              <a:off x="6344539" y="1948591"/>
              <a:ext cx="16248" cy="33396"/>
            </a:xfrm>
            <a:custGeom>
              <a:avLst/>
              <a:gdLst>
                <a:gd name="T0" fmla="*/ 0 w 16"/>
                <a:gd name="T1" fmla="*/ 2 h 32"/>
                <a:gd name="T2" fmla="*/ 1 w 16"/>
                <a:gd name="T3" fmla="*/ 2 h 32"/>
                <a:gd name="T4" fmla="*/ 1 w 16"/>
                <a:gd name="T5" fmla="*/ 3 h 32"/>
                <a:gd name="T6" fmla="*/ 1 w 16"/>
                <a:gd name="T7" fmla="*/ 3 h 32"/>
                <a:gd name="T8" fmla="*/ 1 w 16"/>
                <a:gd name="T9" fmla="*/ 3 h 32"/>
                <a:gd name="T10" fmla="*/ 1 w 16"/>
                <a:gd name="T11" fmla="*/ 4 h 32"/>
                <a:gd name="T12" fmla="*/ 1 w 16"/>
                <a:gd name="T13" fmla="*/ 4 h 32"/>
                <a:gd name="T14" fmla="*/ 1 w 16"/>
                <a:gd name="T15" fmla="*/ 5 h 32"/>
                <a:gd name="T16" fmla="*/ 1 w 16"/>
                <a:gd name="T17" fmla="*/ 4 h 32"/>
                <a:gd name="T18" fmla="*/ 1 w 16"/>
                <a:gd name="T19" fmla="*/ 3 h 32"/>
                <a:gd name="T20" fmla="*/ 1 w 16"/>
                <a:gd name="T21" fmla="*/ 2 h 32"/>
                <a:gd name="T22" fmla="*/ 1 w 16"/>
                <a:gd name="T23" fmla="*/ 2 h 32"/>
                <a:gd name="T24" fmla="*/ 1 w 16"/>
                <a:gd name="T25" fmla="*/ 1 h 32"/>
                <a:gd name="T26" fmla="*/ 1 w 16"/>
                <a:gd name="T27" fmla="*/ 1 h 32"/>
                <a:gd name="T28" fmla="*/ 1 w 16"/>
                <a:gd name="T29" fmla="*/ 1 h 32"/>
                <a:gd name="T30" fmla="*/ 1 w 16"/>
                <a:gd name="T31" fmla="*/ 0 h 32"/>
                <a:gd name="T32" fmla="*/ 1 w 16"/>
                <a:gd name="T33" fmla="*/ 1 h 32"/>
                <a:gd name="T34" fmla="*/ 1 w 16"/>
                <a:gd name="T35" fmla="*/ 1 h 32"/>
                <a:gd name="T36" fmla="*/ 0 w 16"/>
                <a:gd name="T37" fmla="*/ 2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32"/>
                <a:gd name="T59" fmla="*/ 16 w 16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32">
                  <a:moveTo>
                    <a:pt x="0" y="11"/>
                  </a:moveTo>
                  <a:lnTo>
                    <a:pt x="2" y="15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2" y="29"/>
                  </a:lnTo>
                  <a:lnTo>
                    <a:pt x="3" y="30"/>
                  </a:lnTo>
                  <a:lnTo>
                    <a:pt x="9" y="32"/>
                  </a:lnTo>
                  <a:lnTo>
                    <a:pt x="10" y="29"/>
                  </a:lnTo>
                  <a:lnTo>
                    <a:pt x="15" y="22"/>
                  </a:lnTo>
                  <a:lnTo>
                    <a:pt x="15" y="14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4" name="Freeform 61"/>
            <p:cNvSpPr>
              <a:spLocks/>
            </p:cNvSpPr>
            <p:nvPr/>
          </p:nvSpPr>
          <p:spPr bwMode="auto">
            <a:xfrm>
              <a:off x="6344539" y="1948591"/>
              <a:ext cx="16248" cy="33396"/>
            </a:xfrm>
            <a:custGeom>
              <a:avLst/>
              <a:gdLst>
                <a:gd name="T0" fmla="*/ 0 w 16"/>
                <a:gd name="T1" fmla="*/ 2 h 32"/>
                <a:gd name="T2" fmla="*/ 1 w 16"/>
                <a:gd name="T3" fmla="*/ 2 h 32"/>
                <a:gd name="T4" fmla="*/ 1 w 16"/>
                <a:gd name="T5" fmla="*/ 3 h 32"/>
                <a:gd name="T6" fmla="*/ 1 w 16"/>
                <a:gd name="T7" fmla="*/ 3 h 32"/>
                <a:gd name="T8" fmla="*/ 1 w 16"/>
                <a:gd name="T9" fmla="*/ 3 h 32"/>
                <a:gd name="T10" fmla="*/ 1 w 16"/>
                <a:gd name="T11" fmla="*/ 4 h 32"/>
                <a:gd name="T12" fmla="*/ 1 w 16"/>
                <a:gd name="T13" fmla="*/ 4 h 32"/>
                <a:gd name="T14" fmla="*/ 1 w 16"/>
                <a:gd name="T15" fmla="*/ 5 h 32"/>
                <a:gd name="T16" fmla="*/ 1 w 16"/>
                <a:gd name="T17" fmla="*/ 4 h 32"/>
                <a:gd name="T18" fmla="*/ 1 w 16"/>
                <a:gd name="T19" fmla="*/ 3 h 32"/>
                <a:gd name="T20" fmla="*/ 1 w 16"/>
                <a:gd name="T21" fmla="*/ 2 h 32"/>
                <a:gd name="T22" fmla="*/ 1 w 16"/>
                <a:gd name="T23" fmla="*/ 2 h 32"/>
                <a:gd name="T24" fmla="*/ 1 w 16"/>
                <a:gd name="T25" fmla="*/ 1 h 32"/>
                <a:gd name="T26" fmla="*/ 1 w 16"/>
                <a:gd name="T27" fmla="*/ 1 h 32"/>
                <a:gd name="T28" fmla="*/ 1 w 16"/>
                <a:gd name="T29" fmla="*/ 1 h 32"/>
                <a:gd name="T30" fmla="*/ 1 w 16"/>
                <a:gd name="T31" fmla="*/ 0 h 32"/>
                <a:gd name="T32" fmla="*/ 1 w 16"/>
                <a:gd name="T33" fmla="*/ 1 h 32"/>
                <a:gd name="T34" fmla="*/ 1 w 16"/>
                <a:gd name="T35" fmla="*/ 1 h 32"/>
                <a:gd name="T36" fmla="*/ 0 w 16"/>
                <a:gd name="T37" fmla="*/ 2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32"/>
                <a:gd name="T59" fmla="*/ 16 w 16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32">
                  <a:moveTo>
                    <a:pt x="0" y="11"/>
                  </a:moveTo>
                  <a:lnTo>
                    <a:pt x="2" y="15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2" y="29"/>
                  </a:lnTo>
                  <a:lnTo>
                    <a:pt x="3" y="30"/>
                  </a:lnTo>
                  <a:lnTo>
                    <a:pt x="9" y="32"/>
                  </a:lnTo>
                  <a:lnTo>
                    <a:pt x="10" y="29"/>
                  </a:lnTo>
                  <a:lnTo>
                    <a:pt x="15" y="22"/>
                  </a:lnTo>
                  <a:lnTo>
                    <a:pt x="15" y="14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0" y="1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5" name="Freeform 62"/>
            <p:cNvSpPr>
              <a:spLocks/>
            </p:cNvSpPr>
            <p:nvPr/>
          </p:nvSpPr>
          <p:spPr bwMode="auto">
            <a:xfrm>
              <a:off x="2345467" y="2551584"/>
              <a:ext cx="166543" cy="37108"/>
            </a:xfrm>
            <a:custGeom>
              <a:avLst/>
              <a:gdLst>
                <a:gd name="T0" fmla="*/ 1 w 141"/>
                <a:gd name="T1" fmla="*/ 4 h 38"/>
                <a:gd name="T2" fmla="*/ 1 w 141"/>
                <a:gd name="T3" fmla="*/ 4 h 38"/>
                <a:gd name="T4" fmla="*/ 8 w 141"/>
                <a:gd name="T5" fmla="*/ 3 h 38"/>
                <a:gd name="T6" fmla="*/ 8 w 141"/>
                <a:gd name="T7" fmla="*/ 3 h 38"/>
                <a:gd name="T8" fmla="*/ 8 w 141"/>
                <a:gd name="T9" fmla="*/ 3 h 38"/>
                <a:gd name="T10" fmla="*/ 8 w 141"/>
                <a:gd name="T11" fmla="*/ 3 h 38"/>
                <a:gd name="T12" fmla="*/ 9 w 141"/>
                <a:gd name="T13" fmla="*/ 3 h 38"/>
                <a:gd name="T14" fmla="*/ 10 w 141"/>
                <a:gd name="T15" fmla="*/ 3 h 38"/>
                <a:gd name="T16" fmla="*/ 12 w 141"/>
                <a:gd name="T17" fmla="*/ 2 h 38"/>
                <a:gd name="T18" fmla="*/ 12 w 141"/>
                <a:gd name="T19" fmla="*/ 2 h 38"/>
                <a:gd name="T20" fmla="*/ 13 w 141"/>
                <a:gd name="T21" fmla="*/ 2 h 38"/>
                <a:gd name="T22" fmla="*/ 13 w 141"/>
                <a:gd name="T23" fmla="*/ 2 h 38"/>
                <a:gd name="T24" fmla="*/ 14 w 141"/>
                <a:gd name="T25" fmla="*/ 2 h 38"/>
                <a:gd name="T26" fmla="*/ 15 w 141"/>
                <a:gd name="T27" fmla="*/ 2 h 38"/>
                <a:gd name="T28" fmla="*/ 16 w 141"/>
                <a:gd name="T29" fmla="*/ 3 h 38"/>
                <a:gd name="T30" fmla="*/ 16 w 141"/>
                <a:gd name="T31" fmla="*/ 3 h 38"/>
                <a:gd name="T32" fmla="*/ 18 w 141"/>
                <a:gd name="T33" fmla="*/ 3 h 38"/>
                <a:gd name="T34" fmla="*/ 19 w 141"/>
                <a:gd name="T35" fmla="*/ 3 h 38"/>
                <a:gd name="T36" fmla="*/ 19 w 141"/>
                <a:gd name="T37" fmla="*/ 3 h 38"/>
                <a:gd name="T38" fmla="*/ 20 w 141"/>
                <a:gd name="T39" fmla="*/ 3 h 38"/>
                <a:gd name="T40" fmla="*/ 22 w 141"/>
                <a:gd name="T41" fmla="*/ 3 h 38"/>
                <a:gd name="T42" fmla="*/ 22 w 141"/>
                <a:gd name="T43" fmla="*/ 2 h 38"/>
                <a:gd name="T44" fmla="*/ 22 w 141"/>
                <a:gd name="T45" fmla="*/ 2 h 38"/>
                <a:gd name="T46" fmla="*/ 22 w 141"/>
                <a:gd name="T47" fmla="*/ 2 h 38"/>
                <a:gd name="T48" fmla="*/ 22 w 141"/>
                <a:gd name="T49" fmla="*/ 2 h 38"/>
                <a:gd name="T50" fmla="*/ 22 w 141"/>
                <a:gd name="T51" fmla="*/ 2 h 38"/>
                <a:gd name="T52" fmla="*/ 21 w 141"/>
                <a:gd name="T53" fmla="*/ 2 h 38"/>
                <a:gd name="T54" fmla="*/ 20 w 141"/>
                <a:gd name="T55" fmla="*/ 2 h 38"/>
                <a:gd name="T56" fmla="*/ 19 w 141"/>
                <a:gd name="T57" fmla="*/ 2 h 38"/>
                <a:gd name="T58" fmla="*/ 18 w 141"/>
                <a:gd name="T59" fmla="*/ 2 h 38"/>
                <a:gd name="T60" fmla="*/ 17 w 141"/>
                <a:gd name="T61" fmla="*/ 2 h 38"/>
                <a:gd name="T62" fmla="*/ 16 w 141"/>
                <a:gd name="T63" fmla="*/ 1 h 38"/>
                <a:gd name="T64" fmla="*/ 16 w 141"/>
                <a:gd name="T65" fmla="*/ 1 h 38"/>
                <a:gd name="T66" fmla="*/ 15 w 141"/>
                <a:gd name="T67" fmla="*/ 1 h 38"/>
                <a:gd name="T68" fmla="*/ 14 w 141"/>
                <a:gd name="T69" fmla="*/ 1 h 38"/>
                <a:gd name="T70" fmla="*/ 13 w 141"/>
                <a:gd name="T71" fmla="*/ 1 h 38"/>
                <a:gd name="T72" fmla="*/ 13 w 141"/>
                <a:gd name="T73" fmla="*/ 0 h 38"/>
                <a:gd name="T74" fmla="*/ 12 w 141"/>
                <a:gd name="T75" fmla="*/ 1 h 38"/>
                <a:gd name="T76" fmla="*/ 10 w 141"/>
                <a:gd name="T77" fmla="*/ 1 h 38"/>
                <a:gd name="T78" fmla="*/ 10 w 141"/>
                <a:gd name="T79" fmla="*/ 1 h 38"/>
                <a:gd name="T80" fmla="*/ 9 w 141"/>
                <a:gd name="T81" fmla="*/ 1 h 38"/>
                <a:gd name="T82" fmla="*/ 2 w 141"/>
                <a:gd name="T83" fmla="*/ 1 h 38"/>
                <a:gd name="T84" fmla="*/ 2 w 141"/>
                <a:gd name="T85" fmla="*/ 2 h 38"/>
                <a:gd name="T86" fmla="*/ 2 w 141"/>
                <a:gd name="T87" fmla="*/ 2 h 38"/>
                <a:gd name="T88" fmla="*/ 1 w 141"/>
                <a:gd name="T89" fmla="*/ 2 h 38"/>
                <a:gd name="T90" fmla="*/ 1 w 141"/>
                <a:gd name="T91" fmla="*/ 2 h 38"/>
                <a:gd name="T92" fmla="*/ 1 w 141"/>
                <a:gd name="T93" fmla="*/ 3 h 38"/>
                <a:gd name="T94" fmla="*/ 0 w 141"/>
                <a:gd name="T95" fmla="*/ 3 h 38"/>
                <a:gd name="T96" fmla="*/ 0 w 141"/>
                <a:gd name="T97" fmla="*/ 4 h 38"/>
                <a:gd name="T98" fmla="*/ 1 w 141"/>
                <a:gd name="T99" fmla="*/ 4 h 38"/>
                <a:gd name="T100" fmla="*/ 1 w 141"/>
                <a:gd name="T101" fmla="*/ 4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1"/>
                <a:gd name="T154" fmla="*/ 0 h 38"/>
                <a:gd name="T155" fmla="*/ 141 w 1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1" h="38">
                  <a:moveTo>
                    <a:pt x="3" y="37"/>
                  </a:moveTo>
                  <a:lnTo>
                    <a:pt x="6" y="32"/>
                  </a:lnTo>
                  <a:lnTo>
                    <a:pt x="46" y="29"/>
                  </a:lnTo>
                  <a:lnTo>
                    <a:pt x="48" y="28"/>
                  </a:lnTo>
                  <a:lnTo>
                    <a:pt x="50" y="23"/>
                  </a:lnTo>
                  <a:lnTo>
                    <a:pt x="53" y="22"/>
                  </a:lnTo>
                  <a:lnTo>
                    <a:pt x="57" y="23"/>
                  </a:lnTo>
                  <a:lnTo>
                    <a:pt x="66" y="22"/>
                  </a:lnTo>
                  <a:lnTo>
                    <a:pt x="73" y="18"/>
                  </a:lnTo>
                  <a:lnTo>
                    <a:pt x="77" y="14"/>
                  </a:lnTo>
                  <a:lnTo>
                    <a:pt x="79" y="13"/>
                  </a:lnTo>
                  <a:lnTo>
                    <a:pt x="84" y="14"/>
                  </a:lnTo>
                  <a:lnTo>
                    <a:pt x="87" y="16"/>
                  </a:lnTo>
                  <a:lnTo>
                    <a:pt x="93" y="18"/>
                  </a:lnTo>
                  <a:lnTo>
                    <a:pt x="100" y="24"/>
                  </a:lnTo>
                  <a:lnTo>
                    <a:pt x="106" y="24"/>
                  </a:lnTo>
                  <a:lnTo>
                    <a:pt x="114" y="28"/>
                  </a:lnTo>
                  <a:lnTo>
                    <a:pt x="119" y="27"/>
                  </a:lnTo>
                  <a:lnTo>
                    <a:pt x="122" y="29"/>
                  </a:lnTo>
                  <a:lnTo>
                    <a:pt x="127" y="26"/>
                  </a:lnTo>
                  <a:lnTo>
                    <a:pt x="137" y="24"/>
                  </a:lnTo>
                  <a:lnTo>
                    <a:pt x="141" y="21"/>
                  </a:lnTo>
                  <a:lnTo>
                    <a:pt x="141" y="17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4" y="12"/>
                  </a:lnTo>
                  <a:lnTo>
                    <a:pt x="130" y="12"/>
                  </a:lnTo>
                  <a:lnTo>
                    <a:pt x="118" y="17"/>
                  </a:lnTo>
                  <a:lnTo>
                    <a:pt x="114" y="16"/>
                  </a:lnTo>
                  <a:lnTo>
                    <a:pt x="109" y="13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72" y="3"/>
                  </a:lnTo>
                  <a:lnTo>
                    <a:pt x="67" y="2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12" y="11"/>
                  </a:lnTo>
                  <a:lnTo>
                    <a:pt x="10" y="14"/>
                  </a:lnTo>
                  <a:lnTo>
                    <a:pt x="12" y="17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38"/>
                  </a:lnTo>
                  <a:lnTo>
                    <a:pt x="3" y="3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6" name="Freeform 63"/>
            <p:cNvSpPr>
              <a:spLocks/>
            </p:cNvSpPr>
            <p:nvPr/>
          </p:nvSpPr>
          <p:spPr bwMode="auto">
            <a:xfrm>
              <a:off x="2345467" y="2551584"/>
              <a:ext cx="166543" cy="37108"/>
            </a:xfrm>
            <a:custGeom>
              <a:avLst/>
              <a:gdLst>
                <a:gd name="T0" fmla="*/ 1 w 141"/>
                <a:gd name="T1" fmla="*/ 4 h 38"/>
                <a:gd name="T2" fmla="*/ 1 w 141"/>
                <a:gd name="T3" fmla="*/ 4 h 38"/>
                <a:gd name="T4" fmla="*/ 8 w 141"/>
                <a:gd name="T5" fmla="*/ 3 h 38"/>
                <a:gd name="T6" fmla="*/ 8 w 141"/>
                <a:gd name="T7" fmla="*/ 3 h 38"/>
                <a:gd name="T8" fmla="*/ 8 w 141"/>
                <a:gd name="T9" fmla="*/ 3 h 38"/>
                <a:gd name="T10" fmla="*/ 8 w 141"/>
                <a:gd name="T11" fmla="*/ 3 h 38"/>
                <a:gd name="T12" fmla="*/ 9 w 141"/>
                <a:gd name="T13" fmla="*/ 3 h 38"/>
                <a:gd name="T14" fmla="*/ 10 w 141"/>
                <a:gd name="T15" fmla="*/ 3 h 38"/>
                <a:gd name="T16" fmla="*/ 12 w 141"/>
                <a:gd name="T17" fmla="*/ 2 h 38"/>
                <a:gd name="T18" fmla="*/ 12 w 141"/>
                <a:gd name="T19" fmla="*/ 2 h 38"/>
                <a:gd name="T20" fmla="*/ 13 w 141"/>
                <a:gd name="T21" fmla="*/ 2 h 38"/>
                <a:gd name="T22" fmla="*/ 13 w 141"/>
                <a:gd name="T23" fmla="*/ 2 h 38"/>
                <a:gd name="T24" fmla="*/ 14 w 141"/>
                <a:gd name="T25" fmla="*/ 2 h 38"/>
                <a:gd name="T26" fmla="*/ 15 w 141"/>
                <a:gd name="T27" fmla="*/ 2 h 38"/>
                <a:gd name="T28" fmla="*/ 16 w 141"/>
                <a:gd name="T29" fmla="*/ 3 h 38"/>
                <a:gd name="T30" fmla="*/ 16 w 141"/>
                <a:gd name="T31" fmla="*/ 3 h 38"/>
                <a:gd name="T32" fmla="*/ 18 w 141"/>
                <a:gd name="T33" fmla="*/ 3 h 38"/>
                <a:gd name="T34" fmla="*/ 19 w 141"/>
                <a:gd name="T35" fmla="*/ 3 h 38"/>
                <a:gd name="T36" fmla="*/ 19 w 141"/>
                <a:gd name="T37" fmla="*/ 3 h 38"/>
                <a:gd name="T38" fmla="*/ 20 w 141"/>
                <a:gd name="T39" fmla="*/ 3 h 38"/>
                <a:gd name="T40" fmla="*/ 22 w 141"/>
                <a:gd name="T41" fmla="*/ 3 h 38"/>
                <a:gd name="T42" fmla="*/ 22 w 141"/>
                <a:gd name="T43" fmla="*/ 2 h 38"/>
                <a:gd name="T44" fmla="*/ 22 w 141"/>
                <a:gd name="T45" fmla="*/ 2 h 38"/>
                <a:gd name="T46" fmla="*/ 22 w 141"/>
                <a:gd name="T47" fmla="*/ 2 h 38"/>
                <a:gd name="T48" fmla="*/ 22 w 141"/>
                <a:gd name="T49" fmla="*/ 2 h 38"/>
                <a:gd name="T50" fmla="*/ 22 w 141"/>
                <a:gd name="T51" fmla="*/ 2 h 38"/>
                <a:gd name="T52" fmla="*/ 21 w 141"/>
                <a:gd name="T53" fmla="*/ 2 h 38"/>
                <a:gd name="T54" fmla="*/ 20 w 141"/>
                <a:gd name="T55" fmla="*/ 2 h 38"/>
                <a:gd name="T56" fmla="*/ 19 w 141"/>
                <a:gd name="T57" fmla="*/ 2 h 38"/>
                <a:gd name="T58" fmla="*/ 18 w 141"/>
                <a:gd name="T59" fmla="*/ 2 h 38"/>
                <a:gd name="T60" fmla="*/ 17 w 141"/>
                <a:gd name="T61" fmla="*/ 2 h 38"/>
                <a:gd name="T62" fmla="*/ 16 w 141"/>
                <a:gd name="T63" fmla="*/ 1 h 38"/>
                <a:gd name="T64" fmla="*/ 16 w 141"/>
                <a:gd name="T65" fmla="*/ 1 h 38"/>
                <a:gd name="T66" fmla="*/ 15 w 141"/>
                <a:gd name="T67" fmla="*/ 1 h 38"/>
                <a:gd name="T68" fmla="*/ 14 w 141"/>
                <a:gd name="T69" fmla="*/ 1 h 38"/>
                <a:gd name="T70" fmla="*/ 13 w 141"/>
                <a:gd name="T71" fmla="*/ 1 h 38"/>
                <a:gd name="T72" fmla="*/ 13 w 141"/>
                <a:gd name="T73" fmla="*/ 0 h 38"/>
                <a:gd name="T74" fmla="*/ 12 w 141"/>
                <a:gd name="T75" fmla="*/ 1 h 38"/>
                <a:gd name="T76" fmla="*/ 10 w 141"/>
                <a:gd name="T77" fmla="*/ 1 h 38"/>
                <a:gd name="T78" fmla="*/ 10 w 141"/>
                <a:gd name="T79" fmla="*/ 1 h 38"/>
                <a:gd name="T80" fmla="*/ 9 w 141"/>
                <a:gd name="T81" fmla="*/ 1 h 38"/>
                <a:gd name="T82" fmla="*/ 2 w 141"/>
                <a:gd name="T83" fmla="*/ 1 h 38"/>
                <a:gd name="T84" fmla="*/ 2 w 141"/>
                <a:gd name="T85" fmla="*/ 2 h 38"/>
                <a:gd name="T86" fmla="*/ 2 w 141"/>
                <a:gd name="T87" fmla="*/ 2 h 38"/>
                <a:gd name="T88" fmla="*/ 1 w 141"/>
                <a:gd name="T89" fmla="*/ 2 h 38"/>
                <a:gd name="T90" fmla="*/ 1 w 141"/>
                <a:gd name="T91" fmla="*/ 2 h 38"/>
                <a:gd name="T92" fmla="*/ 1 w 141"/>
                <a:gd name="T93" fmla="*/ 3 h 38"/>
                <a:gd name="T94" fmla="*/ 0 w 141"/>
                <a:gd name="T95" fmla="*/ 3 h 38"/>
                <a:gd name="T96" fmla="*/ 0 w 141"/>
                <a:gd name="T97" fmla="*/ 4 h 38"/>
                <a:gd name="T98" fmla="*/ 1 w 141"/>
                <a:gd name="T99" fmla="*/ 4 h 38"/>
                <a:gd name="T100" fmla="*/ 1 w 141"/>
                <a:gd name="T101" fmla="*/ 4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1"/>
                <a:gd name="T154" fmla="*/ 0 h 38"/>
                <a:gd name="T155" fmla="*/ 141 w 1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1" h="38">
                  <a:moveTo>
                    <a:pt x="3" y="37"/>
                  </a:moveTo>
                  <a:lnTo>
                    <a:pt x="6" y="32"/>
                  </a:lnTo>
                  <a:lnTo>
                    <a:pt x="46" y="29"/>
                  </a:lnTo>
                  <a:lnTo>
                    <a:pt x="48" y="28"/>
                  </a:lnTo>
                  <a:lnTo>
                    <a:pt x="50" y="23"/>
                  </a:lnTo>
                  <a:lnTo>
                    <a:pt x="53" y="22"/>
                  </a:lnTo>
                  <a:lnTo>
                    <a:pt x="57" y="23"/>
                  </a:lnTo>
                  <a:lnTo>
                    <a:pt x="66" y="22"/>
                  </a:lnTo>
                  <a:lnTo>
                    <a:pt x="73" y="18"/>
                  </a:lnTo>
                  <a:lnTo>
                    <a:pt x="77" y="14"/>
                  </a:lnTo>
                  <a:lnTo>
                    <a:pt x="79" y="13"/>
                  </a:lnTo>
                  <a:lnTo>
                    <a:pt x="84" y="14"/>
                  </a:lnTo>
                  <a:lnTo>
                    <a:pt x="87" y="16"/>
                  </a:lnTo>
                  <a:lnTo>
                    <a:pt x="93" y="18"/>
                  </a:lnTo>
                  <a:lnTo>
                    <a:pt x="100" y="24"/>
                  </a:lnTo>
                  <a:lnTo>
                    <a:pt x="106" y="24"/>
                  </a:lnTo>
                  <a:lnTo>
                    <a:pt x="114" y="28"/>
                  </a:lnTo>
                  <a:lnTo>
                    <a:pt x="119" y="27"/>
                  </a:lnTo>
                  <a:lnTo>
                    <a:pt x="122" y="29"/>
                  </a:lnTo>
                  <a:lnTo>
                    <a:pt x="127" y="26"/>
                  </a:lnTo>
                  <a:lnTo>
                    <a:pt x="137" y="24"/>
                  </a:lnTo>
                  <a:lnTo>
                    <a:pt x="141" y="21"/>
                  </a:lnTo>
                  <a:lnTo>
                    <a:pt x="141" y="17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4" y="12"/>
                  </a:lnTo>
                  <a:lnTo>
                    <a:pt x="130" y="12"/>
                  </a:lnTo>
                  <a:lnTo>
                    <a:pt x="118" y="17"/>
                  </a:lnTo>
                  <a:lnTo>
                    <a:pt x="114" y="16"/>
                  </a:lnTo>
                  <a:lnTo>
                    <a:pt x="109" y="13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72" y="3"/>
                  </a:lnTo>
                  <a:lnTo>
                    <a:pt x="67" y="2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12" y="11"/>
                  </a:lnTo>
                  <a:lnTo>
                    <a:pt x="10" y="14"/>
                  </a:lnTo>
                  <a:lnTo>
                    <a:pt x="12" y="17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38"/>
                  </a:lnTo>
                  <a:lnTo>
                    <a:pt x="3" y="3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7" name="Freeform 64"/>
            <p:cNvSpPr>
              <a:spLocks/>
            </p:cNvSpPr>
            <p:nvPr/>
          </p:nvSpPr>
          <p:spPr bwMode="auto">
            <a:xfrm>
              <a:off x="2345466" y="2603533"/>
              <a:ext cx="172636" cy="83492"/>
            </a:xfrm>
            <a:custGeom>
              <a:avLst/>
              <a:gdLst>
                <a:gd name="T0" fmla="*/ 23 w 146"/>
                <a:gd name="T1" fmla="*/ 0 h 82"/>
                <a:gd name="T2" fmla="*/ 23 w 146"/>
                <a:gd name="T3" fmla="*/ 1 h 82"/>
                <a:gd name="T4" fmla="*/ 23 w 146"/>
                <a:gd name="T5" fmla="*/ 2 h 82"/>
                <a:gd name="T6" fmla="*/ 23 w 146"/>
                <a:gd name="T7" fmla="*/ 2 h 82"/>
                <a:gd name="T8" fmla="*/ 23 w 146"/>
                <a:gd name="T9" fmla="*/ 2 h 82"/>
                <a:gd name="T10" fmla="*/ 22 w 146"/>
                <a:gd name="T11" fmla="*/ 3 h 82"/>
                <a:gd name="T12" fmla="*/ 22 w 146"/>
                <a:gd name="T13" fmla="*/ 3 h 82"/>
                <a:gd name="T14" fmla="*/ 22 w 146"/>
                <a:gd name="T15" fmla="*/ 3 h 82"/>
                <a:gd name="T16" fmla="*/ 21 w 146"/>
                <a:gd name="T17" fmla="*/ 3 h 82"/>
                <a:gd name="T18" fmla="*/ 22 w 146"/>
                <a:gd name="T19" fmla="*/ 4 h 82"/>
                <a:gd name="T20" fmla="*/ 22 w 146"/>
                <a:gd name="T21" fmla="*/ 4 h 82"/>
                <a:gd name="T22" fmla="*/ 23 w 146"/>
                <a:gd name="T23" fmla="*/ 7 h 82"/>
                <a:gd name="T24" fmla="*/ 22 w 146"/>
                <a:gd name="T25" fmla="*/ 7 h 82"/>
                <a:gd name="T26" fmla="*/ 21 w 146"/>
                <a:gd name="T27" fmla="*/ 7 h 82"/>
                <a:gd name="T28" fmla="*/ 19 w 146"/>
                <a:gd name="T29" fmla="*/ 7 h 82"/>
                <a:gd name="T30" fmla="*/ 16 w 146"/>
                <a:gd name="T31" fmla="*/ 8 h 82"/>
                <a:gd name="T32" fmla="*/ 15 w 146"/>
                <a:gd name="T33" fmla="*/ 8 h 82"/>
                <a:gd name="T34" fmla="*/ 14 w 146"/>
                <a:gd name="T35" fmla="*/ 10 h 82"/>
                <a:gd name="T36" fmla="*/ 13 w 146"/>
                <a:gd name="T37" fmla="*/ 10 h 82"/>
                <a:gd name="T38" fmla="*/ 13 w 146"/>
                <a:gd name="T39" fmla="*/ 11 h 82"/>
                <a:gd name="T40" fmla="*/ 13 w 146"/>
                <a:gd name="T41" fmla="*/ 10 h 82"/>
                <a:gd name="T42" fmla="*/ 13 w 146"/>
                <a:gd name="T43" fmla="*/ 10 h 82"/>
                <a:gd name="T44" fmla="*/ 12 w 146"/>
                <a:gd name="T45" fmla="*/ 10 h 82"/>
                <a:gd name="T46" fmla="*/ 11 w 146"/>
                <a:gd name="T47" fmla="*/ 10 h 82"/>
                <a:gd name="T48" fmla="*/ 10 w 146"/>
                <a:gd name="T49" fmla="*/ 10 h 82"/>
                <a:gd name="T50" fmla="*/ 10 w 146"/>
                <a:gd name="T51" fmla="*/ 9 h 82"/>
                <a:gd name="T52" fmla="*/ 10 w 146"/>
                <a:gd name="T53" fmla="*/ 8 h 82"/>
                <a:gd name="T54" fmla="*/ 10 w 146"/>
                <a:gd name="T55" fmla="*/ 7 h 82"/>
                <a:gd name="T56" fmla="*/ 10 w 146"/>
                <a:gd name="T57" fmla="*/ 5 h 82"/>
                <a:gd name="T58" fmla="*/ 14 w 146"/>
                <a:gd name="T59" fmla="*/ 5 h 82"/>
                <a:gd name="T60" fmla="*/ 14 w 146"/>
                <a:gd name="T61" fmla="*/ 5 h 82"/>
                <a:gd name="T62" fmla="*/ 10 w 146"/>
                <a:gd name="T63" fmla="*/ 5 h 82"/>
                <a:gd name="T64" fmla="*/ 8 w 146"/>
                <a:gd name="T65" fmla="*/ 7 h 82"/>
                <a:gd name="T66" fmla="*/ 7 w 146"/>
                <a:gd name="T67" fmla="*/ 7 h 82"/>
                <a:gd name="T68" fmla="*/ 6 w 146"/>
                <a:gd name="T69" fmla="*/ 7 h 82"/>
                <a:gd name="T70" fmla="*/ 6 w 146"/>
                <a:gd name="T71" fmla="*/ 5 h 82"/>
                <a:gd name="T72" fmla="*/ 5 w 146"/>
                <a:gd name="T73" fmla="*/ 5 h 82"/>
                <a:gd name="T74" fmla="*/ 4 w 146"/>
                <a:gd name="T75" fmla="*/ 5 h 82"/>
                <a:gd name="T76" fmla="*/ 3 w 146"/>
                <a:gd name="T77" fmla="*/ 5 h 82"/>
                <a:gd name="T78" fmla="*/ 3 w 146"/>
                <a:gd name="T79" fmla="*/ 4 h 82"/>
                <a:gd name="T80" fmla="*/ 1 w 146"/>
                <a:gd name="T81" fmla="*/ 3 h 82"/>
                <a:gd name="T82" fmla="*/ 0 w 146"/>
                <a:gd name="T83" fmla="*/ 2 h 82"/>
                <a:gd name="T84" fmla="*/ 1 w 146"/>
                <a:gd name="T85" fmla="*/ 2 h 82"/>
                <a:gd name="T86" fmla="*/ 1 w 146"/>
                <a:gd name="T87" fmla="*/ 2 h 82"/>
                <a:gd name="T88" fmla="*/ 1 w 146"/>
                <a:gd name="T89" fmla="*/ 2 h 82"/>
                <a:gd name="T90" fmla="*/ 2 w 146"/>
                <a:gd name="T91" fmla="*/ 2 h 82"/>
                <a:gd name="T92" fmla="*/ 4 w 146"/>
                <a:gd name="T93" fmla="*/ 2 h 82"/>
                <a:gd name="T94" fmla="*/ 8 w 146"/>
                <a:gd name="T95" fmla="*/ 2 h 82"/>
                <a:gd name="T96" fmla="*/ 13 w 146"/>
                <a:gd name="T97" fmla="*/ 1 h 82"/>
                <a:gd name="T98" fmla="*/ 23 w 146"/>
                <a:gd name="T99" fmla="*/ 0 h 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82"/>
                <a:gd name="T152" fmla="*/ 146 w 146"/>
                <a:gd name="T153" fmla="*/ 82 h 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82">
                  <a:moveTo>
                    <a:pt x="143" y="0"/>
                  </a:moveTo>
                  <a:lnTo>
                    <a:pt x="143" y="6"/>
                  </a:lnTo>
                  <a:lnTo>
                    <a:pt x="146" y="11"/>
                  </a:lnTo>
                  <a:lnTo>
                    <a:pt x="146" y="15"/>
                  </a:lnTo>
                  <a:lnTo>
                    <a:pt x="144" y="19"/>
                  </a:lnTo>
                  <a:lnTo>
                    <a:pt x="141" y="21"/>
                  </a:lnTo>
                  <a:lnTo>
                    <a:pt x="136" y="21"/>
                  </a:lnTo>
                  <a:lnTo>
                    <a:pt x="134" y="22"/>
                  </a:lnTo>
                  <a:lnTo>
                    <a:pt x="133" y="25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2" y="47"/>
                  </a:lnTo>
                  <a:lnTo>
                    <a:pt x="136" y="47"/>
                  </a:lnTo>
                  <a:lnTo>
                    <a:pt x="133" y="49"/>
                  </a:lnTo>
                  <a:lnTo>
                    <a:pt x="117" y="50"/>
                  </a:lnTo>
                  <a:lnTo>
                    <a:pt x="101" y="56"/>
                  </a:lnTo>
                  <a:lnTo>
                    <a:pt x="96" y="60"/>
                  </a:lnTo>
                  <a:lnTo>
                    <a:pt x="88" y="77"/>
                  </a:lnTo>
                  <a:lnTo>
                    <a:pt x="84" y="80"/>
                  </a:lnTo>
                  <a:lnTo>
                    <a:pt x="79" y="82"/>
                  </a:lnTo>
                  <a:lnTo>
                    <a:pt x="79" y="79"/>
                  </a:lnTo>
                  <a:lnTo>
                    <a:pt x="80" y="77"/>
                  </a:lnTo>
                  <a:lnTo>
                    <a:pt x="72" y="78"/>
                  </a:lnTo>
                  <a:lnTo>
                    <a:pt x="68" y="77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5" y="57"/>
                  </a:lnTo>
                  <a:lnTo>
                    <a:pt x="61" y="48"/>
                  </a:lnTo>
                  <a:lnTo>
                    <a:pt x="67" y="44"/>
                  </a:lnTo>
                  <a:lnTo>
                    <a:pt x="87" y="42"/>
                  </a:lnTo>
                  <a:lnTo>
                    <a:pt x="88" y="38"/>
                  </a:lnTo>
                  <a:lnTo>
                    <a:pt x="61" y="42"/>
                  </a:lnTo>
                  <a:lnTo>
                    <a:pt x="50" y="47"/>
                  </a:lnTo>
                  <a:lnTo>
                    <a:pt x="44" y="48"/>
                  </a:lnTo>
                  <a:lnTo>
                    <a:pt x="40" y="47"/>
                  </a:lnTo>
                  <a:lnTo>
                    <a:pt x="39" y="41"/>
                  </a:lnTo>
                  <a:lnTo>
                    <a:pt x="35" y="41"/>
                  </a:lnTo>
                  <a:lnTo>
                    <a:pt x="26" y="40"/>
                  </a:lnTo>
                  <a:lnTo>
                    <a:pt x="23" y="36"/>
                  </a:lnTo>
                  <a:lnTo>
                    <a:pt x="23" y="27"/>
                  </a:lnTo>
                  <a:lnTo>
                    <a:pt x="5" y="23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13" y="17"/>
                  </a:lnTo>
                  <a:lnTo>
                    <a:pt x="26" y="11"/>
                  </a:lnTo>
                  <a:lnTo>
                    <a:pt x="50" y="12"/>
                  </a:lnTo>
                  <a:lnTo>
                    <a:pt x="78" y="1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8" name="Freeform 65"/>
            <p:cNvSpPr>
              <a:spLocks/>
            </p:cNvSpPr>
            <p:nvPr/>
          </p:nvSpPr>
          <p:spPr bwMode="auto">
            <a:xfrm>
              <a:off x="2345466" y="2603533"/>
              <a:ext cx="172636" cy="83492"/>
            </a:xfrm>
            <a:custGeom>
              <a:avLst/>
              <a:gdLst>
                <a:gd name="T0" fmla="*/ 23 w 146"/>
                <a:gd name="T1" fmla="*/ 0 h 82"/>
                <a:gd name="T2" fmla="*/ 23 w 146"/>
                <a:gd name="T3" fmla="*/ 1 h 82"/>
                <a:gd name="T4" fmla="*/ 23 w 146"/>
                <a:gd name="T5" fmla="*/ 2 h 82"/>
                <a:gd name="T6" fmla="*/ 23 w 146"/>
                <a:gd name="T7" fmla="*/ 2 h 82"/>
                <a:gd name="T8" fmla="*/ 23 w 146"/>
                <a:gd name="T9" fmla="*/ 2 h 82"/>
                <a:gd name="T10" fmla="*/ 22 w 146"/>
                <a:gd name="T11" fmla="*/ 3 h 82"/>
                <a:gd name="T12" fmla="*/ 22 w 146"/>
                <a:gd name="T13" fmla="*/ 3 h 82"/>
                <a:gd name="T14" fmla="*/ 22 w 146"/>
                <a:gd name="T15" fmla="*/ 3 h 82"/>
                <a:gd name="T16" fmla="*/ 21 w 146"/>
                <a:gd name="T17" fmla="*/ 3 h 82"/>
                <a:gd name="T18" fmla="*/ 22 w 146"/>
                <a:gd name="T19" fmla="*/ 4 h 82"/>
                <a:gd name="T20" fmla="*/ 22 w 146"/>
                <a:gd name="T21" fmla="*/ 4 h 82"/>
                <a:gd name="T22" fmla="*/ 23 w 146"/>
                <a:gd name="T23" fmla="*/ 7 h 82"/>
                <a:gd name="T24" fmla="*/ 22 w 146"/>
                <a:gd name="T25" fmla="*/ 7 h 82"/>
                <a:gd name="T26" fmla="*/ 21 w 146"/>
                <a:gd name="T27" fmla="*/ 7 h 82"/>
                <a:gd name="T28" fmla="*/ 19 w 146"/>
                <a:gd name="T29" fmla="*/ 7 h 82"/>
                <a:gd name="T30" fmla="*/ 16 w 146"/>
                <a:gd name="T31" fmla="*/ 8 h 82"/>
                <a:gd name="T32" fmla="*/ 15 w 146"/>
                <a:gd name="T33" fmla="*/ 8 h 82"/>
                <a:gd name="T34" fmla="*/ 14 w 146"/>
                <a:gd name="T35" fmla="*/ 10 h 82"/>
                <a:gd name="T36" fmla="*/ 13 w 146"/>
                <a:gd name="T37" fmla="*/ 10 h 82"/>
                <a:gd name="T38" fmla="*/ 13 w 146"/>
                <a:gd name="T39" fmla="*/ 11 h 82"/>
                <a:gd name="T40" fmla="*/ 13 w 146"/>
                <a:gd name="T41" fmla="*/ 10 h 82"/>
                <a:gd name="T42" fmla="*/ 13 w 146"/>
                <a:gd name="T43" fmla="*/ 10 h 82"/>
                <a:gd name="T44" fmla="*/ 12 w 146"/>
                <a:gd name="T45" fmla="*/ 10 h 82"/>
                <a:gd name="T46" fmla="*/ 11 w 146"/>
                <a:gd name="T47" fmla="*/ 10 h 82"/>
                <a:gd name="T48" fmla="*/ 10 w 146"/>
                <a:gd name="T49" fmla="*/ 10 h 82"/>
                <a:gd name="T50" fmla="*/ 10 w 146"/>
                <a:gd name="T51" fmla="*/ 9 h 82"/>
                <a:gd name="T52" fmla="*/ 10 w 146"/>
                <a:gd name="T53" fmla="*/ 8 h 82"/>
                <a:gd name="T54" fmla="*/ 10 w 146"/>
                <a:gd name="T55" fmla="*/ 7 h 82"/>
                <a:gd name="T56" fmla="*/ 10 w 146"/>
                <a:gd name="T57" fmla="*/ 5 h 82"/>
                <a:gd name="T58" fmla="*/ 14 w 146"/>
                <a:gd name="T59" fmla="*/ 5 h 82"/>
                <a:gd name="T60" fmla="*/ 14 w 146"/>
                <a:gd name="T61" fmla="*/ 5 h 82"/>
                <a:gd name="T62" fmla="*/ 10 w 146"/>
                <a:gd name="T63" fmla="*/ 5 h 82"/>
                <a:gd name="T64" fmla="*/ 8 w 146"/>
                <a:gd name="T65" fmla="*/ 7 h 82"/>
                <a:gd name="T66" fmla="*/ 7 w 146"/>
                <a:gd name="T67" fmla="*/ 7 h 82"/>
                <a:gd name="T68" fmla="*/ 6 w 146"/>
                <a:gd name="T69" fmla="*/ 7 h 82"/>
                <a:gd name="T70" fmla="*/ 6 w 146"/>
                <a:gd name="T71" fmla="*/ 5 h 82"/>
                <a:gd name="T72" fmla="*/ 5 w 146"/>
                <a:gd name="T73" fmla="*/ 5 h 82"/>
                <a:gd name="T74" fmla="*/ 4 w 146"/>
                <a:gd name="T75" fmla="*/ 5 h 82"/>
                <a:gd name="T76" fmla="*/ 3 w 146"/>
                <a:gd name="T77" fmla="*/ 5 h 82"/>
                <a:gd name="T78" fmla="*/ 3 w 146"/>
                <a:gd name="T79" fmla="*/ 4 h 82"/>
                <a:gd name="T80" fmla="*/ 1 w 146"/>
                <a:gd name="T81" fmla="*/ 3 h 82"/>
                <a:gd name="T82" fmla="*/ 0 w 146"/>
                <a:gd name="T83" fmla="*/ 2 h 82"/>
                <a:gd name="T84" fmla="*/ 1 w 146"/>
                <a:gd name="T85" fmla="*/ 2 h 82"/>
                <a:gd name="T86" fmla="*/ 1 w 146"/>
                <a:gd name="T87" fmla="*/ 2 h 82"/>
                <a:gd name="T88" fmla="*/ 1 w 146"/>
                <a:gd name="T89" fmla="*/ 2 h 82"/>
                <a:gd name="T90" fmla="*/ 2 w 146"/>
                <a:gd name="T91" fmla="*/ 2 h 82"/>
                <a:gd name="T92" fmla="*/ 4 w 146"/>
                <a:gd name="T93" fmla="*/ 2 h 82"/>
                <a:gd name="T94" fmla="*/ 8 w 146"/>
                <a:gd name="T95" fmla="*/ 2 h 82"/>
                <a:gd name="T96" fmla="*/ 13 w 146"/>
                <a:gd name="T97" fmla="*/ 1 h 82"/>
                <a:gd name="T98" fmla="*/ 23 w 146"/>
                <a:gd name="T99" fmla="*/ 0 h 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82"/>
                <a:gd name="T152" fmla="*/ 146 w 146"/>
                <a:gd name="T153" fmla="*/ 82 h 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82">
                  <a:moveTo>
                    <a:pt x="143" y="0"/>
                  </a:moveTo>
                  <a:lnTo>
                    <a:pt x="143" y="6"/>
                  </a:lnTo>
                  <a:lnTo>
                    <a:pt x="146" y="11"/>
                  </a:lnTo>
                  <a:lnTo>
                    <a:pt x="146" y="15"/>
                  </a:lnTo>
                  <a:lnTo>
                    <a:pt x="144" y="19"/>
                  </a:lnTo>
                  <a:lnTo>
                    <a:pt x="141" y="21"/>
                  </a:lnTo>
                  <a:lnTo>
                    <a:pt x="136" y="21"/>
                  </a:lnTo>
                  <a:lnTo>
                    <a:pt x="134" y="22"/>
                  </a:lnTo>
                  <a:lnTo>
                    <a:pt x="133" y="25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2" y="47"/>
                  </a:lnTo>
                  <a:lnTo>
                    <a:pt x="136" y="47"/>
                  </a:lnTo>
                  <a:lnTo>
                    <a:pt x="133" y="49"/>
                  </a:lnTo>
                  <a:lnTo>
                    <a:pt x="117" y="50"/>
                  </a:lnTo>
                  <a:lnTo>
                    <a:pt x="101" y="56"/>
                  </a:lnTo>
                  <a:lnTo>
                    <a:pt x="96" y="60"/>
                  </a:lnTo>
                  <a:lnTo>
                    <a:pt x="88" y="77"/>
                  </a:lnTo>
                  <a:lnTo>
                    <a:pt x="84" y="80"/>
                  </a:lnTo>
                  <a:lnTo>
                    <a:pt x="79" y="82"/>
                  </a:lnTo>
                  <a:lnTo>
                    <a:pt x="79" y="79"/>
                  </a:lnTo>
                  <a:lnTo>
                    <a:pt x="80" y="77"/>
                  </a:lnTo>
                  <a:lnTo>
                    <a:pt x="72" y="78"/>
                  </a:lnTo>
                  <a:lnTo>
                    <a:pt x="68" y="77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5" y="57"/>
                  </a:lnTo>
                  <a:lnTo>
                    <a:pt x="61" y="48"/>
                  </a:lnTo>
                  <a:lnTo>
                    <a:pt x="67" y="44"/>
                  </a:lnTo>
                  <a:lnTo>
                    <a:pt x="87" y="42"/>
                  </a:lnTo>
                  <a:lnTo>
                    <a:pt x="88" y="38"/>
                  </a:lnTo>
                  <a:lnTo>
                    <a:pt x="61" y="42"/>
                  </a:lnTo>
                  <a:lnTo>
                    <a:pt x="50" y="47"/>
                  </a:lnTo>
                  <a:lnTo>
                    <a:pt x="44" y="48"/>
                  </a:lnTo>
                  <a:lnTo>
                    <a:pt x="40" y="47"/>
                  </a:lnTo>
                  <a:lnTo>
                    <a:pt x="39" y="41"/>
                  </a:lnTo>
                  <a:lnTo>
                    <a:pt x="35" y="41"/>
                  </a:lnTo>
                  <a:lnTo>
                    <a:pt x="26" y="40"/>
                  </a:lnTo>
                  <a:lnTo>
                    <a:pt x="23" y="36"/>
                  </a:lnTo>
                  <a:lnTo>
                    <a:pt x="23" y="27"/>
                  </a:lnTo>
                  <a:lnTo>
                    <a:pt x="5" y="23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13" y="17"/>
                  </a:lnTo>
                  <a:lnTo>
                    <a:pt x="26" y="11"/>
                  </a:lnTo>
                  <a:lnTo>
                    <a:pt x="50" y="12"/>
                  </a:lnTo>
                  <a:lnTo>
                    <a:pt x="78" y="1"/>
                  </a:lnTo>
                  <a:lnTo>
                    <a:pt x="14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9" name="Freeform 66"/>
            <p:cNvSpPr>
              <a:spLocks/>
            </p:cNvSpPr>
            <p:nvPr/>
          </p:nvSpPr>
          <p:spPr bwMode="auto">
            <a:xfrm>
              <a:off x="2635902" y="2796491"/>
              <a:ext cx="225442" cy="189248"/>
            </a:xfrm>
            <a:custGeom>
              <a:avLst/>
              <a:gdLst>
                <a:gd name="T0" fmla="*/ 1 w 190"/>
                <a:gd name="T1" fmla="*/ 9 h 189"/>
                <a:gd name="T2" fmla="*/ 1 w 190"/>
                <a:gd name="T3" fmla="*/ 8 h 189"/>
                <a:gd name="T4" fmla="*/ 2 w 190"/>
                <a:gd name="T5" fmla="*/ 7 h 189"/>
                <a:gd name="T6" fmla="*/ 2 w 190"/>
                <a:gd name="T7" fmla="*/ 7 h 189"/>
                <a:gd name="T8" fmla="*/ 5 w 190"/>
                <a:gd name="T9" fmla="*/ 5 h 189"/>
                <a:gd name="T10" fmla="*/ 6 w 190"/>
                <a:gd name="T11" fmla="*/ 5 h 189"/>
                <a:gd name="T12" fmla="*/ 7 w 190"/>
                <a:gd name="T13" fmla="*/ 4 h 189"/>
                <a:gd name="T14" fmla="*/ 7 w 190"/>
                <a:gd name="T15" fmla="*/ 3 h 189"/>
                <a:gd name="T16" fmla="*/ 9 w 190"/>
                <a:gd name="T17" fmla="*/ 2 h 189"/>
                <a:gd name="T18" fmla="*/ 9 w 190"/>
                <a:gd name="T19" fmla="*/ 2 h 189"/>
                <a:gd name="T20" fmla="*/ 9 w 190"/>
                <a:gd name="T21" fmla="*/ 1 h 189"/>
                <a:gd name="T22" fmla="*/ 11 w 190"/>
                <a:gd name="T23" fmla="*/ 0 h 189"/>
                <a:gd name="T24" fmla="*/ 12 w 190"/>
                <a:gd name="T25" fmla="*/ 1 h 189"/>
                <a:gd name="T26" fmla="*/ 13 w 190"/>
                <a:gd name="T27" fmla="*/ 0 h 189"/>
                <a:gd name="T28" fmla="*/ 13 w 190"/>
                <a:gd name="T29" fmla="*/ 1 h 189"/>
                <a:gd name="T30" fmla="*/ 15 w 190"/>
                <a:gd name="T31" fmla="*/ 1 h 189"/>
                <a:gd name="T32" fmla="*/ 15 w 190"/>
                <a:gd name="T33" fmla="*/ 3 h 189"/>
                <a:gd name="T34" fmla="*/ 16 w 190"/>
                <a:gd name="T35" fmla="*/ 4 h 189"/>
                <a:gd name="T36" fmla="*/ 16 w 190"/>
                <a:gd name="T37" fmla="*/ 6 h 189"/>
                <a:gd name="T38" fmla="*/ 15 w 190"/>
                <a:gd name="T39" fmla="*/ 6 h 189"/>
                <a:gd name="T40" fmla="*/ 16 w 190"/>
                <a:gd name="T41" fmla="*/ 6 h 189"/>
                <a:gd name="T42" fmla="*/ 16 w 190"/>
                <a:gd name="T43" fmla="*/ 6 h 189"/>
                <a:gd name="T44" fmla="*/ 19 w 190"/>
                <a:gd name="T45" fmla="*/ 7 h 189"/>
                <a:gd name="T46" fmla="*/ 20 w 190"/>
                <a:gd name="T47" fmla="*/ 7 h 189"/>
                <a:gd name="T48" fmla="*/ 20 w 190"/>
                <a:gd name="T49" fmla="*/ 6 h 189"/>
                <a:gd name="T50" fmla="*/ 21 w 190"/>
                <a:gd name="T51" fmla="*/ 5 h 189"/>
                <a:gd name="T52" fmla="*/ 23 w 190"/>
                <a:gd name="T53" fmla="*/ 6 h 189"/>
                <a:gd name="T54" fmla="*/ 23 w 190"/>
                <a:gd name="T55" fmla="*/ 7 h 189"/>
                <a:gd name="T56" fmla="*/ 23 w 190"/>
                <a:gd name="T57" fmla="*/ 8 h 189"/>
                <a:gd name="T58" fmla="*/ 23 w 190"/>
                <a:gd name="T59" fmla="*/ 10 h 189"/>
                <a:gd name="T60" fmla="*/ 22 w 190"/>
                <a:gd name="T61" fmla="*/ 11 h 189"/>
                <a:gd name="T62" fmla="*/ 22 w 190"/>
                <a:gd name="T63" fmla="*/ 12 h 189"/>
                <a:gd name="T64" fmla="*/ 23 w 190"/>
                <a:gd name="T65" fmla="*/ 12 h 189"/>
                <a:gd name="T66" fmla="*/ 23 w 190"/>
                <a:gd name="T67" fmla="*/ 12 h 189"/>
                <a:gd name="T68" fmla="*/ 25 w 190"/>
                <a:gd name="T69" fmla="*/ 12 h 189"/>
                <a:gd name="T70" fmla="*/ 26 w 190"/>
                <a:gd name="T71" fmla="*/ 13 h 189"/>
                <a:gd name="T72" fmla="*/ 27 w 190"/>
                <a:gd name="T73" fmla="*/ 13 h 189"/>
                <a:gd name="T74" fmla="*/ 27 w 190"/>
                <a:gd name="T75" fmla="*/ 15 h 189"/>
                <a:gd name="T76" fmla="*/ 29 w 190"/>
                <a:gd name="T77" fmla="*/ 15 h 189"/>
                <a:gd name="T78" fmla="*/ 30 w 190"/>
                <a:gd name="T79" fmla="*/ 16 h 189"/>
                <a:gd name="T80" fmla="*/ 31 w 190"/>
                <a:gd name="T81" fmla="*/ 17 h 189"/>
                <a:gd name="T82" fmla="*/ 31 w 190"/>
                <a:gd name="T83" fmla="*/ 18 h 189"/>
                <a:gd name="T84" fmla="*/ 30 w 190"/>
                <a:gd name="T85" fmla="*/ 18 h 189"/>
                <a:gd name="T86" fmla="*/ 30 w 190"/>
                <a:gd name="T87" fmla="*/ 19 h 189"/>
                <a:gd name="T88" fmla="*/ 29 w 190"/>
                <a:gd name="T89" fmla="*/ 19 h 189"/>
                <a:gd name="T90" fmla="*/ 29 w 190"/>
                <a:gd name="T91" fmla="*/ 21 h 189"/>
                <a:gd name="T92" fmla="*/ 26 w 190"/>
                <a:gd name="T93" fmla="*/ 23 h 189"/>
                <a:gd name="T94" fmla="*/ 19 w 190"/>
                <a:gd name="T95" fmla="*/ 21 h 189"/>
                <a:gd name="T96" fmla="*/ 16 w 190"/>
                <a:gd name="T97" fmla="*/ 19 h 189"/>
                <a:gd name="T98" fmla="*/ 5 w 190"/>
                <a:gd name="T99" fmla="*/ 12 h 189"/>
                <a:gd name="T100" fmla="*/ 2 w 190"/>
                <a:gd name="T101" fmla="*/ 11 h 189"/>
                <a:gd name="T102" fmla="*/ 2 w 190"/>
                <a:gd name="T103" fmla="*/ 10 h 189"/>
                <a:gd name="T104" fmla="*/ 1 w 190"/>
                <a:gd name="T105" fmla="*/ 9 h 189"/>
                <a:gd name="T106" fmla="*/ 0 w 190"/>
                <a:gd name="T107" fmla="*/ 9 h 189"/>
                <a:gd name="T108" fmla="*/ 1 w 190"/>
                <a:gd name="T109" fmla="*/ 9 h 18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0"/>
                <a:gd name="T166" fmla="*/ 0 h 189"/>
                <a:gd name="T167" fmla="*/ 190 w 190"/>
                <a:gd name="T168" fmla="*/ 189 h 18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0" h="189">
                  <a:moveTo>
                    <a:pt x="2" y="71"/>
                  </a:moveTo>
                  <a:lnTo>
                    <a:pt x="3" y="71"/>
                  </a:lnTo>
                  <a:lnTo>
                    <a:pt x="7" y="69"/>
                  </a:lnTo>
                  <a:lnTo>
                    <a:pt x="8" y="64"/>
                  </a:lnTo>
                  <a:lnTo>
                    <a:pt x="10" y="63"/>
                  </a:lnTo>
                  <a:lnTo>
                    <a:pt x="10" y="59"/>
                  </a:lnTo>
                  <a:lnTo>
                    <a:pt x="11" y="57"/>
                  </a:lnTo>
                  <a:lnTo>
                    <a:pt x="15" y="57"/>
                  </a:lnTo>
                  <a:lnTo>
                    <a:pt x="26" y="47"/>
                  </a:lnTo>
                  <a:lnTo>
                    <a:pt x="31" y="46"/>
                  </a:lnTo>
                  <a:lnTo>
                    <a:pt x="34" y="41"/>
                  </a:lnTo>
                  <a:lnTo>
                    <a:pt x="37" y="40"/>
                  </a:lnTo>
                  <a:lnTo>
                    <a:pt x="39" y="36"/>
                  </a:lnTo>
                  <a:lnTo>
                    <a:pt x="42" y="36"/>
                  </a:lnTo>
                  <a:lnTo>
                    <a:pt x="42" y="22"/>
                  </a:lnTo>
                  <a:lnTo>
                    <a:pt x="45" y="20"/>
                  </a:lnTo>
                  <a:lnTo>
                    <a:pt x="48" y="16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3" y="11"/>
                  </a:lnTo>
                  <a:lnTo>
                    <a:pt x="54" y="7"/>
                  </a:lnTo>
                  <a:lnTo>
                    <a:pt x="58" y="7"/>
                  </a:lnTo>
                  <a:lnTo>
                    <a:pt x="60" y="2"/>
                  </a:lnTo>
                  <a:lnTo>
                    <a:pt x="63" y="0"/>
                  </a:lnTo>
                  <a:lnTo>
                    <a:pt x="70" y="5"/>
                  </a:lnTo>
                  <a:lnTo>
                    <a:pt x="72" y="5"/>
                  </a:lnTo>
                  <a:lnTo>
                    <a:pt x="74" y="3"/>
                  </a:lnTo>
                  <a:lnTo>
                    <a:pt x="81" y="0"/>
                  </a:lnTo>
                  <a:lnTo>
                    <a:pt x="83" y="1"/>
                  </a:lnTo>
                  <a:lnTo>
                    <a:pt x="83" y="2"/>
                  </a:lnTo>
                  <a:lnTo>
                    <a:pt x="85" y="6"/>
                  </a:lnTo>
                  <a:lnTo>
                    <a:pt x="92" y="9"/>
                  </a:lnTo>
                  <a:lnTo>
                    <a:pt x="92" y="15"/>
                  </a:lnTo>
                  <a:lnTo>
                    <a:pt x="95" y="20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8" y="47"/>
                  </a:lnTo>
                  <a:lnTo>
                    <a:pt x="96" y="49"/>
                  </a:lnTo>
                  <a:lnTo>
                    <a:pt x="93" y="52"/>
                  </a:lnTo>
                  <a:lnTo>
                    <a:pt x="92" y="53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9" y="52"/>
                  </a:lnTo>
                  <a:lnTo>
                    <a:pt x="101" y="52"/>
                  </a:lnTo>
                  <a:lnTo>
                    <a:pt x="110" y="62"/>
                  </a:lnTo>
                  <a:lnTo>
                    <a:pt x="113" y="60"/>
                  </a:lnTo>
                  <a:lnTo>
                    <a:pt x="116" y="58"/>
                  </a:lnTo>
                  <a:lnTo>
                    <a:pt x="123" y="58"/>
                  </a:lnTo>
                  <a:lnTo>
                    <a:pt x="123" y="54"/>
                  </a:lnTo>
                  <a:lnTo>
                    <a:pt x="127" y="49"/>
                  </a:lnTo>
                  <a:lnTo>
                    <a:pt x="128" y="43"/>
                  </a:lnTo>
                  <a:lnTo>
                    <a:pt x="130" y="41"/>
                  </a:lnTo>
                  <a:lnTo>
                    <a:pt x="135" y="41"/>
                  </a:lnTo>
                  <a:lnTo>
                    <a:pt x="140" y="50"/>
                  </a:lnTo>
                  <a:lnTo>
                    <a:pt x="141" y="58"/>
                  </a:lnTo>
                  <a:lnTo>
                    <a:pt x="143" y="58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8" y="66"/>
                  </a:lnTo>
                  <a:lnTo>
                    <a:pt x="144" y="81"/>
                  </a:lnTo>
                  <a:lnTo>
                    <a:pt x="137" y="87"/>
                  </a:lnTo>
                  <a:lnTo>
                    <a:pt x="135" y="92"/>
                  </a:lnTo>
                  <a:lnTo>
                    <a:pt x="135" y="94"/>
                  </a:lnTo>
                  <a:lnTo>
                    <a:pt x="137" y="94"/>
                  </a:lnTo>
                  <a:lnTo>
                    <a:pt x="137" y="96"/>
                  </a:lnTo>
                  <a:lnTo>
                    <a:pt x="141" y="95"/>
                  </a:lnTo>
                  <a:lnTo>
                    <a:pt x="141" y="97"/>
                  </a:lnTo>
                  <a:lnTo>
                    <a:pt x="143" y="98"/>
                  </a:lnTo>
                  <a:lnTo>
                    <a:pt x="147" y="98"/>
                  </a:lnTo>
                  <a:lnTo>
                    <a:pt x="152" y="102"/>
                  </a:lnTo>
                  <a:lnTo>
                    <a:pt x="161" y="102"/>
                  </a:lnTo>
                  <a:lnTo>
                    <a:pt x="163" y="103"/>
                  </a:lnTo>
                  <a:lnTo>
                    <a:pt x="167" y="108"/>
                  </a:lnTo>
                  <a:lnTo>
                    <a:pt x="167" y="111"/>
                  </a:lnTo>
                  <a:lnTo>
                    <a:pt x="169" y="112"/>
                  </a:lnTo>
                  <a:lnTo>
                    <a:pt x="172" y="120"/>
                  </a:lnTo>
                  <a:lnTo>
                    <a:pt x="177" y="120"/>
                  </a:lnTo>
                  <a:lnTo>
                    <a:pt x="181" y="124"/>
                  </a:lnTo>
                  <a:lnTo>
                    <a:pt x="187" y="123"/>
                  </a:lnTo>
                  <a:lnTo>
                    <a:pt x="187" y="128"/>
                  </a:lnTo>
                  <a:lnTo>
                    <a:pt x="189" y="132"/>
                  </a:lnTo>
                  <a:lnTo>
                    <a:pt x="190" y="137"/>
                  </a:lnTo>
                  <a:lnTo>
                    <a:pt x="188" y="143"/>
                  </a:lnTo>
                  <a:lnTo>
                    <a:pt x="190" y="147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4" y="151"/>
                  </a:lnTo>
                  <a:lnTo>
                    <a:pt x="184" y="157"/>
                  </a:lnTo>
                  <a:lnTo>
                    <a:pt x="182" y="157"/>
                  </a:lnTo>
                  <a:lnTo>
                    <a:pt x="181" y="159"/>
                  </a:lnTo>
                  <a:lnTo>
                    <a:pt x="182" y="164"/>
                  </a:lnTo>
                  <a:lnTo>
                    <a:pt x="181" y="168"/>
                  </a:lnTo>
                  <a:lnTo>
                    <a:pt x="181" y="189"/>
                  </a:lnTo>
                  <a:lnTo>
                    <a:pt x="163" y="186"/>
                  </a:lnTo>
                  <a:lnTo>
                    <a:pt x="159" y="182"/>
                  </a:lnTo>
                  <a:lnTo>
                    <a:pt x="120" y="168"/>
                  </a:lnTo>
                  <a:lnTo>
                    <a:pt x="111" y="161"/>
                  </a:lnTo>
                  <a:lnTo>
                    <a:pt x="100" y="155"/>
                  </a:lnTo>
                  <a:lnTo>
                    <a:pt x="49" y="109"/>
                  </a:lnTo>
                  <a:lnTo>
                    <a:pt x="30" y="102"/>
                  </a:lnTo>
                  <a:lnTo>
                    <a:pt x="23" y="90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3" y="76"/>
                  </a:lnTo>
                  <a:lnTo>
                    <a:pt x="3" y="74"/>
                  </a:lnTo>
                  <a:lnTo>
                    <a:pt x="0" y="73"/>
                  </a:lnTo>
                  <a:lnTo>
                    <a:pt x="2" y="72"/>
                  </a:lnTo>
                  <a:lnTo>
                    <a:pt x="2" y="7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0" name="Freeform 67"/>
            <p:cNvSpPr>
              <a:spLocks/>
            </p:cNvSpPr>
            <p:nvPr/>
          </p:nvSpPr>
          <p:spPr bwMode="auto">
            <a:xfrm>
              <a:off x="2635902" y="2796491"/>
              <a:ext cx="225442" cy="189248"/>
            </a:xfrm>
            <a:custGeom>
              <a:avLst/>
              <a:gdLst>
                <a:gd name="T0" fmla="*/ 1 w 190"/>
                <a:gd name="T1" fmla="*/ 9 h 189"/>
                <a:gd name="T2" fmla="*/ 1 w 190"/>
                <a:gd name="T3" fmla="*/ 8 h 189"/>
                <a:gd name="T4" fmla="*/ 2 w 190"/>
                <a:gd name="T5" fmla="*/ 7 h 189"/>
                <a:gd name="T6" fmla="*/ 2 w 190"/>
                <a:gd name="T7" fmla="*/ 7 h 189"/>
                <a:gd name="T8" fmla="*/ 5 w 190"/>
                <a:gd name="T9" fmla="*/ 5 h 189"/>
                <a:gd name="T10" fmla="*/ 6 w 190"/>
                <a:gd name="T11" fmla="*/ 5 h 189"/>
                <a:gd name="T12" fmla="*/ 7 w 190"/>
                <a:gd name="T13" fmla="*/ 4 h 189"/>
                <a:gd name="T14" fmla="*/ 7 w 190"/>
                <a:gd name="T15" fmla="*/ 3 h 189"/>
                <a:gd name="T16" fmla="*/ 9 w 190"/>
                <a:gd name="T17" fmla="*/ 2 h 189"/>
                <a:gd name="T18" fmla="*/ 9 w 190"/>
                <a:gd name="T19" fmla="*/ 2 h 189"/>
                <a:gd name="T20" fmla="*/ 9 w 190"/>
                <a:gd name="T21" fmla="*/ 1 h 189"/>
                <a:gd name="T22" fmla="*/ 11 w 190"/>
                <a:gd name="T23" fmla="*/ 0 h 189"/>
                <a:gd name="T24" fmla="*/ 12 w 190"/>
                <a:gd name="T25" fmla="*/ 1 h 189"/>
                <a:gd name="T26" fmla="*/ 13 w 190"/>
                <a:gd name="T27" fmla="*/ 0 h 189"/>
                <a:gd name="T28" fmla="*/ 13 w 190"/>
                <a:gd name="T29" fmla="*/ 1 h 189"/>
                <a:gd name="T30" fmla="*/ 15 w 190"/>
                <a:gd name="T31" fmla="*/ 1 h 189"/>
                <a:gd name="T32" fmla="*/ 15 w 190"/>
                <a:gd name="T33" fmla="*/ 3 h 189"/>
                <a:gd name="T34" fmla="*/ 16 w 190"/>
                <a:gd name="T35" fmla="*/ 4 h 189"/>
                <a:gd name="T36" fmla="*/ 16 w 190"/>
                <a:gd name="T37" fmla="*/ 6 h 189"/>
                <a:gd name="T38" fmla="*/ 15 w 190"/>
                <a:gd name="T39" fmla="*/ 6 h 189"/>
                <a:gd name="T40" fmla="*/ 16 w 190"/>
                <a:gd name="T41" fmla="*/ 6 h 189"/>
                <a:gd name="T42" fmla="*/ 16 w 190"/>
                <a:gd name="T43" fmla="*/ 6 h 189"/>
                <a:gd name="T44" fmla="*/ 19 w 190"/>
                <a:gd name="T45" fmla="*/ 7 h 189"/>
                <a:gd name="T46" fmla="*/ 20 w 190"/>
                <a:gd name="T47" fmla="*/ 7 h 189"/>
                <a:gd name="T48" fmla="*/ 20 w 190"/>
                <a:gd name="T49" fmla="*/ 6 h 189"/>
                <a:gd name="T50" fmla="*/ 21 w 190"/>
                <a:gd name="T51" fmla="*/ 5 h 189"/>
                <a:gd name="T52" fmla="*/ 23 w 190"/>
                <a:gd name="T53" fmla="*/ 6 h 189"/>
                <a:gd name="T54" fmla="*/ 23 w 190"/>
                <a:gd name="T55" fmla="*/ 7 h 189"/>
                <a:gd name="T56" fmla="*/ 23 w 190"/>
                <a:gd name="T57" fmla="*/ 8 h 189"/>
                <a:gd name="T58" fmla="*/ 23 w 190"/>
                <a:gd name="T59" fmla="*/ 10 h 189"/>
                <a:gd name="T60" fmla="*/ 22 w 190"/>
                <a:gd name="T61" fmla="*/ 11 h 189"/>
                <a:gd name="T62" fmla="*/ 22 w 190"/>
                <a:gd name="T63" fmla="*/ 12 h 189"/>
                <a:gd name="T64" fmla="*/ 23 w 190"/>
                <a:gd name="T65" fmla="*/ 12 h 189"/>
                <a:gd name="T66" fmla="*/ 23 w 190"/>
                <a:gd name="T67" fmla="*/ 12 h 189"/>
                <a:gd name="T68" fmla="*/ 25 w 190"/>
                <a:gd name="T69" fmla="*/ 12 h 189"/>
                <a:gd name="T70" fmla="*/ 26 w 190"/>
                <a:gd name="T71" fmla="*/ 13 h 189"/>
                <a:gd name="T72" fmla="*/ 27 w 190"/>
                <a:gd name="T73" fmla="*/ 13 h 189"/>
                <a:gd name="T74" fmla="*/ 27 w 190"/>
                <a:gd name="T75" fmla="*/ 15 h 189"/>
                <a:gd name="T76" fmla="*/ 29 w 190"/>
                <a:gd name="T77" fmla="*/ 15 h 189"/>
                <a:gd name="T78" fmla="*/ 30 w 190"/>
                <a:gd name="T79" fmla="*/ 16 h 189"/>
                <a:gd name="T80" fmla="*/ 31 w 190"/>
                <a:gd name="T81" fmla="*/ 17 h 189"/>
                <a:gd name="T82" fmla="*/ 31 w 190"/>
                <a:gd name="T83" fmla="*/ 18 h 189"/>
                <a:gd name="T84" fmla="*/ 30 w 190"/>
                <a:gd name="T85" fmla="*/ 18 h 189"/>
                <a:gd name="T86" fmla="*/ 30 w 190"/>
                <a:gd name="T87" fmla="*/ 19 h 189"/>
                <a:gd name="T88" fmla="*/ 29 w 190"/>
                <a:gd name="T89" fmla="*/ 19 h 189"/>
                <a:gd name="T90" fmla="*/ 29 w 190"/>
                <a:gd name="T91" fmla="*/ 21 h 189"/>
                <a:gd name="T92" fmla="*/ 26 w 190"/>
                <a:gd name="T93" fmla="*/ 23 h 189"/>
                <a:gd name="T94" fmla="*/ 19 w 190"/>
                <a:gd name="T95" fmla="*/ 21 h 189"/>
                <a:gd name="T96" fmla="*/ 16 w 190"/>
                <a:gd name="T97" fmla="*/ 19 h 189"/>
                <a:gd name="T98" fmla="*/ 5 w 190"/>
                <a:gd name="T99" fmla="*/ 12 h 189"/>
                <a:gd name="T100" fmla="*/ 2 w 190"/>
                <a:gd name="T101" fmla="*/ 11 h 189"/>
                <a:gd name="T102" fmla="*/ 2 w 190"/>
                <a:gd name="T103" fmla="*/ 10 h 189"/>
                <a:gd name="T104" fmla="*/ 1 w 190"/>
                <a:gd name="T105" fmla="*/ 9 h 189"/>
                <a:gd name="T106" fmla="*/ 0 w 190"/>
                <a:gd name="T107" fmla="*/ 9 h 189"/>
                <a:gd name="T108" fmla="*/ 1 w 190"/>
                <a:gd name="T109" fmla="*/ 9 h 18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0"/>
                <a:gd name="T166" fmla="*/ 0 h 189"/>
                <a:gd name="T167" fmla="*/ 190 w 190"/>
                <a:gd name="T168" fmla="*/ 189 h 18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0" h="189">
                  <a:moveTo>
                    <a:pt x="2" y="71"/>
                  </a:moveTo>
                  <a:lnTo>
                    <a:pt x="3" y="71"/>
                  </a:lnTo>
                  <a:lnTo>
                    <a:pt x="7" y="69"/>
                  </a:lnTo>
                  <a:lnTo>
                    <a:pt x="8" y="64"/>
                  </a:lnTo>
                  <a:lnTo>
                    <a:pt x="10" y="63"/>
                  </a:lnTo>
                  <a:lnTo>
                    <a:pt x="10" y="59"/>
                  </a:lnTo>
                  <a:lnTo>
                    <a:pt x="11" y="57"/>
                  </a:lnTo>
                  <a:lnTo>
                    <a:pt x="15" y="57"/>
                  </a:lnTo>
                  <a:lnTo>
                    <a:pt x="26" y="47"/>
                  </a:lnTo>
                  <a:lnTo>
                    <a:pt x="31" y="46"/>
                  </a:lnTo>
                  <a:lnTo>
                    <a:pt x="34" y="41"/>
                  </a:lnTo>
                  <a:lnTo>
                    <a:pt x="37" y="40"/>
                  </a:lnTo>
                  <a:lnTo>
                    <a:pt x="39" y="36"/>
                  </a:lnTo>
                  <a:lnTo>
                    <a:pt x="42" y="36"/>
                  </a:lnTo>
                  <a:lnTo>
                    <a:pt x="42" y="22"/>
                  </a:lnTo>
                  <a:lnTo>
                    <a:pt x="45" y="20"/>
                  </a:lnTo>
                  <a:lnTo>
                    <a:pt x="48" y="16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3" y="11"/>
                  </a:lnTo>
                  <a:lnTo>
                    <a:pt x="54" y="7"/>
                  </a:lnTo>
                  <a:lnTo>
                    <a:pt x="58" y="7"/>
                  </a:lnTo>
                  <a:lnTo>
                    <a:pt x="60" y="2"/>
                  </a:lnTo>
                  <a:lnTo>
                    <a:pt x="63" y="0"/>
                  </a:lnTo>
                  <a:lnTo>
                    <a:pt x="70" y="5"/>
                  </a:lnTo>
                  <a:lnTo>
                    <a:pt x="72" y="5"/>
                  </a:lnTo>
                  <a:lnTo>
                    <a:pt x="74" y="3"/>
                  </a:lnTo>
                  <a:lnTo>
                    <a:pt x="81" y="0"/>
                  </a:lnTo>
                  <a:lnTo>
                    <a:pt x="83" y="1"/>
                  </a:lnTo>
                  <a:lnTo>
                    <a:pt x="83" y="2"/>
                  </a:lnTo>
                  <a:lnTo>
                    <a:pt x="85" y="6"/>
                  </a:lnTo>
                  <a:lnTo>
                    <a:pt x="92" y="9"/>
                  </a:lnTo>
                  <a:lnTo>
                    <a:pt x="92" y="15"/>
                  </a:lnTo>
                  <a:lnTo>
                    <a:pt x="95" y="20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8" y="47"/>
                  </a:lnTo>
                  <a:lnTo>
                    <a:pt x="96" y="49"/>
                  </a:lnTo>
                  <a:lnTo>
                    <a:pt x="93" y="52"/>
                  </a:lnTo>
                  <a:lnTo>
                    <a:pt x="92" y="53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9" y="52"/>
                  </a:lnTo>
                  <a:lnTo>
                    <a:pt x="101" y="52"/>
                  </a:lnTo>
                  <a:lnTo>
                    <a:pt x="110" y="62"/>
                  </a:lnTo>
                  <a:lnTo>
                    <a:pt x="113" y="60"/>
                  </a:lnTo>
                  <a:lnTo>
                    <a:pt x="116" y="58"/>
                  </a:lnTo>
                  <a:lnTo>
                    <a:pt x="123" y="58"/>
                  </a:lnTo>
                  <a:lnTo>
                    <a:pt x="123" y="54"/>
                  </a:lnTo>
                  <a:lnTo>
                    <a:pt x="127" y="49"/>
                  </a:lnTo>
                  <a:lnTo>
                    <a:pt x="128" y="43"/>
                  </a:lnTo>
                  <a:lnTo>
                    <a:pt x="130" y="41"/>
                  </a:lnTo>
                  <a:lnTo>
                    <a:pt x="135" y="41"/>
                  </a:lnTo>
                  <a:lnTo>
                    <a:pt x="140" y="50"/>
                  </a:lnTo>
                  <a:lnTo>
                    <a:pt x="141" y="58"/>
                  </a:lnTo>
                  <a:lnTo>
                    <a:pt x="143" y="58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8" y="66"/>
                  </a:lnTo>
                  <a:lnTo>
                    <a:pt x="144" y="81"/>
                  </a:lnTo>
                  <a:lnTo>
                    <a:pt x="137" y="87"/>
                  </a:lnTo>
                  <a:lnTo>
                    <a:pt x="135" y="92"/>
                  </a:lnTo>
                  <a:lnTo>
                    <a:pt x="135" y="94"/>
                  </a:lnTo>
                  <a:lnTo>
                    <a:pt x="137" y="94"/>
                  </a:lnTo>
                  <a:lnTo>
                    <a:pt x="137" y="96"/>
                  </a:lnTo>
                  <a:lnTo>
                    <a:pt x="141" y="95"/>
                  </a:lnTo>
                  <a:lnTo>
                    <a:pt x="141" y="97"/>
                  </a:lnTo>
                  <a:lnTo>
                    <a:pt x="143" y="98"/>
                  </a:lnTo>
                  <a:lnTo>
                    <a:pt x="147" y="98"/>
                  </a:lnTo>
                  <a:lnTo>
                    <a:pt x="152" y="102"/>
                  </a:lnTo>
                  <a:lnTo>
                    <a:pt x="161" y="102"/>
                  </a:lnTo>
                  <a:lnTo>
                    <a:pt x="163" y="103"/>
                  </a:lnTo>
                  <a:lnTo>
                    <a:pt x="167" y="108"/>
                  </a:lnTo>
                  <a:lnTo>
                    <a:pt x="167" y="111"/>
                  </a:lnTo>
                  <a:lnTo>
                    <a:pt x="169" y="112"/>
                  </a:lnTo>
                  <a:lnTo>
                    <a:pt x="172" y="120"/>
                  </a:lnTo>
                  <a:lnTo>
                    <a:pt x="177" y="120"/>
                  </a:lnTo>
                  <a:lnTo>
                    <a:pt x="181" y="124"/>
                  </a:lnTo>
                  <a:lnTo>
                    <a:pt x="187" y="123"/>
                  </a:lnTo>
                  <a:lnTo>
                    <a:pt x="187" y="128"/>
                  </a:lnTo>
                  <a:lnTo>
                    <a:pt x="189" y="132"/>
                  </a:lnTo>
                  <a:lnTo>
                    <a:pt x="190" y="137"/>
                  </a:lnTo>
                  <a:lnTo>
                    <a:pt x="188" y="143"/>
                  </a:lnTo>
                  <a:lnTo>
                    <a:pt x="190" y="147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4" y="151"/>
                  </a:lnTo>
                  <a:lnTo>
                    <a:pt x="184" y="157"/>
                  </a:lnTo>
                  <a:lnTo>
                    <a:pt x="182" y="157"/>
                  </a:lnTo>
                  <a:lnTo>
                    <a:pt x="181" y="159"/>
                  </a:lnTo>
                  <a:lnTo>
                    <a:pt x="182" y="164"/>
                  </a:lnTo>
                  <a:lnTo>
                    <a:pt x="181" y="168"/>
                  </a:lnTo>
                  <a:lnTo>
                    <a:pt x="181" y="189"/>
                  </a:lnTo>
                  <a:lnTo>
                    <a:pt x="163" y="186"/>
                  </a:lnTo>
                  <a:lnTo>
                    <a:pt x="159" y="182"/>
                  </a:lnTo>
                  <a:lnTo>
                    <a:pt x="120" y="168"/>
                  </a:lnTo>
                  <a:lnTo>
                    <a:pt x="111" y="161"/>
                  </a:lnTo>
                  <a:lnTo>
                    <a:pt x="100" y="155"/>
                  </a:lnTo>
                  <a:lnTo>
                    <a:pt x="49" y="109"/>
                  </a:lnTo>
                  <a:lnTo>
                    <a:pt x="30" y="102"/>
                  </a:lnTo>
                  <a:lnTo>
                    <a:pt x="23" y="90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3" y="76"/>
                  </a:lnTo>
                  <a:lnTo>
                    <a:pt x="3" y="74"/>
                  </a:lnTo>
                  <a:lnTo>
                    <a:pt x="0" y="73"/>
                  </a:lnTo>
                  <a:lnTo>
                    <a:pt x="2" y="72"/>
                  </a:lnTo>
                  <a:lnTo>
                    <a:pt x="2" y="7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1" name="Freeform 68"/>
            <p:cNvSpPr>
              <a:spLocks/>
            </p:cNvSpPr>
            <p:nvPr/>
          </p:nvSpPr>
          <p:spPr bwMode="auto">
            <a:xfrm>
              <a:off x="3092881" y="2677747"/>
              <a:ext cx="243722" cy="300569"/>
            </a:xfrm>
            <a:custGeom>
              <a:avLst/>
              <a:gdLst>
                <a:gd name="T0" fmla="*/ 34 w 203"/>
                <a:gd name="T1" fmla="*/ 29 h 298"/>
                <a:gd name="T2" fmla="*/ 28 w 203"/>
                <a:gd name="T3" fmla="*/ 10 h 298"/>
                <a:gd name="T4" fmla="*/ 27 w 203"/>
                <a:gd name="T5" fmla="*/ 5 h 298"/>
                <a:gd name="T6" fmla="*/ 24 w 203"/>
                <a:gd name="T7" fmla="*/ 3 h 298"/>
                <a:gd name="T8" fmla="*/ 24 w 203"/>
                <a:gd name="T9" fmla="*/ 2 h 298"/>
                <a:gd name="T10" fmla="*/ 24 w 203"/>
                <a:gd name="T11" fmla="*/ 1 h 298"/>
                <a:gd name="T12" fmla="*/ 23 w 203"/>
                <a:gd name="T13" fmla="*/ 1 h 298"/>
                <a:gd name="T14" fmla="*/ 22 w 203"/>
                <a:gd name="T15" fmla="*/ 0 h 298"/>
                <a:gd name="T16" fmla="*/ 18 w 203"/>
                <a:gd name="T17" fmla="*/ 1 h 298"/>
                <a:gd name="T18" fmla="*/ 2 w 203"/>
                <a:gd name="T19" fmla="*/ 1 h 298"/>
                <a:gd name="T20" fmla="*/ 2 w 203"/>
                <a:gd name="T21" fmla="*/ 2 h 298"/>
                <a:gd name="T22" fmla="*/ 3 w 203"/>
                <a:gd name="T23" fmla="*/ 4 h 298"/>
                <a:gd name="T24" fmla="*/ 3 w 203"/>
                <a:gd name="T25" fmla="*/ 5 h 298"/>
                <a:gd name="T26" fmla="*/ 3 w 203"/>
                <a:gd name="T27" fmla="*/ 7 h 298"/>
                <a:gd name="T28" fmla="*/ 4 w 203"/>
                <a:gd name="T29" fmla="*/ 9 h 298"/>
                <a:gd name="T30" fmla="*/ 4 w 203"/>
                <a:gd name="T31" fmla="*/ 10 h 298"/>
                <a:gd name="T32" fmla="*/ 3 w 203"/>
                <a:gd name="T33" fmla="*/ 11 h 298"/>
                <a:gd name="T34" fmla="*/ 4 w 203"/>
                <a:gd name="T35" fmla="*/ 12 h 298"/>
                <a:gd name="T36" fmla="*/ 6 w 203"/>
                <a:gd name="T37" fmla="*/ 17 h 298"/>
                <a:gd name="T38" fmla="*/ 5 w 203"/>
                <a:gd name="T39" fmla="*/ 17 h 298"/>
                <a:gd name="T40" fmla="*/ 4 w 203"/>
                <a:gd name="T41" fmla="*/ 18 h 298"/>
                <a:gd name="T42" fmla="*/ 2 w 203"/>
                <a:gd name="T43" fmla="*/ 21 h 298"/>
                <a:gd name="T44" fmla="*/ 1 w 203"/>
                <a:gd name="T45" fmla="*/ 23 h 298"/>
                <a:gd name="T46" fmla="*/ 1 w 203"/>
                <a:gd name="T47" fmla="*/ 25 h 298"/>
                <a:gd name="T48" fmla="*/ 1 w 203"/>
                <a:gd name="T49" fmla="*/ 32 h 298"/>
                <a:gd name="T50" fmla="*/ 3 w 203"/>
                <a:gd name="T51" fmla="*/ 32 h 298"/>
                <a:gd name="T52" fmla="*/ 4 w 203"/>
                <a:gd name="T53" fmla="*/ 35 h 298"/>
                <a:gd name="T54" fmla="*/ 2 w 203"/>
                <a:gd name="T55" fmla="*/ 35 h 298"/>
                <a:gd name="T56" fmla="*/ 1 w 203"/>
                <a:gd name="T57" fmla="*/ 35 h 298"/>
                <a:gd name="T58" fmla="*/ 9 w 203"/>
                <a:gd name="T59" fmla="*/ 38 h 298"/>
                <a:gd name="T60" fmla="*/ 20 w 203"/>
                <a:gd name="T61" fmla="*/ 35 h 298"/>
                <a:gd name="T62" fmla="*/ 30 w 203"/>
                <a:gd name="T63" fmla="*/ 32 h 298"/>
                <a:gd name="T64" fmla="*/ 32 w 203"/>
                <a:gd name="T65" fmla="*/ 32 h 298"/>
                <a:gd name="T66" fmla="*/ 34 w 203"/>
                <a:gd name="T67" fmla="*/ 30 h 2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3"/>
                <a:gd name="T103" fmla="*/ 0 h 298"/>
                <a:gd name="T104" fmla="*/ 203 w 203"/>
                <a:gd name="T105" fmla="*/ 298 h 2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3" h="298">
                  <a:moveTo>
                    <a:pt x="203" y="235"/>
                  </a:moveTo>
                  <a:lnTo>
                    <a:pt x="199" y="233"/>
                  </a:lnTo>
                  <a:lnTo>
                    <a:pt x="179" y="210"/>
                  </a:lnTo>
                  <a:lnTo>
                    <a:pt x="167" y="78"/>
                  </a:lnTo>
                  <a:lnTo>
                    <a:pt x="164" y="74"/>
                  </a:lnTo>
                  <a:lnTo>
                    <a:pt x="160" y="44"/>
                  </a:lnTo>
                  <a:lnTo>
                    <a:pt x="146" y="28"/>
                  </a:lnTo>
                  <a:lnTo>
                    <a:pt x="139" y="23"/>
                  </a:lnTo>
                  <a:lnTo>
                    <a:pt x="139" y="17"/>
                  </a:lnTo>
                  <a:lnTo>
                    <a:pt x="142" y="13"/>
                  </a:lnTo>
                  <a:lnTo>
                    <a:pt x="142" y="9"/>
                  </a:lnTo>
                  <a:lnTo>
                    <a:pt x="144" y="5"/>
                  </a:lnTo>
                  <a:lnTo>
                    <a:pt x="144" y="4"/>
                  </a:lnTo>
                  <a:lnTo>
                    <a:pt x="136" y="3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21" y="2"/>
                  </a:lnTo>
                  <a:lnTo>
                    <a:pt x="110" y="9"/>
                  </a:lnTo>
                  <a:lnTo>
                    <a:pt x="107" y="10"/>
                  </a:lnTo>
                  <a:lnTo>
                    <a:pt x="15" y="6"/>
                  </a:lnTo>
                  <a:lnTo>
                    <a:pt x="12" y="13"/>
                  </a:lnTo>
                  <a:lnTo>
                    <a:pt x="11" y="19"/>
                  </a:lnTo>
                  <a:lnTo>
                    <a:pt x="14" y="27"/>
                  </a:lnTo>
                  <a:lnTo>
                    <a:pt x="16" y="29"/>
                  </a:lnTo>
                  <a:lnTo>
                    <a:pt x="16" y="36"/>
                  </a:lnTo>
                  <a:lnTo>
                    <a:pt x="19" y="37"/>
                  </a:lnTo>
                  <a:lnTo>
                    <a:pt x="18" y="47"/>
                  </a:lnTo>
                  <a:lnTo>
                    <a:pt x="20" y="55"/>
                  </a:lnTo>
                  <a:lnTo>
                    <a:pt x="20" y="68"/>
                  </a:lnTo>
                  <a:lnTo>
                    <a:pt x="23" y="74"/>
                  </a:lnTo>
                  <a:lnTo>
                    <a:pt x="24" y="79"/>
                  </a:lnTo>
                  <a:lnTo>
                    <a:pt x="22" y="81"/>
                  </a:lnTo>
                  <a:lnTo>
                    <a:pt x="24" y="87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3" y="94"/>
                  </a:lnTo>
                  <a:lnTo>
                    <a:pt x="25" y="97"/>
                  </a:lnTo>
                  <a:lnTo>
                    <a:pt x="35" y="133"/>
                  </a:lnTo>
                  <a:lnTo>
                    <a:pt x="29" y="133"/>
                  </a:lnTo>
                  <a:lnTo>
                    <a:pt x="29" y="138"/>
                  </a:lnTo>
                  <a:lnTo>
                    <a:pt x="26" y="139"/>
                  </a:lnTo>
                  <a:lnTo>
                    <a:pt x="24" y="143"/>
                  </a:lnTo>
                  <a:lnTo>
                    <a:pt x="21" y="144"/>
                  </a:lnTo>
                  <a:lnTo>
                    <a:pt x="13" y="163"/>
                  </a:lnTo>
                  <a:lnTo>
                    <a:pt x="11" y="179"/>
                  </a:lnTo>
                  <a:lnTo>
                    <a:pt x="9" y="184"/>
                  </a:lnTo>
                  <a:lnTo>
                    <a:pt x="4" y="190"/>
                  </a:lnTo>
                  <a:lnTo>
                    <a:pt x="1" y="195"/>
                  </a:lnTo>
                  <a:lnTo>
                    <a:pt x="0" y="217"/>
                  </a:lnTo>
                  <a:lnTo>
                    <a:pt x="9" y="247"/>
                  </a:lnTo>
                  <a:lnTo>
                    <a:pt x="12" y="251"/>
                  </a:lnTo>
                  <a:lnTo>
                    <a:pt x="19" y="252"/>
                  </a:lnTo>
                  <a:lnTo>
                    <a:pt x="20" y="253"/>
                  </a:lnTo>
                  <a:lnTo>
                    <a:pt x="22" y="275"/>
                  </a:lnTo>
                  <a:lnTo>
                    <a:pt x="17" y="275"/>
                  </a:lnTo>
                  <a:lnTo>
                    <a:pt x="14" y="274"/>
                  </a:lnTo>
                  <a:lnTo>
                    <a:pt x="9" y="274"/>
                  </a:lnTo>
                  <a:lnTo>
                    <a:pt x="7" y="275"/>
                  </a:lnTo>
                  <a:lnTo>
                    <a:pt x="4" y="280"/>
                  </a:lnTo>
                  <a:lnTo>
                    <a:pt x="55" y="298"/>
                  </a:lnTo>
                  <a:lnTo>
                    <a:pt x="79" y="283"/>
                  </a:lnTo>
                  <a:lnTo>
                    <a:pt x="114" y="274"/>
                  </a:lnTo>
                  <a:lnTo>
                    <a:pt x="156" y="251"/>
                  </a:lnTo>
                  <a:lnTo>
                    <a:pt x="179" y="248"/>
                  </a:lnTo>
                  <a:lnTo>
                    <a:pt x="183" y="251"/>
                  </a:lnTo>
                  <a:lnTo>
                    <a:pt x="190" y="250"/>
                  </a:lnTo>
                  <a:lnTo>
                    <a:pt x="200" y="236"/>
                  </a:lnTo>
                  <a:lnTo>
                    <a:pt x="203" y="23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2" name="Freeform 69"/>
            <p:cNvSpPr>
              <a:spLocks/>
            </p:cNvSpPr>
            <p:nvPr/>
          </p:nvSpPr>
          <p:spPr bwMode="auto">
            <a:xfrm>
              <a:off x="3092881" y="2677747"/>
              <a:ext cx="243722" cy="300569"/>
            </a:xfrm>
            <a:custGeom>
              <a:avLst/>
              <a:gdLst>
                <a:gd name="T0" fmla="*/ 34 w 203"/>
                <a:gd name="T1" fmla="*/ 29 h 298"/>
                <a:gd name="T2" fmla="*/ 28 w 203"/>
                <a:gd name="T3" fmla="*/ 10 h 298"/>
                <a:gd name="T4" fmla="*/ 27 w 203"/>
                <a:gd name="T5" fmla="*/ 5 h 298"/>
                <a:gd name="T6" fmla="*/ 24 w 203"/>
                <a:gd name="T7" fmla="*/ 3 h 298"/>
                <a:gd name="T8" fmla="*/ 24 w 203"/>
                <a:gd name="T9" fmla="*/ 2 h 298"/>
                <a:gd name="T10" fmla="*/ 24 w 203"/>
                <a:gd name="T11" fmla="*/ 1 h 298"/>
                <a:gd name="T12" fmla="*/ 23 w 203"/>
                <a:gd name="T13" fmla="*/ 1 h 298"/>
                <a:gd name="T14" fmla="*/ 22 w 203"/>
                <a:gd name="T15" fmla="*/ 0 h 298"/>
                <a:gd name="T16" fmla="*/ 18 w 203"/>
                <a:gd name="T17" fmla="*/ 1 h 298"/>
                <a:gd name="T18" fmla="*/ 2 w 203"/>
                <a:gd name="T19" fmla="*/ 1 h 298"/>
                <a:gd name="T20" fmla="*/ 2 w 203"/>
                <a:gd name="T21" fmla="*/ 2 h 298"/>
                <a:gd name="T22" fmla="*/ 3 w 203"/>
                <a:gd name="T23" fmla="*/ 4 h 298"/>
                <a:gd name="T24" fmla="*/ 3 w 203"/>
                <a:gd name="T25" fmla="*/ 5 h 298"/>
                <a:gd name="T26" fmla="*/ 3 w 203"/>
                <a:gd name="T27" fmla="*/ 7 h 298"/>
                <a:gd name="T28" fmla="*/ 4 w 203"/>
                <a:gd name="T29" fmla="*/ 9 h 298"/>
                <a:gd name="T30" fmla="*/ 4 w 203"/>
                <a:gd name="T31" fmla="*/ 10 h 298"/>
                <a:gd name="T32" fmla="*/ 3 w 203"/>
                <a:gd name="T33" fmla="*/ 11 h 298"/>
                <a:gd name="T34" fmla="*/ 4 w 203"/>
                <a:gd name="T35" fmla="*/ 12 h 298"/>
                <a:gd name="T36" fmla="*/ 6 w 203"/>
                <a:gd name="T37" fmla="*/ 17 h 298"/>
                <a:gd name="T38" fmla="*/ 5 w 203"/>
                <a:gd name="T39" fmla="*/ 17 h 298"/>
                <a:gd name="T40" fmla="*/ 4 w 203"/>
                <a:gd name="T41" fmla="*/ 18 h 298"/>
                <a:gd name="T42" fmla="*/ 2 w 203"/>
                <a:gd name="T43" fmla="*/ 21 h 298"/>
                <a:gd name="T44" fmla="*/ 1 w 203"/>
                <a:gd name="T45" fmla="*/ 23 h 298"/>
                <a:gd name="T46" fmla="*/ 1 w 203"/>
                <a:gd name="T47" fmla="*/ 25 h 298"/>
                <a:gd name="T48" fmla="*/ 1 w 203"/>
                <a:gd name="T49" fmla="*/ 32 h 298"/>
                <a:gd name="T50" fmla="*/ 3 w 203"/>
                <a:gd name="T51" fmla="*/ 32 h 298"/>
                <a:gd name="T52" fmla="*/ 4 w 203"/>
                <a:gd name="T53" fmla="*/ 35 h 298"/>
                <a:gd name="T54" fmla="*/ 2 w 203"/>
                <a:gd name="T55" fmla="*/ 35 h 298"/>
                <a:gd name="T56" fmla="*/ 1 w 203"/>
                <a:gd name="T57" fmla="*/ 35 h 298"/>
                <a:gd name="T58" fmla="*/ 9 w 203"/>
                <a:gd name="T59" fmla="*/ 38 h 298"/>
                <a:gd name="T60" fmla="*/ 20 w 203"/>
                <a:gd name="T61" fmla="*/ 35 h 298"/>
                <a:gd name="T62" fmla="*/ 30 w 203"/>
                <a:gd name="T63" fmla="*/ 32 h 298"/>
                <a:gd name="T64" fmla="*/ 32 w 203"/>
                <a:gd name="T65" fmla="*/ 32 h 298"/>
                <a:gd name="T66" fmla="*/ 34 w 203"/>
                <a:gd name="T67" fmla="*/ 30 h 2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3"/>
                <a:gd name="T103" fmla="*/ 0 h 298"/>
                <a:gd name="T104" fmla="*/ 203 w 203"/>
                <a:gd name="T105" fmla="*/ 298 h 2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3" h="298">
                  <a:moveTo>
                    <a:pt x="203" y="235"/>
                  </a:moveTo>
                  <a:lnTo>
                    <a:pt x="199" y="233"/>
                  </a:lnTo>
                  <a:lnTo>
                    <a:pt x="179" y="210"/>
                  </a:lnTo>
                  <a:lnTo>
                    <a:pt x="167" y="78"/>
                  </a:lnTo>
                  <a:lnTo>
                    <a:pt x="164" y="74"/>
                  </a:lnTo>
                  <a:lnTo>
                    <a:pt x="160" y="44"/>
                  </a:lnTo>
                  <a:lnTo>
                    <a:pt x="146" y="28"/>
                  </a:lnTo>
                  <a:lnTo>
                    <a:pt x="139" y="23"/>
                  </a:lnTo>
                  <a:lnTo>
                    <a:pt x="139" y="17"/>
                  </a:lnTo>
                  <a:lnTo>
                    <a:pt x="142" y="13"/>
                  </a:lnTo>
                  <a:lnTo>
                    <a:pt x="142" y="9"/>
                  </a:lnTo>
                  <a:lnTo>
                    <a:pt x="144" y="5"/>
                  </a:lnTo>
                  <a:lnTo>
                    <a:pt x="144" y="4"/>
                  </a:lnTo>
                  <a:lnTo>
                    <a:pt x="136" y="3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21" y="2"/>
                  </a:lnTo>
                  <a:lnTo>
                    <a:pt x="110" y="9"/>
                  </a:lnTo>
                  <a:lnTo>
                    <a:pt x="107" y="10"/>
                  </a:lnTo>
                  <a:lnTo>
                    <a:pt x="15" y="6"/>
                  </a:lnTo>
                  <a:lnTo>
                    <a:pt x="12" y="13"/>
                  </a:lnTo>
                  <a:lnTo>
                    <a:pt x="11" y="19"/>
                  </a:lnTo>
                  <a:lnTo>
                    <a:pt x="14" y="27"/>
                  </a:lnTo>
                  <a:lnTo>
                    <a:pt x="16" y="29"/>
                  </a:lnTo>
                  <a:lnTo>
                    <a:pt x="16" y="36"/>
                  </a:lnTo>
                  <a:lnTo>
                    <a:pt x="19" y="37"/>
                  </a:lnTo>
                  <a:lnTo>
                    <a:pt x="18" y="47"/>
                  </a:lnTo>
                  <a:lnTo>
                    <a:pt x="20" y="55"/>
                  </a:lnTo>
                  <a:lnTo>
                    <a:pt x="20" y="68"/>
                  </a:lnTo>
                  <a:lnTo>
                    <a:pt x="23" y="74"/>
                  </a:lnTo>
                  <a:lnTo>
                    <a:pt x="24" y="79"/>
                  </a:lnTo>
                  <a:lnTo>
                    <a:pt x="22" y="81"/>
                  </a:lnTo>
                  <a:lnTo>
                    <a:pt x="24" y="87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3" y="94"/>
                  </a:lnTo>
                  <a:lnTo>
                    <a:pt x="25" y="97"/>
                  </a:lnTo>
                  <a:lnTo>
                    <a:pt x="35" y="133"/>
                  </a:lnTo>
                  <a:lnTo>
                    <a:pt x="29" y="133"/>
                  </a:lnTo>
                  <a:lnTo>
                    <a:pt x="29" y="138"/>
                  </a:lnTo>
                  <a:lnTo>
                    <a:pt x="26" y="139"/>
                  </a:lnTo>
                  <a:lnTo>
                    <a:pt x="24" y="143"/>
                  </a:lnTo>
                  <a:lnTo>
                    <a:pt x="21" y="144"/>
                  </a:lnTo>
                  <a:lnTo>
                    <a:pt x="13" y="163"/>
                  </a:lnTo>
                  <a:lnTo>
                    <a:pt x="11" y="179"/>
                  </a:lnTo>
                  <a:lnTo>
                    <a:pt x="9" y="184"/>
                  </a:lnTo>
                  <a:lnTo>
                    <a:pt x="4" y="190"/>
                  </a:lnTo>
                  <a:lnTo>
                    <a:pt x="1" y="195"/>
                  </a:lnTo>
                  <a:lnTo>
                    <a:pt x="0" y="217"/>
                  </a:lnTo>
                  <a:lnTo>
                    <a:pt x="9" y="247"/>
                  </a:lnTo>
                  <a:lnTo>
                    <a:pt x="12" y="251"/>
                  </a:lnTo>
                  <a:lnTo>
                    <a:pt x="19" y="252"/>
                  </a:lnTo>
                  <a:lnTo>
                    <a:pt x="20" y="253"/>
                  </a:lnTo>
                  <a:lnTo>
                    <a:pt x="22" y="275"/>
                  </a:lnTo>
                  <a:lnTo>
                    <a:pt x="17" y="275"/>
                  </a:lnTo>
                  <a:lnTo>
                    <a:pt x="14" y="274"/>
                  </a:lnTo>
                  <a:lnTo>
                    <a:pt x="9" y="274"/>
                  </a:lnTo>
                  <a:lnTo>
                    <a:pt x="7" y="275"/>
                  </a:lnTo>
                  <a:lnTo>
                    <a:pt x="4" y="280"/>
                  </a:lnTo>
                  <a:lnTo>
                    <a:pt x="55" y="298"/>
                  </a:lnTo>
                  <a:lnTo>
                    <a:pt x="79" y="283"/>
                  </a:lnTo>
                  <a:lnTo>
                    <a:pt x="114" y="274"/>
                  </a:lnTo>
                  <a:lnTo>
                    <a:pt x="156" y="251"/>
                  </a:lnTo>
                  <a:lnTo>
                    <a:pt x="179" y="248"/>
                  </a:lnTo>
                  <a:lnTo>
                    <a:pt x="183" y="251"/>
                  </a:lnTo>
                  <a:lnTo>
                    <a:pt x="190" y="250"/>
                  </a:lnTo>
                  <a:lnTo>
                    <a:pt x="200" y="236"/>
                  </a:lnTo>
                  <a:lnTo>
                    <a:pt x="203" y="23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3" name="Freeform 70"/>
            <p:cNvSpPr>
              <a:spLocks/>
            </p:cNvSpPr>
            <p:nvPr/>
          </p:nvSpPr>
          <p:spPr bwMode="auto">
            <a:xfrm>
              <a:off x="3417844" y="2555294"/>
              <a:ext cx="641801" cy="441576"/>
            </a:xfrm>
            <a:custGeom>
              <a:avLst/>
              <a:gdLst>
                <a:gd name="T0" fmla="*/ 6 w 535"/>
                <a:gd name="T1" fmla="*/ 8 h 444"/>
                <a:gd name="T2" fmla="*/ 7 w 535"/>
                <a:gd name="T3" fmla="*/ 7 h 444"/>
                <a:gd name="T4" fmla="*/ 9 w 535"/>
                <a:gd name="T5" fmla="*/ 6 h 444"/>
                <a:gd name="T6" fmla="*/ 13 w 535"/>
                <a:gd name="T7" fmla="*/ 1 h 444"/>
                <a:gd name="T8" fmla="*/ 28 w 535"/>
                <a:gd name="T9" fmla="*/ 2 h 444"/>
                <a:gd name="T10" fmla="*/ 32 w 535"/>
                <a:gd name="T11" fmla="*/ 5 h 444"/>
                <a:gd name="T12" fmla="*/ 34 w 535"/>
                <a:gd name="T13" fmla="*/ 4 h 444"/>
                <a:gd name="T14" fmla="*/ 40 w 535"/>
                <a:gd name="T15" fmla="*/ 3 h 444"/>
                <a:gd name="T16" fmla="*/ 50 w 535"/>
                <a:gd name="T17" fmla="*/ 6 h 444"/>
                <a:gd name="T18" fmla="*/ 58 w 535"/>
                <a:gd name="T19" fmla="*/ 3 h 444"/>
                <a:gd name="T20" fmla="*/ 72 w 535"/>
                <a:gd name="T21" fmla="*/ 3 h 444"/>
                <a:gd name="T22" fmla="*/ 74 w 535"/>
                <a:gd name="T23" fmla="*/ 3 h 444"/>
                <a:gd name="T24" fmla="*/ 76 w 535"/>
                <a:gd name="T25" fmla="*/ 2 h 444"/>
                <a:gd name="T26" fmla="*/ 78 w 535"/>
                <a:gd name="T27" fmla="*/ 2 h 444"/>
                <a:gd name="T28" fmla="*/ 80 w 535"/>
                <a:gd name="T29" fmla="*/ 1 h 444"/>
                <a:gd name="T30" fmla="*/ 80 w 535"/>
                <a:gd name="T31" fmla="*/ 0 h 444"/>
                <a:gd name="T32" fmla="*/ 84 w 535"/>
                <a:gd name="T33" fmla="*/ 3 h 444"/>
                <a:gd name="T34" fmla="*/ 87 w 535"/>
                <a:gd name="T35" fmla="*/ 8 h 444"/>
                <a:gd name="T36" fmla="*/ 89 w 535"/>
                <a:gd name="T37" fmla="*/ 8 h 444"/>
                <a:gd name="T38" fmla="*/ 89 w 535"/>
                <a:gd name="T39" fmla="*/ 9 h 444"/>
                <a:gd name="T40" fmla="*/ 87 w 535"/>
                <a:gd name="T41" fmla="*/ 13 h 444"/>
                <a:gd name="T42" fmla="*/ 84 w 535"/>
                <a:gd name="T43" fmla="*/ 14 h 444"/>
                <a:gd name="T44" fmla="*/ 77 w 535"/>
                <a:gd name="T45" fmla="*/ 28 h 444"/>
                <a:gd name="T46" fmla="*/ 73 w 535"/>
                <a:gd name="T47" fmla="*/ 30 h 444"/>
                <a:gd name="T48" fmla="*/ 66 w 535"/>
                <a:gd name="T49" fmla="*/ 41 h 444"/>
                <a:gd name="T50" fmla="*/ 62 w 535"/>
                <a:gd name="T51" fmla="*/ 40 h 444"/>
                <a:gd name="T52" fmla="*/ 62 w 535"/>
                <a:gd name="T53" fmla="*/ 40 h 444"/>
                <a:gd name="T54" fmla="*/ 60 w 535"/>
                <a:gd name="T55" fmla="*/ 38 h 444"/>
                <a:gd name="T56" fmla="*/ 52 w 535"/>
                <a:gd name="T57" fmla="*/ 39 h 444"/>
                <a:gd name="T58" fmla="*/ 50 w 535"/>
                <a:gd name="T59" fmla="*/ 41 h 444"/>
                <a:gd name="T60" fmla="*/ 46 w 535"/>
                <a:gd name="T61" fmla="*/ 46 h 444"/>
                <a:gd name="T62" fmla="*/ 45 w 535"/>
                <a:gd name="T63" fmla="*/ 49 h 444"/>
                <a:gd name="T64" fmla="*/ 44 w 535"/>
                <a:gd name="T65" fmla="*/ 50 h 444"/>
                <a:gd name="T66" fmla="*/ 42 w 535"/>
                <a:gd name="T67" fmla="*/ 50 h 444"/>
                <a:gd name="T68" fmla="*/ 41 w 535"/>
                <a:gd name="T69" fmla="*/ 51 h 444"/>
                <a:gd name="T70" fmla="*/ 34 w 535"/>
                <a:gd name="T71" fmla="*/ 51 h 444"/>
                <a:gd name="T72" fmla="*/ 32 w 535"/>
                <a:gd name="T73" fmla="*/ 51 h 444"/>
                <a:gd name="T74" fmla="*/ 31 w 535"/>
                <a:gd name="T75" fmla="*/ 53 h 444"/>
                <a:gd name="T76" fmla="*/ 31 w 535"/>
                <a:gd name="T77" fmla="*/ 53 h 444"/>
                <a:gd name="T78" fmla="*/ 30 w 535"/>
                <a:gd name="T79" fmla="*/ 53 h 444"/>
                <a:gd name="T80" fmla="*/ 27 w 535"/>
                <a:gd name="T81" fmla="*/ 53 h 444"/>
                <a:gd name="T82" fmla="*/ 25 w 535"/>
                <a:gd name="T83" fmla="*/ 53 h 444"/>
                <a:gd name="T84" fmla="*/ 23 w 535"/>
                <a:gd name="T85" fmla="*/ 52 h 444"/>
                <a:gd name="T86" fmla="*/ 21 w 535"/>
                <a:gd name="T87" fmla="*/ 50 h 444"/>
                <a:gd name="T88" fmla="*/ 21 w 535"/>
                <a:gd name="T89" fmla="*/ 47 h 444"/>
                <a:gd name="T90" fmla="*/ 19 w 535"/>
                <a:gd name="T91" fmla="*/ 47 h 444"/>
                <a:gd name="T92" fmla="*/ 18 w 535"/>
                <a:gd name="T93" fmla="*/ 45 h 444"/>
                <a:gd name="T94" fmla="*/ 18 w 535"/>
                <a:gd name="T95" fmla="*/ 44 h 444"/>
                <a:gd name="T96" fmla="*/ 16 w 535"/>
                <a:gd name="T97" fmla="*/ 43 h 444"/>
                <a:gd name="T98" fmla="*/ 1 w 535"/>
                <a:gd name="T99" fmla="*/ 42 h 444"/>
                <a:gd name="T100" fmla="*/ 1 w 535"/>
                <a:gd name="T101" fmla="*/ 29 h 444"/>
                <a:gd name="T102" fmla="*/ 3 w 535"/>
                <a:gd name="T103" fmla="*/ 24 h 444"/>
                <a:gd name="T104" fmla="*/ 6 w 535"/>
                <a:gd name="T105" fmla="*/ 21 h 444"/>
                <a:gd name="T106" fmla="*/ 7 w 535"/>
                <a:gd name="T107" fmla="*/ 21 h 444"/>
                <a:gd name="T108" fmla="*/ 6 w 535"/>
                <a:gd name="T109" fmla="*/ 20 h 444"/>
                <a:gd name="T110" fmla="*/ 6 w 535"/>
                <a:gd name="T111" fmla="*/ 19 h 444"/>
                <a:gd name="T112" fmla="*/ 8 w 535"/>
                <a:gd name="T113" fmla="*/ 19 h 444"/>
                <a:gd name="T114" fmla="*/ 7 w 535"/>
                <a:gd name="T115" fmla="*/ 15 h 444"/>
                <a:gd name="T116" fmla="*/ 5 w 535"/>
                <a:gd name="T117" fmla="*/ 13 h 444"/>
                <a:gd name="T118" fmla="*/ 6 w 535"/>
                <a:gd name="T119" fmla="*/ 12 h 4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5"/>
                <a:gd name="T181" fmla="*/ 0 h 444"/>
                <a:gd name="T182" fmla="*/ 535 w 535"/>
                <a:gd name="T183" fmla="*/ 444 h 4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5" h="444">
                  <a:moveTo>
                    <a:pt x="39" y="98"/>
                  </a:moveTo>
                  <a:lnTo>
                    <a:pt x="38" y="63"/>
                  </a:lnTo>
                  <a:lnTo>
                    <a:pt x="40" y="59"/>
                  </a:lnTo>
                  <a:lnTo>
                    <a:pt x="43" y="56"/>
                  </a:lnTo>
                  <a:lnTo>
                    <a:pt x="49" y="53"/>
                  </a:lnTo>
                  <a:lnTo>
                    <a:pt x="55" y="47"/>
                  </a:lnTo>
                  <a:lnTo>
                    <a:pt x="64" y="18"/>
                  </a:lnTo>
                  <a:lnTo>
                    <a:pt x="77" y="7"/>
                  </a:lnTo>
                  <a:lnTo>
                    <a:pt x="133" y="1"/>
                  </a:lnTo>
                  <a:lnTo>
                    <a:pt x="164" y="16"/>
                  </a:lnTo>
                  <a:lnTo>
                    <a:pt x="189" y="38"/>
                  </a:lnTo>
                  <a:lnTo>
                    <a:pt x="193" y="40"/>
                  </a:lnTo>
                  <a:lnTo>
                    <a:pt x="199" y="40"/>
                  </a:lnTo>
                  <a:lnTo>
                    <a:pt x="205" y="32"/>
                  </a:lnTo>
                  <a:lnTo>
                    <a:pt x="226" y="23"/>
                  </a:lnTo>
                  <a:lnTo>
                    <a:pt x="237" y="23"/>
                  </a:lnTo>
                  <a:lnTo>
                    <a:pt x="270" y="42"/>
                  </a:lnTo>
                  <a:lnTo>
                    <a:pt x="300" y="48"/>
                  </a:lnTo>
                  <a:lnTo>
                    <a:pt x="311" y="46"/>
                  </a:lnTo>
                  <a:lnTo>
                    <a:pt x="345" y="23"/>
                  </a:lnTo>
                  <a:lnTo>
                    <a:pt x="407" y="20"/>
                  </a:lnTo>
                  <a:lnTo>
                    <a:pt x="430" y="30"/>
                  </a:lnTo>
                  <a:lnTo>
                    <a:pt x="439" y="29"/>
                  </a:lnTo>
                  <a:lnTo>
                    <a:pt x="445" y="26"/>
                  </a:lnTo>
                  <a:lnTo>
                    <a:pt x="452" y="19"/>
                  </a:lnTo>
                  <a:lnTo>
                    <a:pt x="453" y="16"/>
                  </a:lnTo>
                  <a:lnTo>
                    <a:pt x="458" y="13"/>
                  </a:lnTo>
                  <a:lnTo>
                    <a:pt x="463" y="12"/>
                  </a:lnTo>
                  <a:lnTo>
                    <a:pt x="469" y="12"/>
                  </a:lnTo>
                  <a:lnTo>
                    <a:pt x="474" y="2"/>
                  </a:lnTo>
                  <a:lnTo>
                    <a:pt x="476" y="2"/>
                  </a:lnTo>
                  <a:lnTo>
                    <a:pt x="477" y="0"/>
                  </a:lnTo>
                  <a:lnTo>
                    <a:pt x="489" y="25"/>
                  </a:lnTo>
                  <a:lnTo>
                    <a:pt x="498" y="30"/>
                  </a:lnTo>
                  <a:lnTo>
                    <a:pt x="510" y="55"/>
                  </a:lnTo>
                  <a:lnTo>
                    <a:pt x="519" y="61"/>
                  </a:lnTo>
                  <a:lnTo>
                    <a:pt x="519" y="64"/>
                  </a:lnTo>
                  <a:lnTo>
                    <a:pt x="528" y="66"/>
                  </a:lnTo>
                  <a:lnTo>
                    <a:pt x="531" y="69"/>
                  </a:lnTo>
                  <a:lnTo>
                    <a:pt x="533" y="74"/>
                  </a:lnTo>
                  <a:lnTo>
                    <a:pt x="535" y="100"/>
                  </a:lnTo>
                  <a:lnTo>
                    <a:pt x="519" y="110"/>
                  </a:lnTo>
                  <a:lnTo>
                    <a:pt x="516" y="112"/>
                  </a:lnTo>
                  <a:lnTo>
                    <a:pt x="499" y="120"/>
                  </a:lnTo>
                  <a:lnTo>
                    <a:pt x="489" y="132"/>
                  </a:lnTo>
                  <a:lnTo>
                    <a:pt x="456" y="233"/>
                  </a:lnTo>
                  <a:lnTo>
                    <a:pt x="444" y="239"/>
                  </a:lnTo>
                  <a:lnTo>
                    <a:pt x="435" y="250"/>
                  </a:lnTo>
                  <a:lnTo>
                    <a:pt x="396" y="339"/>
                  </a:lnTo>
                  <a:lnTo>
                    <a:pt x="390" y="342"/>
                  </a:lnTo>
                  <a:lnTo>
                    <a:pt x="379" y="341"/>
                  </a:lnTo>
                  <a:lnTo>
                    <a:pt x="371" y="334"/>
                  </a:lnTo>
                  <a:lnTo>
                    <a:pt x="367" y="333"/>
                  </a:lnTo>
                  <a:lnTo>
                    <a:pt x="367" y="331"/>
                  </a:lnTo>
                  <a:lnTo>
                    <a:pt x="365" y="328"/>
                  </a:lnTo>
                  <a:lnTo>
                    <a:pt x="356" y="320"/>
                  </a:lnTo>
                  <a:lnTo>
                    <a:pt x="313" y="322"/>
                  </a:lnTo>
                  <a:lnTo>
                    <a:pt x="311" y="323"/>
                  </a:lnTo>
                  <a:lnTo>
                    <a:pt x="307" y="336"/>
                  </a:lnTo>
                  <a:lnTo>
                    <a:pt x="298" y="341"/>
                  </a:lnTo>
                  <a:lnTo>
                    <a:pt x="286" y="356"/>
                  </a:lnTo>
                  <a:lnTo>
                    <a:pt x="274" y="383"/>
                  </a:lnTo>
                  <a:lnTo>
                    <a:pt x="274" y="394"/>
                  </a:lnTo>
                  <a:lnTo>
                    <a:pt x="265" y="410"/>
                  </a:lnTo>
                  <a:lnTo>
                    <a:pt x="260" y="415"/>
                  </a:lnTo>
                  <a:lnTo>
                    <a:pt x="259" y="421"/>
                  </a:lnTo>
                  <a:lnTo>
                    <a:pt x="256" y="416"/>
                  </a:lnTo>
                  <a:lnTo>
                    <a:pt x="252" y="415"/>
                  </a:lnTo>
                  <a:lnTo>
                    <a:pt x="249" y="422"/>
                  </a:lnTo>
                  <a:lnTo>
                    <a:pt x="248" y="431"/>
                  </a:lnTo>
                  <a:lnTo>
                    <a:pt x="219" y="432"/>
                  </a:lnTo>
                  <a:lnTo>
                    <a:pt x="200" y="424"/>
                  </a:lnTo>
                  <a:lnTo>
                    <a:pt x="196" y="429"/>
                  </a:lnTo>
                  <a:lnTo>
                    <a:pt x="193" y="431"/>
                  </a:lnTo>
                  <a:lnTo>
                    <a:pt x="190" y="436"/>
                  </a:lnTo>
                  <a:lnTo>
                    <a:pt x="187" y="437"/>
                  </a:lnTo>
                  <a:lnTo>
                    <a:pt x="185" y="437"/>
                  </a:lnTo>
                  <a:lnTo>
                    <a:pt x="183" y="439"/>
                  </a:lnTo>
                  <a:lnTo>
                    <a:pt x="178" y="437"/>
                  </a:lnTo>
                  <a:lnTo>
                    <a:pt x="175" y="438"/>
                  </a:lnTo>
                  <a:lnTo>
                    <a:pt x="173" y="437"/>
                  </a:lnTo>
                  <a:lnTo>
                    <a:pt x="159" y="444"/>
                  </a:lnTo>
                  <a:lnTo>
                    <a:pt x="157" y="437"/>
                  </a:lnTo>
                  <a:lnTo>
                    <a:pt x="150" y="437"/>
                  </a:lnTo>
                  <a:lnTo>
                    <a:pt x="149" y="438"/>
                  </a:lnTo>
                  <a:lnTo>
                    <a:pt x="138" y="434"/>
                  </a:lnTo>
                  <a:lnTo>
                    <a:pt x="134" y="427"/>
                  </a:lnTo>
                  <a:lnTo>
                    <a:pt x="124" y="417"/>
                  </a:lnTo>
                  <a:lnTo>
                    <a:pt x="120" y="393"/>
                  </a:lnTo>
                  <a:lnTo>
                    <a:pt x="124" y="390"/>
                  </a:lnTo>
                  <a:lnTo>
                    <a:pt x="121" y="390"/>
                  </a:lnTo>
                  <a:lnTo>
                    <a:pt x="114" y="388"/>
                  </a:lnTo>
                  <a:lnTo>
                    <a:pt x="111" y="379"/>
                  </a:lnTo>
                  <a:lnTo>
                    <a:pt x="108" y="376"/>
                  </a:lnTo>
                  <a:lnTo>
                    <a:pt x="106" y="372"/>
                  </a:lnTo>
                  <a:lnTo>
                    <a:pt x="103" y="371"/>
                  </a:lnTo>
                  <a:lnTo>
                    <a:pt x="102" y="366"/>
                  </a:lnTo>
                  <a:lnTo>
                    <a:pt x="95" y="358"/>
                  </a:lnTo>
                  <a:lnTo>
                    <a:pt x="70" y="347"/>
                  </a:lnTo>
                  <a:lnTo>
                    <a:pt x="2" y="348"/>
                  </a:lnTo>
                  <a:lnTo>
                    <a:pt x="0" y="346"/>
                  </a:lnTo>
                  <a:lnTo>
                    <a:pt x="3" y="247"/>
                  </a:lnTo>
                  <a:lnTo>
                    <a:pt x="16" y="220"/>
                  </a:lnTo>
                  <a:lnTo>
                    <a:pt x="20" y="199"/>
                  </a:lnTo>
                  <a:lnTo>
                    <a:pt x="38" y="182"/>
                  </a:lnTo>
                  <a:lnTo>
                    <a:pt x="38" y="176"/>
                  </a:lnTo>
                  <a:lnTo>
                    <a:pt x="41" y="174"/>
                  </a:lnTo>
                  <a:lnTo>
                    <a:pt x="42" y="173"/>
                  </a:lnTo>
                  <a:lnTo>
                    <a:pt x="41" y="171"/>
                  </a:lnTo>
                  <a:lnTo>
                    <a:pt x="38" y="167"/>
                  </a:lnTo>
                  <a:lnTo>
                    <a:pt x="37" y="164"/>
                  </a:lnTo>
                  <a:lnTo>
                    <a:pt x="39" y="159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6" y="156"/>
                  </a:lnTo>
                  <a:lnTo>
                    <a:pt x="42" y="124"/>
                  </a:lnTo>
                  <a:lnTo>
                    <a:pt x="35" y="116"/>
                  </a:lnTo>
                  <a:lnTo>
                    <a:pt x="33" y="112"/>
                  </a:lnTo>
                  <a:lnTo>
                    <a:pt x="35" y="103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4" name="Freeform 71"/>
            <p:cNvSpPr>
              <a:spLocks/>
            </p:cNvSpPr>
            <p:nvPr/>
          </p:nvSpPr>
          <p:spPr bwMode="auto">
            <a:xfrm>
              <a:off x="3417844" y="2555294"/>
              <a:ext cx="641801" cy="441576"/>
            </a:xfrm>
            <a:custGeom>
              <a:avLst/>
              <a:gdLst>
                <a:gd name="T0" fmla="*/ 6 w 535"/>
                <a:gd name="T1" fmla="*/ 8 h 444"/>
                <a:gd name="T2" fmla="*/ 7 w 535"/>
                <a:gd name="T3" fmla="*/ 7 h 444"/>
                <a:gd name="T4" fmla="*/ 9 w 535"/>
                <a:gd name="T5" fmla="*/ 6 h 444"/>
                <a:gd name="T6" fmla="*/ 13 w 535"/>
                <a:gd name="T7" fmla="*/ 1 h 444"/>
                <a:gd name="T8" fmla="*/ 28 w 535"/>
                <a:gd name="T9" fmla="*/ 2 h 444"/>
                <a:gd name="T10" fmla="*/ 32 w 535"/>
                <a:gd name="T11" fmla="*/ 5 h 444"/>
                <a:gd name="T12" fmla="*/ 34 w 535"/>
                <a:gd name="T13" fmla="*/ 4 h 444"/>
                <a:gd name="T14" fmla="*/ 40 w 535"/>
                <a:gd name="T15" fmla="*/ 3 h 444"/>
                <a:gd name="T16" fmla="*/ 50 w 535"/>
                <a:gd name="T17" fmla="*/ 6 h 444"/>
                <a:gd name="T18" fmla="*/ 58 w 535"/>
                <a:gd name="T19" fmla="*/ 3 h 444"/>
                <a:gd name="T20" fmla="*/ 72 w 535"/>
                <a:gd name="T21" fmla="*/ 3 h 444"/>
                <a:gd name="T22" fmla="*/ 74 w 535"/>
                <a:gd name="T23" fmla="*/ 3 h 444"/>
                <a:gd name="T24" fmla="*/ 76 w 535"/>
                <a:gd name="T25" fmla="*/ 2 h 444"/>
                <a:gd name="T26" fmla="*/ 78 w 535"/>
                <a:gd name="T27" fmla="*/ 2 h 444"/>
                <a:gd name="T28" fmla="*/ 80 w 535"/>
                <a:gd name="T29" fmla="*/ 1 h 444"/>
                <a:gd name="T30" fmla="*/ 80 w 535"/>
                <a:gd name="T31" fmla="*/ 0 h 444"/>
                <a:gd name="T32" fmla="*/ 84 w 535"/>
                <a:gd name="T33" fmla="*/ 3 h 444"/>
                <a:gd name="T34" fmla="*/ 87 w 535"/>
                <a:gd name="T35" fmla="*/ 8 h 444"/>
                <a:gd name="T36" fmla="*/ 89 w 535"/>
                <a:gd name="T37" fmla="*/ 8 h 444"/>
                <a:gd name="T38" fmla="*/ 89 w 535"/>
                <a:gd name="T39" fmla="*/ 9 h 444"/>
                <a:gd name="T40" fmla="*/ 87 w 535"/>
                <a:gd name="T41" fmla="*/ 13 h 444"/>
                <a:gd name="T42" fmla="*/ 84 w 535"/>
                <a:gd name="T43" fmla="*/ 14 h 444"/>
                <a:gd name="T44" fmla="*/ 77 w 535"/>
                <a:gd name="T45" fmla="*/ 28 h 444"/>
                <a:gd name="T46" fmla="*/ 73 w 535"/>
                <a:gd name="T47" fmla="*/ 30 h 444"/>
                <a:gd name="T48" fmla="*/ 66 w 535"/>
                <a:gd name="T49" fmla="*/ 41 h 444"/>
                <a:gd name="T50" fmla="*/ 62 w 535"/>
                <a:gd name="T51" fmla="*/ 40 h 444"/>
                <a:gd name="T52" fmla="*/ 62 w 535"/>
                <a:gd name="T53" fmla="*/ 40 h 444"/>
                <a:gd name="T54" fmla="*/ 60 w 535"/>
                <a:gd name="T55" fmla="*/ 38 h 444"/>
                <a:gd name="T56" fmla="*/ 52 w 535"/>
                <a:gd name="T57" fmla="*/ 39 h 444"/>
                <a:gd name="T58" fmla="*/ 50 w 535"/>
                <a:gd name="T59" fmla="*/ 41 h 444"/>
                <a:gd name="T60" fmla="*/ 46 w 535"/>
                <a:gd name="T61" fmla="*/ 46 h 444"/>
                <a:gd name="T62" fmla="*/ 45 w 535"/>
                <a:gd name="T63" fmla="*/ 49 h 444"/>
                <a:gd name="T64" fmla="*/ 44 w 535"/>
                <a:gd name="T65" fmla="*/ 50 h 444"/>
                <a:gd name="T66" fmla="*/ 42 w 535"/>
                <a:gd name="T67" fmla="*/ 50 h 444"/>
                <a:gd name="T68" fmla="*/ 41 w 535"/>
                <a:gd name="T69" fmla="*/ 51 h 444"/>
                <a:gd name="T70" fmla="*/ 34 w 535"/>
                <a:gd name="T71" fmla="*/ 51 h 444"/>
                <a:gd name="T72" fmla="*/ 32 w 535"/>
                <a:gd name="T73" fmla="*/ 51 h 444"/>
                <a:gd name="T74" fmla="*/ 31 w 535"/>
                <a:gd name="T75" fmla="*/ 53 h 444"/>
                <a:gd name="T76" fmla="*/ 31 w 535"/>
                <a:gd name="T77" fmla="*/ 53 h 444"/>
                <a:gd name="T78" fmla="*/ 30 w 535"/>
                <a:gd name="T79" fmla="*/ 53 h 444"/>
                <a:gd name="T80" fmla="*/ 27 w 535"/>
                <a:gd name="T81" fmla="*/ 53 h 444"/>
                <a:gd name="T82" fmla="*/ 25 w 535"/>
                <a:gd name="T83" fmla="*/ 53 h 444"/>
                <a:gd name="T84" fmla="*/ 23 w 535"/>
                <a:gd name="T85" fmla="*/ 52 h 444"/>
                <a:gd name="T86" fmla="*/ 21 w 535"/>
                <a:gd name="T87" fmla="*/ 50 h 444"/>
                <a:gd name="T88" fmla="*/ 21 w 535"/>
                <a:gd name="T89" fmla="*/ 47 h 444"/>
                <a:gd name="T90" fmla="*/ 19 w 535"/>
                <a:gd name="T91" fmla="*/ 47 h 444"/>
                <a:gd name="T92" fmla="*/ 18 w 535"/>
                <a:gd name="T93" fmla="*/ 45 h 444"/>
                <a:gd name="T94" fmla="*/ 18 w 535"/>
                <a:gd name="T95" fmla="*/ 44 h 444"/>
                <a:gd name="T96" fmla="*/ 16 w 535"/>
                <a:gd name="T97" fmla="*/ 43 h 444"/>
                <a:gd name="T98" fmla="*/ 1 w 535"/>
                <a:gd name="T99" fmla="*/ 42 h 444"/>
                <a:gd name="T100" fmla="*/ 1 w 535"/>
                <a:gd name="T101" fmla="*/ 29 h 444"/>
                <a:gd name="T102" fmla="*/ 3 w 535"/>
                <a:gd name="T103" fmla="*/ 24 h 444"/>
                <a:gd name="T104" fmla="*/ 6 w 535"/>
                <a:gd name="T105" fmla="*/ 21 h 444"/>
                <a:gd name="T106" fmla="*/ 7 w 535"/>
                <a:gd name="T107" fmla="*/ 21 h 444"/>
                <a:gd name="T108" fmla="*/ 6 w 535"/>
                <a:gd name="T109" fmla="*/ 20 h 444"/>
                <a:gd name="T110" fmla="*/ 6 w 535"/>
                <a:gd name="T111" fmla="*/ 19 h 444"/>
                <a:gd name="T112" fmla="*/ 8 w 535"/>
                <a:gd name="T113" fmla="*/ 19 h 444"/>
                <a:gd name="T114" fmla="*/ 7 w 535"/>
                <a:gd name="T115" fmla="*/ 15 h 444"/>
                <a:gd name="T116" fmla="*/ 5 w 535"/>
                <a:gd name="T117" fmla="*/ 13 h 444"/>
                <a:gd name="T118" fmla="*/ 6 w 535"/>
                <a:gd name="T119" fmla="*/ 12 h 4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5"/>
                <a:gd name="T181" fmla="*/ 0 h 444"/>
                <a:gd name="T182" fmla="*/ 535 w 535"/>
                <a:gd name="T183" fmla="*/ 444 h 4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5" h="444">
                  <a:moveTo>
                    <a:pt x="39" y="98"/>
                  </a:moveTo>
                  <a:lnTo>
                    <a:pt x="38" y="63"/>
                  </a:lnTo>
                  <a:lnTo>
                    <a:pt x="40" y="59"/>
                  </a:lnTo>
                  <a:lnTo>
                    <a:pt x="43" y="56"/>
                  </a:lnTo>
                  <a:lnTo>
                    <a:pt x="49" y="53"/>
                  </a:lnTo>
                  <a:lnTo>
                    <a:pt x="55" y="47"/>
                  </a:lnTo>
                  <a:lnTo>
                    <a:pt x="64" y="18"/>
                  </a:lnTo>
                  <a:lnTo>
                    <a:pt x="77" y="7"/>
                  </a:lnTo>
                  <a:lnTo>
                    <a:pt x="133" y="1"/>
                  </a:lnTo>
                  <a:lnTo>
                    <a:pt x="164" y="16"/>
                  </a:lnTo>
                  <a:lnTo>
                    <a:pt x="189" y="38"/>
                  </a:lnTo>
                  <a:lnTo>
                    <a:pt x="193" y="40"/>
                  </a:lnTo>
                  <a:lnTo>
                    <a:pt x="199" y="40"/>
                  </a:lnTo>
                  <a:lnTo>
                    <a:pt x="205" y="32"/>
                  </a:lnTo>
                  <a:lnTo>
                    <a:pt x="226" y="23"/>
                  </a:lnTo>
                  <a:lnTo>
                    <a:pt x="237" y="23"/>
                  </a:lnTo>
                  <a:lnTo>
                    <a:pt x="270" y="42"/>
                  </a:lnTo>
                  <a:lnTo>
                    <a:pt x="300" y="48"/>
                  </a:lnTo>
                  <a:lnTo>
                    <a:pt x="311" y="46"/>
                  </a:lnTo>
                  <a:lnTo>
                    <a:pt x="345" y="23"/>
                  </a:lnTo>
                  <a:lnTo>
                    <a:pt x="407" y="20"/>
                  </a:lnTo>
                  <a:lnTo>
                    <a:pt x="430" y="30"/>
                  </a:lnTo>
                  <a:lnTo>
                    <a:pt x="439" y="29"/>
                  </a:lnTo>
                  <a:lnTo>
                    <a:pt x="445" y="26"/>
                  </a:lnTo>
                  <a:lnTo>
                    <a:pt x="452" y="19"/>
                  </a:lnTo>
                  <a:lnTo>
                    <a:pt x="453" y="16"/>
                  </a:lnTo>
                  <a:lnTo>
                    <a:pt x="458" y="13"/>
                  </a:lnTo>
                  <a:lnTo>
                    <a:pt x="463" y="12"/>
                  </a:lnTo>
                  <a:lnTo>
                    <a:pt x="469" y="12"/>
                  </a:lnTo>
                  <a:lnTo>
                    <a:pt x="474" y="2"/>
                  </a:lnTo>
                  <a:lnTo>
                    <a:pt x="476" y="2"/>
                  </a:lnTo>
                  <a:lnTo>
                    <a:pt x="477" y="0"/>
                  </a:lnTo>
                  <a:lnTo>
                    <a:pt x="489" y="25"/>
                  </a:lnTo>
                  <a:lnTo>
                    <a:pt x="498" y="30"/>
                  </a:lnTo>
                  <a:lnTo>
                    <a:pt x="510" y="55"/>
                  </a:lnTo>
                  <a:lnTo>
                    <a:pt x="519" y="61"/>
                  </a:lnTo>
                  <a:lnTo>
                    <a:pt x="519" y="64"/>
                  </a:lnTo>
                  <a:lnTo>
                    <a:pt x="528" y="66"/>
                  </a:lnTo>
                  <a:lnTo>
                    <a:pt x="531" y="69"/>
                  </a:lnTo>
                  <a:lnTo>
                    <a:pt x="533" y="74"/>
                  </a:lnTo>
                  <a:lnTo>
                    <a:pt x="535" y="100"/>
                  </a:lnTo>
                  <a:lnTo>
                    <a:pt x="519" y="110"/>
                  </a:lnTo>
                  <a:lnTo>
                    <a:pt x="516" y="112"/>
                  </a:lnTo>
                  <a:lnTo>
                    <a:pt x="499" y="120"/>
                  </a:lnTo>
                  <a:lnTo>
                    <a:pt x="489" y="132"/>
                  </a:lnTo>
                  <a:lnTo>
                    <a:pt x="456" y="233"/>
                  </a:lnTo>
                  <a:lnTo>
                    <a:pt x="444" y="239"/>
                  </a:lnTo>
                  <a:lnTo>
                    <a:pt x="435" y="250"/>
                  </a:lnTo>
                  <a:lnTo>
                    <a:pt x="396" y="339"/>
                  </a:lnTo>
                  <a:lnTo>
                    <a:pt x="390" y="342"/>
                  </a:lnTo>
                  <a:lnTo>
                    <a:pt x="379" y="341"/>
                  </a:lnTo>
                  <a:lnTo>
                    <a:pt x="371" y="334"/>
                  </a:lnTo>
                  <a:lnTo>
                    <a:pt x="367" y="333"/>
                  </a:lnTo>
                  <a:lnTo>
                    <a:pt x="367" y="331"/>
                  </a:lnTo>
                  <a:lnTo>
                    <a:pt x="365" y="328"/>
                  </a:lnTo>
                  <a:lnTo>
                    <a:pt x="356" y="320"/>
                  </a:lnTo>
                  <a:lnTo>
                    <a:pt x="313" y="322"/>
                  </a:lnTo>
                  <a:lnTo>
                    <a:pt x="311" y="323"/>
                  </a:lnTo>
                  <a:lnTo>
                    <a:pt x="307" y="336"/>
                  </a:lnTo>
                  <a:lnTo>
                    <a:pt x="298" y="341"/>
                  </a:lnTo>
                  <a:lnTo>
                    <a:pt x="286" y="356"/>
                  </a:lnTo>
                  <a:lnTo>
                    <a:pt x="274" y="383"/>
                  </a:lnTo>
                  <a:lnTo>
                    <a:pt x="274" y="394"/>
                  </a:lnTo>
                  <a:lnTo>
                    <a:pt x="265" y="410"/>
                  </a:lnTo>
                  <a:lnTo>
                    <a:pt x="260" y="415"/>
                  </a:lnTo>
                  <a:lnTo>
                    <a:pt x="259" y="421"/>
                  </a:lnTo>
                  <a:lnTo>
                    <a:pt x="256" y="416"/>
                  </a:lnTo>
                  <a:lnTo>
                    <a:pt x="252" y="415"/>
                  </a:lnTo>
                  <a:lnTo>
                    <a:pt x="249" y="422"/>
                  </a:lnTo>
                  <a:lnTo>
                    <a:pt x="248" y="431"/>
                  </a:lnTo>
                  <a:lnTo>
                    <a:pt x="219" y="432"/>
                  </a:lnTo>
                  <a:lnTo>
                    <a:pt x="200" y="424"/>
                  </a:lnTo>
                  <a:lnTo>
                    <a:pt x="196" y="429"/>
                  </a:lnTo>
                  <a:lnTo>
                    <a:pt x="193" y="431"/>
                  </a:lnTo>
                  <a:lnTo>
                    <a:pt x="190" y="436"/>
                  </a:lnTo>
                  <a:lnTo>
                    <a:pt x="187" y="437"/>
                  </a:lnTo>
                  <a:lnTo>
                    <a:pt x="185" y="437"/>
                  </a:lnTo>
                  <a:lnTo>
                    <a:pt x="183" y="439"/>
                  </a:lnTo>
                  <a:lnTo>
                    <a:pt x="178" y="437"/>
                  </a:lnTo>
                  <a:lnTo>
                    <a:pt x="175" y="438"/>
                  </a:lnTo>
                  <a:lnTo>
                    <a:pt x="173" y="437"/>
                  </a:lnTo>
                  <a:lnTo>
                    <a:pt x="159" y="444"/>
                  </a:lnTo>
                  <a:lnTo>
                    <a:pt x="157" y="437"/>
                  </a:lnTo>
                  <a:lnTo>
                    <a:pt x="150" y="437"/>
                  </a:lnTo>
                  <a:lnTo>
                    <a:pt x="149" y="438"/>
                  </a:lnTo>
                  <a:lnTo>
                    <a:pt x="138" y="434"/>
                  </a:lnTo>
                  <a:lnTo>
                    <a:pt x="134" y="427"/>
                  </a:lnTo>
                  <a:lnTo>
                    <a:pt x="124" y="417"/>
                  </a:lnTo>
                  <a:lnTo>
                    <a:pt x="120" y="393"/>
                  </a:lnTo>
                  <a:lnTo>
                    <a:pt x="124" y="390"/>
                  </a:lnTo>
                  <a:lnTo>
                    <a:pt x="121" y="390"/>
                  </a:lnTo>
                  <a:lnTo>
                    <a:pt x="114" y="388"/>
                  </a:lnTo>
                  <a:lnTo>
                    <a:pt x="111" y="379"/>
                  </a:lnTo>
                  <a:lnTo>
                    <a:pt x="108" y="376"/>
                  </a:lnTo>
                  <a:lnTo>
                    <a:pt x="106" y="372"/>
                  </a:lnTo>
                  <a:lnTo>
                    <a:pt x="103" y="371"/>
                  </a:lnTo>
                  <a:lnTo>
                    <a:pt x="102" y="366"/>
                  </a:lnTo>
                  <a:lnTo>
                    <a:pt x="95" y="358"/>
                  </a:lnTo>
                  <a:lnTo>
                    <a:pt x="70" y="347"/>
                  </a:lnTo>
                  <a:lnTo>
                    <a:pt x="2" y="348"/>
                  </a:lnTo>
                  <a:lnTo>
                    <a:pt x="0" y="346"/>
                  </a:lnTo>
                  <a:lnTo>
                    <a:pt x="3" y="247"/>
                  </a:lnTo>
                  <a:lnTo>
                    <a:pt x="16" y="220"/>
                  </a:lnTo>
                  <a:lnTo>
                    <a:pt x="20" y="199"/>
                  </a:lnTo>
                  <a:lnTo>
                    <a:pt x="38" y="182"/>
                  </a:lnTo>
                  <a:lnTo>
                    <a:pt x="38" y="176"/>
                  </a:lnTo>
                  <a:lnTo>
                    <a:pt x="41" y="174"/>
                  </a:lnTo>
                  <a:lnTo>
                    <a:pt x="42" y="173"/>
                  </a:lnTo>
                  <a:lnTo>
                    <a:pt x="41" y="171"/>
                  </a:lnTo>
                  <a:lnTo>
                    <a:pt x="38" y="167"/>
                  </a:lnTo>
                  <a:lnTo>
                    <a:pt x="37" y="164"/>
                  </a:lnTo>
                  <a:lnTo>
                    <a:pt x="39" y="159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6" y="156"/>
                  </a:lnTo>
                  <a:lnTo>
                    <a:pt x="42" y="124"/>
                  </a:lnTo>
                  <a:lnTo>
                    <a:pt x="35" y="116"/>
                  </a:lnTo>
                  <a:lnTo>
                    <a:pt x="33" y="112"/>
                  </a:lnTo>
                  <a:lnTo>
                    <a:pt x="35" y="103"/>
                  </a:lnTo>
                  <a:lnTo>
                    <a:pt x="39" y="9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5" name="Freeform 72"/>
            <p:cNvSpPr>
              <a:spLocks/>
            </p:cNvSpPr>
            <p:nvPr/>
          </p:nvSpPr>
          <p:spPr bwMode="auto">
            <a:xfrm>
              <a:off x="3876854" y="3020989"/>
              <a:ext cx="414327" cy="398903"/>
            </a:xfrm>
            <a:custGeom>
              <a:avLst/>
              <a:gdLst>
                <a:gd name="T0" fmla="*/ 56 w 348"/>
                <a:gd name="T1" fmla="*/ 1 h 401"/>
                <a:gd name="T2" fmla="*/ 47 w 348"/>
                <a:gd name="T3" fmla="*/ 0 h 401"/>
                <a:gd name="T4" fmla="*/ 39 w 348"/>
                <a:gd name="T5" fmla="*/ 3 h 401"/>
                <a:gd name="T6" fmla="*/ 37 w 348"/>
                <a:gd name="T7" fmla="*/ 6 h 401"/>
                <a:gd name="T8" fmla="*/ 37 w 348"/>
                <a:gd name="T9" fmla="*/ 11 h 401"/>
                <a:gd name="T10" fmla="*/ 33 w 348"/>
                <a:gd name="T11" fmla="*/ 10 h 401"/>
                <a:gd name="T12" fmla="*/ 28 w 348"/>
                <a:gd name="T13" fmla="*/ 9 h 401"/>
                <a:gd name="T14" fmla="*/ 16 w 348"/>
                <a:gd name="T15" fmla="*/ 9 h 401"/>
                <a:gd name="T16" fmla="*/ 15 w 348"/>
                <a:gd name="T17" fmla="*/ 14 h 401"/>
                <a:gd name="T18" fmla="*/ 19 w 348"/>
                <a:gd name="T19" fmla="*/ 12 h 401"/>
                <a:gd name="T20" fmla="*/ 23 w 348"/>
                <a:gd name="T21" fmla="*/ 14 h 401"/>
                <a:gd name="T22" fmla="*/ 22 w 348"/>
                <a:gd name="T23" fmla="*/ 19 h 401"/>
                <a:gd name="T24" fmla="*/ 23 w 348"/>
                <a:gd name="T25" fmla="*/ 25 h 401"/>
                <a:gd name="T26" fmla="*/ 20 w 348"/>
                <a:gd name="T27" fmla="*/ 34 h 401"/>
                <a:gd name="T28" fmla="*/ 13 w 348"/>
                <a:gd name="T29" fmla="*/ 32 h 401"/>
                <a:gd name="T30" fmla="*/ 11 w 348"/>
                <a:gd name="T31" fmla="*/ 31 h 401"/>
                <a:gd name="T32" fmla="*/ 4 w 348"/>
                <a:gd name="T33" fmla="*/ 34 h 401"/>
                <a:gd name="T34" fmla="*/ 4 w 348"/>
                <a:gd name="T35" fmla="*/ 36 h 401"/>
                <a:gd name="T36" fmla="*/ 4 w 348"/>
                <a:gd name="T37" fmla="*/ 40 h 401"/>
                <a:gd name="T38" fmla="*/ 1 w 348"/>
                <a:gd name="T39" fmla="*/ 40 h 401"/>
                <a:gd name="T40" fmla="*/ 0 w 348"/>
                <a:gd name="T41" fmla="*/ 42 h 401"/>
                <a:gd name="T42" fmla="*/ 5 w 348"/>
                <a:gd name="T43" fmla="*/ 45 h 401"/>
                <a:gd name="T44" fmla="*/ 10 w 348"/>
                <a:gd name="T45" fmla="*/ 47 h 401"/>
                <a:gd name="T46" fmla="*/ 12 w 348"/>
                <a:gd name="T47" fmla="*/ 45 h 401"/>
                <a:gd name="T48" fmla="*/ 14 w 348"/>
                <a:gd name="T49" fmla="*/ 46 h 401"/>
                <a:gd name="T50" fmla="*/ 18 w 348"/>
                <a:gd name="T51" fmla="*/ 47 h 401"/>
                <a:gd name="T52" fmla="*/ 21 w 348"/>
                <a:gd name="T53" fmla="*/ 45 h 401"/>
                <a:gd name="T54" fmla="*/ 24 w 348"/>
                <a:gd name="T55" fmla="*/ 45 h 401"/>
                <a:gd name="T56" fmla="*/ 26 w 348"/>
                <a:gd name="T57" fmla="*/ 47 h 401"/>
                <a:gd name="T58" fmla="*/ 33 w 348"/>
                <a:gd name="T59" fmla="*/ 43 h 401"/>
                <a:gd name="T60" fmla="*/ 39 w 348"/>
                <a:gd name="T61" fmla="*/ 32 h 401"/>
                <a:gd name="T62" fmla="*/ 49 w 348"/>
                <a:gd name="T63" fmla="*/ 25 h 401"/>
                <a:gd name="T64" fmla="*/ 57 w 348"/>
                <a:gd name="T65" fmla="*/ 2 h 4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8"/>
                <a:gd name="T100" fmla="*/ 0 h 401"/>
                <a:gd name="T101" fmla="*/ 348 w 348"/>
                <a:gd name="T102" fmla="*/ 401 h 4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8" h="401">
                  <a:moveTo>
                    <a:pt x="345" y="0"/>
                  </a:moveTo>
                  <a:lnTo>
                    <a:pt x="340" y="6"/>
                  </a:lnTo>
                  <a:lnTo>
                    <a:pt x="315" y="14"/>
                  </a:lnTo>
                  <a:lnTo>
                    <a:pt x="286" y="0"/>
                  </a:lnTo>
                  <a:lnTo>
                    <a:pt x="270" y="4"/>
                  </a:lnTo>
                  <a:lnTo>
                    <a:pt x="236" y="28"/>
                  </a:lnTo>
                  <a:lnTo>
                    <a:pt x="229" y="40"/>
                  </a:lnTo>
                  <a:lnTo>
                    <a:pt x="227" y="49"/>
                  </a:lnTo>
                  <a:lnTo>
                    <a:pt x="229" y="85"/>
                  </a:lnTo>
                  <a:lnTo>
                    <a:pt x="226" y="93"/>
                  </a:lnTo>
                  <a:lnTo>
                    <a:pt x="223" y="96"/>
                  </a:lnTo>
                  <a:lnTo>
                    <a:pt x="203" y="81"/>
                  </a:lnTo>
                  <a:lnTo>
                    <a:pt x="195" y="81"/>
                  </a:lnTo>
                  <a:lnTo>
                    <a:pt x="171" y="76"/>
                  </a:lnTo>
                  <a:lnTo>
                    <a:pt x="162" y="71"/>
                  </a:lnTo>
                  <a:lnTo>
                    <a:pt x="99" y="71"/>
                  </a:lnTo>
                  <a:lnTo>
                    <a:pt x="93" y="83"/>
                  </a:lnTo>
                  <a:lnTo>
                    <a:pt x="93" y="114"/>
                  </a:lnTo>
                  <a:lnTo>
                    <a:pt x="100" y="118"/>
                  </a:lnTo>
                  <a:lnTo>
                    <a:pt x="113" y="99"/>
                  </a:lnTo>
                  <a:lnTo>
                    <a:pt x="138" y="105"/>
                  </a:lnTo>
                  <a:lnTo>
                    <a:pt x="146" y="115"/>
                  </a:lnTo>
                  <a:lnTo>
                    <a:pt x="147" y="133"/>
                  </a:lnTo>
                  <a:lnTo>
                    <a:pt x="132" y="157"/>
                  </a:lnTo>
                  <a:lnTo>
                    <a:pt x="131" y="171"/>
                  </a:lnTo>
                  <a:lnTo>
                    <a:pt x="144" y="206"/>
                  </a:lnTo>
                  <a:lnTo>
                    <a:pt x="134" y="276"/>
                  </a:lnTo>
                  <a:lnTo>
                    <a:pt x="122" y="280"/>
                  </a:lnTo>
                  <a:lnTo>
                    <a:pt x="105" y="267"/>
                  </a:lnTo>
                  <a:lnTo>
                    <a:pt x="84" y="269"/>
                  </a:lnTo>
                  <a:lnTo>
                    <a:pt x="77" y="260"/>
                  </a:lnTo>
                  <a:lnTo>
                    <a:pt x="70" y="255"/>
                  </a:lnTo>
                  <a:lnTo>
                    <a:pt x="54" y="272"/>
                  </a:lnTo>
                  <a:lnTo>
                    <a:pt x="26" y="286"/>
                  </a:lnTo>
                  <a:lnTo>
                    <a:pt x="21" y="294"/>
                  </a:lnTo>
                  <a:lnTo>
                    <a:pt x="21" y="303"/>
                  </a:lnTo>
                  <a:lnTo>
                    <a:pt x="28" y="326"/>
                  </a:lnTo>
                  <a:lnTo>
                    <a:pt x="25" y="331"/>
                  </a:lnTo>
                  <a:lnTo>
                    <a:pt x="15" y="330"/>
                  </a:lnTo>
                  <a:lnTo>
                    <a:pt x="6" y="332"/>
                  </a:lnTo>
                  <a:lnTo>
                    <a:pt x="1" y="339"/>
                  </a:lnTo>
                  <a:lnTo>
                    <a:pt x="0" y="351"/>
                  </a:lnTo>
                  <a:lnTo>
                    <a:pt x="10" y="356"/>
                  </a:lnTo>
                  <a:lnTo>
                    <a:pt x="28" y="375"/>
                  </a:lnTo>
                  <a:lnTo>
                    <a:pt x="40" y="401"/>
                  </a:lnTo>
                  <a:lnTo>
                    <a:pt x="61" y="388"/>
                  </a:lnTo>
                  <a:lnTo>
                    <a:pt x="66" y="376"/>
                  </a:lnTo>
                  <a:lnTo>
                    <a:pt x="75" y="371"/>
                  </a:lnTo>
                  <a:lnTo>
                    <a:pt x="82" y="374"/>
                  </a:lnTo>
                  <a:lnTo>
                    <a:pt x="86" y="383"/>
                  </a:lnTo>
                  <a:lnTo>
                    <a:pt x="100" y="392"/>
                  </a:lnTo>
                  <a:lnTo>
                    <a:pt x="110" y="389"/>
                  </a:lnTo>
                  <a:lnTo>
                    <a:pt x="116" y="379"/>
                  </a:lnTo>
                  <a:lnTo>
                    <a:pt x="123" y="374"/>
                  </a:lnTo>
                  <a:lnTo>
                    <a:pt x="145" y="369"/>
                  </a:lnTo>
                  <a:lnTo>
                    <a:pt x="147" y="372"/>
                  </a:lnTo>
                  <a:lnTo>
                    <a:pt x="148" y="388"/>
                  </a:lnTo>
                  <a:lnTo>
                    <a:pt x="158" y="391"/>
                  </a:lnTo>
                  <a:lnTo>
                    <a:pt x="174" y="383"/>
                  </a:lnTo>
                  <a:lnTo>
                    <a:pt x="205" y="361"/>
                  </a:lnTo>
                  <a:lnTo>
                    <a:pt x="229" y="330"/>
                  </a:lnTo>
                  <a:lnTo>
                    <a:pt x="240" y="265"/>
                  </a:lnTo>
                  <a:lnTo>
                    <a:pt x="274" y="222"/>
                  </a:lnTo>
                  <a:lnTo>
                    <a:pt x="302" y="203"/>
                  </a:lnTo>
                  <a:lnTo>
                    <a:pt x="318" y="82"/>
                  </a:lnTo>
                  <a:lnTo>
                    <a:pt x="348" y="15"/>
                  </a:lnTo>
                  <a:lnTo>
                    <a:pt x="34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6" name="Freeform 73"/>
            <p:cNvSpPr>
              <a:spLocks/>
            </p:cNvSpPr>
            <p:nvPr/>
          </p:nvSpPr>
          <p:spPr bwMode="auto">
            <a:xfrm>
              <a:off x="3876854" y="3020989"/>
              <a:ext cx="414327" cy="398903"/>
            </a:xfrm>
            <a:custGeom>
              <a:avLst/>
              <a:gdLst>
                <a:gd name="T0" fmla="*/ 56 w 348"/>
                <a:gd name="T1" fmla="*/ 1 h 401"/>
                <a:gd name="T2" fmla="*/ 47 w 348"/>
                <a:gd name="T3" fmla="*/ 0 h 401"/>
                <a:gd name="T4" fmla="*/ 39 w 348"/>
                <a:gd name="T5" fmla="*/ 3 h 401"/>
                <a:gd name="T6" fmla="*/ 37 w 348"/>
                <a:gd name="T7" fmla="*/ 6 h 401"/>
                <a:gd name="T8" fmla="*/ 37 w 348"/>
                <a:gd name="T9" fmla="*/ 11 h 401"/>
                <a:gd name="T10" fmla="*/ 33 w 348"/>
                <a:gd name="T11" fmla="*/ 10 h 401"/>
                <a:gd name="T12" fmla="*/ 28 w 348"/>
                <a:gd name="T13" fmla="*/ 9 h 401"/>
                <a:gd name="T14" fmla="*/ 16 w 348"/>
                <a:gd name="T15" fmla="*/ 9 h 401"/>
                <a:gd name="T16" fmla="*/ 15 w 348"/>
                <a:gd name="T17" fmla="*/ 14 h 401"/>
                <a:gd name="T18" fmla="*/ 19 w 348"/>
                <a:gd name="T19" fmla="*/ 12 h 401"/>
                <a:gd name="T20" fmla="*/ 23 w 348"/>
                <a:gd name="T21" fmla="*/ 14 h 401"/>
                <a:gd name="T22" fmla="*/ 22 w 348"/>
                <a:gd name="T23" fmla="*/ 19 h 401"/>
                <a:gd name="T24" fmla="*/ 23 w 348"/>
                <a:gd name="T25" fmla="*/ 25 h 401"/>
                <a:gd name="T26" fmla="*/ 20 w 348"/>
                <a:gd name="T27" fmla="*/ 34 h 401"/>
                <a:gd name="T28" fmla="*/ 13 w 348"/>
                <a:gd name="T29" fmla="*/ 32 h 401"/>
                <a:gd name="T30" fmla="*/ 11 w 348"/>
                <a:gd name="T31" fmla="*/ 31 h 401"/>
                <a:gd name="T32" fmla="*/ 4 w 348"/>
                <a:gd name="T33" fmla="*/ 34 h 401"/>
                <a:gd name="T34" fmla="*/ 4 w 348"/>
                <a:gd name="T35" fmla="*/ 36 h 401"/>
                <a:gd name="T36" fmla="*/ 4 w 348"/>
                <a:gd name="T37" fmla="*/ 40 h 401"/>
                <a:gd name="T38" fmla="*/ 1 w 348"/>
                <a:gd name="T39" fmla="*/ 40 h 401"/>
                <a:gd name="T40" fmla="*/ 0 w 348"/>
                <a:gd name="T41" fmla="*/ 42 h 401"/>
                <a:gd name="T42" fmla="*/ 5 w 348"/>
                <a:gd name="T43" fmla="*/ 45 h 401"/>
                <a:gd name="T44" fmla="*/ 10 w 348"/>
                <a:gd name="T45" fmla="*/ 47 h 401"/>
                <a:gd name="T46" fmla="*/ 12 w 348"/>
                <a:gd name="T47" fmla="*/ 45 h 401"/>
                <a:gd name="T48" fmla="*/ 14 w 348"/>
                <a:gd name="T49" fmla="*/ 46 h 401"/>
                <a:gd name="T50" fmla="*/ 18 w 348"/>
                <a:gd name="T51" fmla="*/ 47 h 401"/>
                <a:gd name="T52" fmla="*/ 21 w 348"/>
                <a:gd name="T53" fmla="*/ 45 h 401"/>
                <a:gd name="T54" fmla="*/ 24 w 348"/>
                <a:gd name="T55" fmla="*/ 45 h 401"/>
                <a:gd name="T56" fmla="*/ 26 w 348"/>
                <a:gd name="T57" fmla="*/ 47 h 401"/>
                <a:gd name="T58" fmla="*/ 33 w 348"/>
                <a:gd name="T59" fmla="*/ 43 h 401"/>
                <a:gd name="T60" fmla="*/ 39 w 348"/>
                <a:gd name="T61" fmla="*/ 32 h 401"/>
                <a:gd name="T62" fmla="*/ 49 w 348"/>
                <a:gd name="T63" fmla="*/ 25 h 401"/>
                <a:gd name="T64" fmla="*/ 57 w 348"/>
                <a:gd name="T65" fmla="*/ 2 h 4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8"/>
                <a:gd name="T100" fmla="*/ 0 h 401"/>
                <a:gd name="T101" fmla="*/ 348 w 348"/>
                <a:gd name="T102" fmla="*/ 401 h 4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8" h="401">
                  <a:moveTo>
                    <a:pt x="345" y="0"/>
                  </a:moveTo>
                  <a:lnTo>
                    <a:pt x="340" y="6"/>
                  </a:lnTo>
                  <a:lnTo>
                    <a:pt x="315" y="14"/>
                  </a:lnTo>
                  <a:lnTo>
                    <a:pt x="286" y="0"/>
                  </a:lnTo>
                  <a:lnTo>
                    <a:pt x="270" y="4"/>
                  </a:lnTo>
                  <a:lnTo>
                    <a:pt x="236" y="28"/>
                  </a:lnTo>
                  <a:lnTo>
                    <a:pt x="229" y="40"/>
                  </a:lnTo>
                  <a:lnTo>
                    <a:pt x="227" y="49"/>
                  </a:lnTo>
                  <a:lnTo>
                    <a:pt x="229" y="85"/>
                  </a:lnTo>
                  <a:lnTo>
                    <a:pt x="226" y="93"/>
                  </a:lnTo>
                  <a:lnTo>
                    <a:pt x="223" y="96"/>
                  </a:lnTo>
                  <a:lnTo>
                    <a:pt x="203" y="81"/>
                  </a:lnTo>
                  <a:lnTo>
                    <a:pt x="195" y="81"/>
                  </a:lnTo>
                  <a:lnTo>
                    <a:pt x="171" y="76"/>
                  </a:lnTo>
                  <a:lnTo>
                    <a:pt x="162" y="71"/>
                  </a:lnTo>
                  <a:lnTo>
                    <a:pt x="99" y="71"/>
                  </a:lnTo>
                  <a:lnTo>
                    <a:pt x="93" y="83"/>
                  </a:lnTo>
                  <a:lnTo>
                    <a:pt x="93" y="114"/>
                  </a:lnTo>
                  <a:lnTo>
                    <a:pt x="100" y="118"/>
                  </a:lnTo>
                  <a:lnTo>
                    <a:pt x="113" y="99"/>
                  </a:lnTo>
                  <a:lnTo>
                    <a:pt x="138" y="105"/>
                  </a:lnTo>
                  <a:lnTo>
                    <a:pt x="146" y="115"/>
                  </a:lnTo>
                  <a:lnTo>
                    <a:pt x="147" y="133"/>
                  </a:lnTo>
                  <a:lnTo>
                    <a:pt x="132" y="157"/>
                  </a:lnTo>
                  <a:lnTo>
                    <a:pt x="131" y="171"/>
                  </a:lnTo>
                  <a:lnTo>
                    <a:pt x="144" y="206"/>
                  </a:lnTo>
                  <a:lnTo>
                    <a:pt x="134" y="276"/>
                  </a:lnTo>
                  <a:lnTo>
                    <a:pt x="122" y="280"/>
                  </a:lnTo>
                  <a:lnTo>
                    <a:pt x="105" y="267"/>
                  </a:lnTo>
                  <a:lnTo>
                    <a:pt x="84" y="269"/>
                  </a:lnTo>
                  <a:lnTo>
                    <a:pt x="77" y="260"/>
                  </a:lnTo>
                  <a:lnTo>
                    <a:pt x="70" y="255"/>
                  </a:lnTo>
                  <a:lnTo>
                    <a:pt x="54" y="272"/>
                  </a:lnTo>
                  <a:lnTo>
                    <a:pt x="26" y="286"/>
                  </a:lnTo>
                  <a:lnTo>
                    <a:pt x="21" y="294"/>
                  </a:lnTo>
                  <a:lnTo>
                    <a:pt x="21" y="303"/>
                  </a:lnTo>
                  <a:lnTo>
                    <a:pt x="28" y="326"/>
                  </a:lnTo>
                  <a:lnTo>
                    <a:pt x="25" y="331"/>
                  </a:lnTo>
                  <a:lnTo>
                    <a:pt x="15" y="330"/>
                  </a:lnTo>
                  <a:lnTo>
                    <a:pt x="6" y="332"/>
                  </a:lnTo>
                  <a:lnTo>
                    <a:pt x="1" y="339"/>
                  </a:lnTo>
                  <a:lnTo>
                    <a:pt x="0" y="351"/>
                  </a:lnTo>
                  <a:lnTo>
                    <a:pt x="10" y="356"/>
                  </a:lnTo>
                  <a:lnTo>
                    <a:pt x="28" y="375"/>
                  </a:lnTo>
                  <a:lnTo>
                    <a:pt x="40" y="401"/>
                  </a:lnTo>
                  <a:lnTo>
                    <a:pt x="61" y="388"/>
                  </a:lnTo>
                  <a:lnTo>
                    <a:pt x="66" y="376"/>
                  </a:lnTo>
                  <a:lnTo>
                    <a:pt x="75" y="371"/>
                  </a:lnTo>
                  <a:lnTo>
                    <a:pt x="82" y="374"/>
                  </a:lnTo>
                  <a:lnTo>
                    <a:pt x="86" y="383"/>
                  </a:lnTo>
                  <a:lnTo>
                    <a:pt x="100" y="392"/>
                  </a:lnTo>
                  <a:lnTo>
                    <a:pt x="110" y="389"/>
                  </a:lnTo>
                  <a:lnTo>
                    <a:pt x="116" y="379"/>
                  </a:lnTo>
                  <a:lnTo>
                    <a:pt x="123" y="374"/>
                  </a:lnTo>
                  <a:lnTo>
                    <a:pt x="145" y="369"/>
                  </a:lnTo>
                  <a:lnTo>
                    <a:pt x="147" y="372"/>
                  </a:lnTo>
                  <a:lnTo>
                    <a:pt x="148" y="388"/>
                  </a:lnTo>
                  <a:lnTo>
                    <a:pt x="158" y="391"/>
                  </a:lnTo>
                  <a:lnTo>
                    <a:pt x="174" y="383"/>
                  </a:lnTo>
                  <a:lnTo>
                    <a:pt x="205" y="361"/>
                  </a:lnTo>
                  <a:lnTo>
                    <a:pt x="229" y="330"/>
                  </a:lnTo>
                  <a:lnTo>
                    <a:pt x="240" y="265"/>
                  </a:lnTo>
                  <a:lnTo>
                    <a:pt x="274" y="222"/>
                  </a:lnTo>
                  <a:lnTo>
                    <a:pt x="302" y="203"/>
                  </a:lnTo>
                  <a:lnTo>
                    <a:pt x="318" y="82"/>
                  </a:lnTo>
                  <a:lnTo>
                    <a:pt x="348" y="15"/>
                  </a:lnTo>
                  <a:lnTo>
                    <a:pt x="34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7" name="Freeform 74"/>
            <p:cNvSpPr>
              <a:spLocks/>
            </p:cNvSpPr>
            <p:nvPr/>
          </p:nvSpPr>
          <p:spPr bwMode="auto">
            <a:xfrm>
              <a:off x="3777335" y="3087782"/>
              <a:ext cx="107643" cy="55661"/>
            </a:xfrm>
            <a:custGeom>
              <a:avLst/>
              <a:gdLst>
                <a:gd name="T0" fmla="*/ 16 w 88"/>
                <a:gd name="T1" fmla="*/ 0 h 57"/>
                <a:gd name="T2" fmla="*/ 3 w 88"/>
                <a:gd name="T3" fmla="*/ 1 h 57"/>
                <a:gd name="T4" fmla="*/ 3 w 88"/>
                <a:gd name="T5" fmla="*/ 1 h 57"/>
                <a:gd name="T6" fmla="*/ 2 w 88"/>
                <a:gd name="T7" fmla="*/ 2 h 57"/>
                <a:gd name="T8" fmla="*/ 1 w 88"/>
                <a:gd name="T9" fmla="*/ 4 h 57"/>
                <a:gd name="T10" fmla="*/ 0 w 88"/>
                <a:gd name="T11" fmla="*/ 5 h 57"/>
                <a:gd name="T12" fmla="*/ 2 w 88"/>
                <a:gd name="T13" fmla="*/ 6 h 57"/>
                <a:gd name="T14" fmla="*/ 2 w 88"/>
                <a:gd name="T15" fmla="*/ 6 h 57"/>
                <a:gd name="T16" fmla="*/ 2 w 88"/>
                <a:gd name="T17" fmla="*/ 6 h 57"/>
                <a:gd name="T18" fmla="*/ 2 w 88"/>
                <a:gd name="T19" fmla="*/ 6 h 57"/>
                <a:gd name="T20" fmla="*/ 16 w 88"/>
                <a:gd name="T21" fmla="*/ 6 h 57"/>
                <a:gd name="T22" fmla="*/ 16 w 88"/>
                <a:gd name="T23" fmla="*/ 5 h 57"/>
                <a:gd name="T24" fmla="*/ 15 w 88"/>
                <a:gd name="T25" fmla="*/ 2 h 57"/>
                <a:gd name="T26" fmla="*/ 16 w 88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57"/>
                <a:gd name="T44" fmla="*/ 88 w 88"/>
                <a:gd name="T45" fmla="*/ 57 h 5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57">
                  <a:moveTo>
                    <a:pt x="88" y="0"/>
                  </a:moveTo>
                  <a:lnTo>
                    <a:pt x="17" y="3"/>
                  </a:lnTo>
                  <a:lnTo>
                    <a:pt x="17" y="11"/>
                  </a:lnTo>
                  <a:lnTo>
                    <a:pt x="11" y="21"/>
                  </a:lnTo>
                  <a:lnTo>
                    <a:pt x="9" y="31"/>
                  </a:lnTo>
                  <a:lnTo>
                    <a:pt x="0" y="46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88" y="50"/>
                  </a:lnTo>
                  <a:lnTo>
                    <a:pt x="87" y="48"/>
                  </a:lnTo>
                  <a:lnTo>
                    <a:pt x="84" y="12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8" name="Freeform 75"/>
            <p:cNvSpPr>
              <a:spLocks/>
            </p:cNvSpPr>
            <p:nvPr/>
          </p:nvSpPr>
          <p:spPr bwMode="auto">
            <a:xfrm>
              <a:off x="3777335" y="3087782"/>
              <a:ext cx="107643" cy="55661"/>
            </a:xfrm>
            <a:custGeom>
              <a:avLst/>
              <a:gdLst>
                <a:gd name="T0" fmla="*/ 16 w 88"/>
                <a:gd name="T1" fmla="*/ 0 h 57"/>
                <a:gd name="T2" fmla="*/ 3 w 88"/>
                <a:gd name="T3" fmla="*/ 1 h 57"/>
                <a:gd name="T4" fmla="*/ 3 w 88"/>
                <a:gd name="T5" fmla="*/ 1 h 57"/>
                <a:gd name="T6" fmla="*/ 2 w 88"/>
                <a:gd name="T7" fmla="*/ 2 h 57"/>
                <a:gd name="T8" fmla="*/ 1 w 88"/>
                <a:gd name="T9" fmla="*/ 4 h 57"/>
                <a:gd name="T10" fmla="*/ 0 w 88"/>
                <a:gd name="T11" fmla="*/ 5 h 57"/>
                <a:gd name="T12" fmla="*/ 2 w 88"/>
                <a:gd name="T13" fmla="*/ 6 h 57"/>
                <a:gd name="T14" fmla="*/ 2 w 88"/>
                <a:gd name="T15" fmla="*/ 6 h 57"/>
                <a:gd name="T16" fmla="*/ 2 w 88"/>
                <a:gd name="T17" fmla="*/ 6 h 57"/>
                <a:gd name="T18" fmla="*/ 2 w 88"/>
                <a:gd name="T19" fmla="*/ 6 h 57"/>
                <a:gd name="T20" fmla="*/ 16 w 88"/>
                <a:gd name="T21" fmla="*/ 6 h 57"/>
                <a:gd name="T22" fmla="*/ 16 w 88"/>
                <a:gd name="T23" fmla="*/ 5 h 57"/>
                <a:gd name="T24" fmla="*/ 15 w 88"/>
                <a:gd name="T25" fmla="*/ 2 h 57"/>
                <a:gd name="T26" fmla="*/ 16 w 88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57"/>
                <a:gd name="T44" fmla="*/ 88 w 88"/>
                <a:gd name="T45" fmla="*/ 57 h 5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57">
                  <a:moveTo>
                    <a:pt x="88" y="0"/>
                  </a:moveTo>
                  <a:lnTo>
                    <a:pt x="17" y="3"/>
                  </a:lnTo>
                  <a:lnTo>
                    <a:pt x="17" y="11"/>
                  </a:lnTo>
                  <a:lnTo>
                    <a:pt x="11" y="21"/>
                  </a:lnTo>
                  <a:lnTo>
                    <a:pt x="9" y="31"/>
                  </a:lnTo>
                  <a:lnTo>
                    <a:pt x="0" y="46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88" y="50"/>
                  </a:lnTo>
                  <a:lnTo>
                    <a:pt x="87" y="48"/>
                  </a:lnTo>
                  <a:lnTo>
                    <a:pt x="84" y="12"/>
                  </a:lnTo>
                  <a:lnTo>
                    <a:pt x="88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9" name="Freeform 76"/>
            <p:cNvSpPr>
              <a:spLocks/>
            </p:cNvSpPr>
            <p:nvPr/>
          </p:nvSpPr>
          <p:spPr bwMode="auto">
            <a:xfrm>
              <a:off x="5272163" y="2351204"/>
              <a:ext cx="361521" cy="270883"/>
            </a:xfrm>
            <a:custGeom>
              <a:avLst/>
              <a:gdLst>
                <a:gd name="T0" fmla="*/ 14 w 301"/>
                <a:gd name="T1" fmla="*/ 3 h 270"/>
                <a:gd name="T2" fmla="*/ 7 w 301"/>
                <a:gd name="T3" fmla="*/ 5 h 270"/>
                <a:gd name="T4" fmla="*/ 4 w 301"/>
                <a:gd name="T5" fmla="*/ 6 h 270"/>
                <a:gd name="T6" fmla="*/ 1 w 301"/>
                <a:gd name="T7" fmla="*/ 22 h 270"/>
                <a:gd name="T8" fmla="*/ 2 w 301"/>
                <a:gd name="T9" fmla="*/ 23 h 270"/>
                <a:gd name="T10" fmla="*/ 4 w 301"/>
                <a:gd name="T11" fmla="*/ 23 h 270"/>
                <a:gd name="T12" fmla="*/ 4 w 301"/>
                <a:gd name="T13" fmla="*/ 22 h 270"/>
                <a:gd name="T14" fmla="*/ 6 w 301"/>
                <a:gd name="T15" fmla="*/ 22 h 270"/>
                <a:gd name="T16" fmla="*/ 7 w 301"/>
                <a:gd name="T17" fmla="*/ 23 h 270"/>
                <a:gd name="T18" fmla="*/ 11 w 301"/>
                <a:gd name="T19" fmla="*/ 19 h 270"/>
                <a:gd name="T20" fmla="*/ 13 w 301"/>
                <a:gd name="T21" fmla="*/ 20 h 270"/>
                <a:gd name="T22" fmla="*/ 13 w 301"/>
                <a:gd name="T23" fmla="*/ 21 h 270"/>
                <a:gd name="T24" fmla="*/ 16 w 301"/>
                <a:gd name="T25" fmla="*/ 22 h 270"/>
                <a:gd name="T26" fmla="*/ 18 w 301"/>
                <a:gd name="T27" fmla="*/ 21 h 270"/>
                <a:gd name="T28" fmla="*/ 19 w 301"/>
                <a:gd name="T29" fmla="*/ 21 h 270"/>
                <a:gd name="T30" fmla="*/ 21 w 301"/>
                <a:gd name="T31" fmla="*/ 21 h 270"/>
                <a:gd name="T32" fmla="*/ 21 w 301"/>
                <a:gd name="T33" fmla="*/ 22 h 270"/>
                <a:gd name="T34" fmla="*/ 22 w 301"/>
                <a:gd name="T35" fmla="*/ 21 h 270"/>
                <a:gd name="T36" fmla="*/ 24 w 301"/>
                <a:gd name="T37" fmla="*/ 21 h 270"/>
                <a:gd name="T38" fmla="*/ 25 w 301"/>
                <a:gd name="T39" fmla="*/ 21 h 270"/>
                <a:gd name="T40" fmla="*/ 26 w 301"/>
                <a:gd name="T41" fmla="*/ 22 h 270"/>
                <a:gd name="T42" fmla="*/ 28 w 301"/>
                <a:gd name="T43" fmla="*/ 22 h 270"/>
                <a:gd name="T44" fmla="*/ 33 w 301"/>
                <a:gd name="T45" fmla="*/ 23 h 270"/>
                <a:gd name="T46" fmla="*/ 40 w 301"/>
                <a:gd name="T47" fmla="*/ 29 h 270"/>
                <a:gd name="T48" fmla="*/ 44 w 301"/>
                <a:gd name="T49" fmla="*/ 32 h 270"/>
                <a:gd name="T50" fmla="*/ 46 w 301"/>
                <a:gd name="T51" fmla="*/ 33 h 270"/>
                <a:gd name="T52" fmla="*/ 50 w 301"/>
                <a:gd name="T53" fmla="*/ 30 h 270"/>
                <a:gd name="T54" fmla="*/ 48 w 301"/>
                <a:gd name="T55" fmla="*/ 30 h 270"/>
                <a:gd name="T56" fmla="*/ 48 w 301"/>
                <a:gd name="T57" fmla="*/ 29 h 270"/>
                <a:gd name="T58" fmla="*/ 47 w 301"/>
                <a:gd name="T59" fmla="*/ 29 h 270"/>
                <a:gd name="T60" fmla="*/ 46 w 301"/>
                <a:gd name="T61" fmla="*/ 28 h 270"/>
                <a:gd name="T62" fmla="*/ 45 w 301"/>
                <a:gd name="T63" fmla="*/ 26 h 270"/>
                <a:gd name="T64" fmla="*/ 43 w 301"/>
                <a:gd name="T65" fmla="*/ 26 h 270"/>
                <a:gd name="T66" fmla="*/ 43 w 301"/>
                <a:gd name="T67" fmla="*/ 25 h 270"/>
                <a:gd name="T68" fmla="*/ 41 w 301"/>
                <a:gd name="T69" fmla="*/ 25 h 270"/>
                <a:gd name="T70" fmla="*/ 40 w 301"/>
                <a:gd name="T71" fmla="*/ 24 h 270"/>
                <a:gd name="T72" fmla="*/ 37 w 301"/>
                <a:gd name="T73" fmla="*/ 21 h 270"/>
                <a:gd name="T74" fmla="*/ 35 w 301"/>
                <a:gd name="T75" fmla="*/ 21 h 270"/>
                <a:gd name="T76" fmla="*/ 33 w 301"/>
                <a:gd name="T77" fmla="*/ 20 h 270"/>
                <a:gd name="T78" fmla="*/ 32 w 301"/>
                <a:gd name="T79" fmla="*/ 19 h 270"/>
                <a:gd name="T80" fmla="*/ 30 w 301"/>
                <a:gd name="T81" fmla="*/ 18 h 270"/>
                <a:gd name="T82" fmla="*/ 30 w 301"/>
                <a:gd name="T83" fmla="*/ 19 h 270"/>
                <a:gd name="T84" fmla="*/ 28 w 301"/>
                <a:gd name="T85" fmla="*/ 17 h 270"/>
                <a:gd name="T86" fmla="*/ 27 w 301"/>
                <a:gd name="T87" fmla="*/ 17 h 270"/>
                <a:gd name="T88" fmla="*/ 28 w 301"/>
                <a:gd name="T89" fmla="*/ 16 h 270"/>
                <a:gd name="T90" fmla="*/ 27 w 301"/>
                <a:gd name="T91" fmla="*/ 16 h 270"/>
                <a:gd name="T92" fmla="*/ 25 w 301"/>
                <a:gd name="T93" fmla="*/ 16 h 270"/>
                <a:gd name="T94" fmla="*/ 26 w 301"/>
                <a:gd name="T95" fmla="*/ 17 h 270"/>
                <a:gd name="T96" fmla="*/ 25 w 301"/>
                <a:gd name="T97" fmla="*/ 17 h 270"/>
                <a:gd name="T98" fmla="*/ 24 w 301"/>
                <a:gd name="T99" fmla="*/ 17 h 270"/>
                <a:gd name="T100" fmla="*/ 24 w 301"/>
                <a:gd name="T101" fmla="*/ 16 h 270"/>
                <a:gd name="T102" fmla="*/ 24 w 301"/>
                <a:gd name="T103" fmla="*/ 15 h 270"/>
                <a:gd name="T104" fmla="*/ 22 w 301"/>
                <a:gd name="T105" fmla="*/ 15 h 270"/>
                <a:gd name="T106" fmla="*/ 22 w 301"/>
                <a:gd name="T107" fmla="*/ 14 h 270"/>
                <a:gd name="T108" fmla="*/ 21 w 301"/>
                <a:gd name="T109" fmla="*/ 12 h 270"/>
                <a:gd name="T110" fmla="*/ 16 w 301"/>
                <a:gd name="T111" fmla="*/ 0 h 2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1"/>
                <a:gd name="T169" fmla="*/ 0 h 270"/>
                <a:gd name="T170" fmla="*/ 301 w 301"/>
                <a:gd name="T171" fmla="*/ 270 h 2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1" h="270">
                  <a:moveTo>
                    <a:pt x="91" y="0"/>
                  </a:moveTo>
                  <a:lnTo>
                    <a:pt x="83" y="20"/>
                  </a:lnTo>
                  <a:lnTo>
                    <a:pt x="48" y="35"/>
                  </a:lnTo>
                  <a:lnTo>
                    <a:pt x="44" y="41"/>
                  </a:lnTo>
                  <a:lnTo>
                    <a:pt x="37" y="46"/>
                  </a:lnTo>
                  <a:lnTo>
                    <a:pt x="26" y="47"/>
                  </a:lnTo>
                  <a:lnTo>
                    <a:pt x="0" y="167"/>
                  </a:lnTo>
                  <a:lnTo>
                    <a:pt x="2" y="180"/>
                  </a:lnTo>
                  <a:lnTo>
                    <a:pt x="4" y="181"/>
                  </a:lnTo>
                  <a:lnTo>
                    <a:pt x="15" y="181"/>
                  </a:lnTo>
                  <a:lnTo>
                    <a:pt x="19" y="183"/>
                  </a:lnTo>
                  <a:lnTo>
                    <a:pt x="23" y="183"/>
                  </a:lnTo>
                  <a:lnTo>
                    <a:pt x="25" y="180"/>
                  </a:lnTo>
                  <a:lnTo>
                    <a:pt x="26" y="178"/>
                  </a:lnTo>
                  <a:lnTo>
                    <a:pt x="28" y="174"/>
                  </a:lnTo>
                  <a:lnTo>
                    <a:pt x="34" y="174"/>
                  </a:lnTo>
                  <a:lnTo>
                    <a:pt x="38" y="179"/>
                  </a:lnTo>
                  <a:lnTo>
                    <a:pt x="39" y="182"/>
                  </a:lnTo>
                  <a:lnTo>
                    <a:pt x="46" y="191"/>
                  </a:lnTo>
                  <a:lnTo>
                    <a:pt x="62" y="155"/>
                  </a:lnTo>
                  <a:lnTo>
                    <a:pt x="71" y="163"/>
                  </a:lnTo>
                  <a:lnTo>
                    <a:pt x="76" y="163"/>
                  </a:lnTo>
                  <a:lnTo>
                    <a:pt x="78" y="164"/>
                  </a:lnTo>
                  <a:lnTo>
                    <a:pt x="79" y="166"/>
                  </a:lnTo>
                  <a:lnTo>
                    <a:pt x="85" y="175"/>
                  </a:lnTo>
                  <a:lnTo>
                    <a:pt x="93" y="175"/>
                  </a:lnTo>
                  <a:lnTo>
                    <a:pt x="96" y="174"/>
                  </a:lnTo>
                  <a:lnTo>
                    <a:pt x="108" y="172"/>
                  </a:lnTo>
                  <a:lnTo>
                    <a:pt x="112" y="169"/>
                  </a:lnTo>
                  <a:lnTo>
                    <a:pt x="112" y="165"/>
                  </a:lnTo>
                  <a:lnTo>
                    <a:pt x="116" y="165"/>
                  </a:lnTo>
                  <a:lnTo>
                    <a:pt x="121" y="169"/>
                  </a:lnTo>
                  <a:lnTo>
                    <a:pt x="123" y="174"/>
                  </a:lnTo>
                  <a:lnTo>
                    <a:pt x="125" y="174"/>
                  </a:lnTo>
                  <a:lnTo>
                    <a:pt x="126" y="173"/>
                  </a:lnTo>
                  <a:lnTo>
                    <a:pt x="132" y="172"/>
                  </a:lnTo>
                  <a:lnTo>
                    <a:pt x="136" y="169"/>
                  </a:lnTo>
                  <a:lnTo>
                    <a:pt x="139" y="169"/>
                  </a:lnTo>
                  <a:lnTo>
                    <a:pt x="143" y="172"/>
                  </a:lnTo>
                  <a:lnTo>
                    <a:pt x="152" y="172"/>
                  </a:lnTo>
                  <a:lnTo>
                    <a:pt x="153" y="175"/>
                  </a:lnTo>
                  <a:lnTo>
                    <a:pt x="156" y="175"/>
                  </a:lnTo>
                  <a:lnTo>
                    <a:pt x="158" y="174"/>
                  </a:lnTo>
                  <a:lnTo>
                    <a:pt x="168" y="173"/>
                  </a:lnTo>
                  <a:lnTo>
                    <a:pt x="187" y="187"/>
                  </a:lnTo>
                  <a:lnTo>
                    <a:pt x="193" y="188"/>
                  </a:lnTo>
                  <a:lnTo>
                    <a:pt x="213" y="213"/>
                  </a:lnTo>
                  <a:lnTo>
                    <a:pt x="238" y="231"/>
                  </a:lnTo>
                  <a:lnTo>
                    <a:pt x="249" y="249"/>
                  </a:lnTo>
                  <a:lnTo>
                    <a:pt x="261" y="258"/>
                  </a:lnTo>
                  <a:lnTo>
                    <a:pt x="270" y="270"/>
                  </a:lnTo>
                  <a:lnTo>
                    <a:pt x="274" y="265"/>
                  </a:lnTo>
                  <a:lnTo>
                    <a:pt x="301" y="249"/>
                  </a:lnTo>
                  <a:lnTo>
                    <a:pt x="297" y="245"/>
                  </a:lnTo>
                  <a:lnTo>
                    <a:pt x="292" y="247"/>
                  </a:lnTo>
                  <a:lnTo>
                    <a:pt x="288" y="244"/>
                  </a:lnTo>
                  <a:lnTo>
                    <a:pt x="286" y="241"/>
                  </a:lnTo>
                  <a:lnTo>
                    <a:pt x="284" y="236"/>
                  </a:lnTo>
                  <a:lnTo>
                    <a:pt x="283" y="235"/>
                  </a:lnTo>
                  <a:lnTo>
                    <a:pt x="275" y="234"/>
                  </a:lnTo>
                  <a:lnTo>
                    <a:pt x="272" y="232"/>
                  </a:lnTo>
                  <a:lnTo>
                    <a:pt x="268" y="221"/>
                  </a:lnTo>
                  <a:lnTo>
                    <a:pt x="265" y="217"/>
                  </a:lnTo>
                  <a:lnTo>
                    <a:pt x="264" y="214"/>
                  </a:lnTo>
                  <a:lnTo>
                    <a:pt x="260" y="213"/>
                  </a:lnTo>
                  <a:lnTo>
                    <a:pt x="256" y="211"/>
                  </a:lnTo>
                  <a:lnTo>
                    <a:pt x="252" y="202"/>
                  </a:lnTo>
                  <a:lnTo>
                    <a:pt x="251" y="201"/>
                  </a:lnTo>
                  <a:lnTo>
                    <a:pt x="246" y="202"/>
                  </a:lnTo>
                  <a:lnTo>
                    <a:pt x="243" y="200"/>
                  </a:lnTo>
                  <a:lnTo>
                    <a:pt x="241" y="200"/>
                  </a:lnTo>
                  <a:lnTo>
                    <a:pt x="239" y="198"/>
                  </a:lnTo>
                  <a:lnTo>
                    <a:pt x="238" y="194"/>
                  </a:lnTo>
                  <a:lnTo>
                    <a:pt x="220" y="168"/>
                  </a:lnTo>
                  <a:lnTo>
                    <a:pt x="213" y="164"/>
                  </a:lnTo>
                  <a:lnTo>
                    <a:pt x="205" y="164"/>
                  </a:lnTo>
                  <a:lnTo>
                    <a:pt x="200" y="161"/>
                  </a:lnTo>
                  <a:lnTo>
                    <a:pt x="197" y="161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84" y="148"/>
                  </a:lnTo>
                  <a:lnTo>
                    <a:pt x="179" y="147"/>
                  </a:lnTo>
                  <a:lnTo>
                    <a:pt x="176" y="150"/>
                  </a:lnTo>
                  <a:lnTo>
                    <a:pt x="174" y="151"/>
                  </a:lnTo>
                  <a:lnTo>
                    <a:pt x="171" y="150"/>
                  </a:lnTo>
                  <a:lnTo>
                    <a:pt x="166" y="142"/>
                  </a:lnTo>
                  <a:lnTo>
                    <a:pt x="163" y="138"/>
                  </a:lnTo>
                  <a:lnTo>
                    <a:pt x="162" y="135"/>
                  </a:lnTo>
                  <a:lnTo>
                    <a:pt x="164" y="132"/>
                  </a:lnTo>
                  <a:lnTo>
                    <a:pt x="163" y="129"/>
                  </a:lnTo>
                  <a:lnTo>
                    <a:pt x="160" y="128"/>
                  </a:lnTo>
                  <a:lnTo>
                    <a:pt x="157" y="125"/>
                  </a:lnTo>
                  <a:lnTo>
                    <a:pt x="153" y="126"/>
                  </a:lnTo>
                  <a:lnTo>
                    <a:pt x="152" y="128"/>
                  </a:lnTo>
                  <a:lnTo>
                    <a:pt x="152" y="132"/>
                  </a:lnTo>
                  <a:lnTo>
                    <a:pt x="155" y="135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46" y="139"/>
                  </a:lnTo>
                  <a:lnTo>
                    <a:pt x="146" y="136"/>
                  </a:lnTo>
                  <a:lnTo>
                    <a:pt x="146" y="133"/>
                  </a:lnTo>
                  <a:lnTo>
                    <a:pt x="144" y="130"/>
                  </a:lnTo>
                  <a:lnTo>
                    <a:pt x="142" y="121"/>
                  </a:lnTo>
                  <a:lnTo>
                    <a:pt x="141" y="119"/>
                  </a:lnTo>
                  <a:lnTo>
                    <a:pt x="137" y="119"/>
                  </a:lnTo>
                  <a:lnTo>
                    <a:pt x="135" y="117"/>
                  </a:lnTo>
                  <a:lnTo>
                    <a:pt x="135" y="115"/>
                  </a:lnTo>
                  <a:lnTo>
                    <a:pt x="133" y="113"/>
                  </a:lnTo>
                  <a:lnTo>
                    <a:pt x="133" y="108"/>
                  </a:lnTo>
                  <a:lnTo>
                    <a:pt x="125" y="100"/>
                  </a:lnTo>
                  <a:lnTo>
                    <a:pt x="108" y="26"/>
                  </a:lnTo>
                  <a:lnTo>
                    <a:pt x="94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0" name="Freeform 77"/>
            <p:cNvSpPr>
              <a:spLocks/>
            </p:cNvSpPr>
            <p:nvPr/>
          </p:nvSpPr>
          <p:spPr bwMode="auto">
            <a:xfrm>
              <a:off x="5272163" y="2351204"/>
              <a:ext cx="361521" cy="270883"/>
            </a:xfrm>
            <a:custGeom>
              <a:avLst/>
              <a:gdLst>
                <a:gd name="T0" fmla="*/ 14 w 301"/>
                <a:gd name="T1" fmla="*/ 3 h 270"/>
                <a:gd name="T2" fmla="*/ 7 w 301"/>
                <a:gd name="T3" fmla="*/ 5 h 270"/>
                <a:gd name="T4" fmla="*/ 4 w 301"/>
                <a:gd name="T5" fmla="*/ 6 h 270"/>
                <a:gd name="T6" fmla="*/ 1 w 301"/>
                <a:gd name="T7" fmla="*/ 22 h 270"/>
                <a:gd name="T8" fmla="*/ 2 w 301"/>
                <a:gd name="T9" fmla="*/ 23 h 270"/>
                <a:gd name="T10" fmla="*/ 4 w 301"/>
                <a:gd name="T11" fmla="*/ 23 h 270"/>
                <a:gd name="T12" fmla="*/ 4 w 301"/>
                <a:gd name="T13" fmla="*/ 22 h 270"/>
                <a:gd name="T14" fmla="*/ 6 w 301"/>
                <a:gd name="T15" fmla="*/ 22 h 270"/>
                <a:gd name="T16" fmla="*/ 7 w 301"/>
                <a:gd name="T17" fmla="*/ 23 h 270"/>
                <a:gd name="T18" fmla="*/ 11 w 301"/>
                <a:gd name="T19" fmla="*/ 19 h 270"/>
                <a:gd name="T20" fmla="*/ 13 w 301"/>
                <a:gd name="T21" fmla="*/ 20 h 270"/>
                <a:gd name="T22" fmla="*/ 13 w 301"/>
                <a:gd name="T23" fmla="*/ 21 h 270"/>
                <a:gd name="T24" fmla="*/ 16 w 301"/>
                <a:gd name="T25" fmla="*/ 22 h 270"/>
                <a:gd name="T26" fmla="*/ 18 w 301"/>
                <a:gd name="T27" fmla="*/ 21 h 270"/>
                <a:gd name="T28" fmla="*/ 19 w 301"/>
                <a:gd name="T29" fmla="*/ 21 h 270"/>
                <a:gd name="T30" fmla="*/ 21 w 301"/>
                <a:gd name="T31" fmla="*/ 21 h 270"/>
                <a:gd name="T32" fmla="*/ 21 w 301"/>
                <a:gd name="T33" fmla="*/ 22 h 270"/>
                <a:gd name="T34" fmla="*/ 22 w 301"/>
                <a:gd name="T35" fmla="*/ 21 h 270"/>
                <a:gd name="T36" fmla="*/ 24 w 301"/>
                <a:gd name="T37" fmla="*/ 21 h 270"/>
                <a:gd name="T38" fmla="*/ 25 w 301"/>
                <a:gd name="T39" fmla="*/ 21 h 270"/>
                <a:gd name="T40" fmla="*/ 26 w 301"/>
                <a:gd name="T41" fmla="*/ 22 h 270"/>
                <a:gd name="T42" fmla="*/ 28 w 301"/>
                <a:gd name="T43" fmla="*/ 22 h 270"/>
                <a:gd name="T44" fmla="*/ 33 w 301"/>
                <a:gd name="T45" fmla="*/ 23 h 270"/>
                <a:gd name="T46" fmla="*/ 40 w 301"/>
                <a:gd name="T47" fmla="*/ 29 h 270"/>
                <a:gd name="T48" fmla="*/ 44 w 301"/>
                <a:gd name="T49" fmla="*/ 32 h 270"/>
                <a:gd name="T50" fmla="*/ 46 w 301"/>
                <a:gd name="T51" fmla="*/ 33 h 270"/>
                <a:gd name="T52" fmla="*/ 50 w 301"/>
                <a:gd name="T53" fmla="*/ 30 h 270"/>
                <a:gd name="T54" fmla="*/ 48 w 301"/>
                <a:gd name="T55" fmla="*/ 30 h 270"/>
                <a:gd name="T56" fmla="*/ 48 w 301"/>
                <a:gd name="T57" fmla="*/ 29 h 270"/>
                <a:gd name="T58" fmla="*/ 47 w 301"/>
                <a:gd name="T59" fmla="*/ 29 h 270"/>
                <a:gd name="T60" fmla="*/ 46 w 301"/>
                <a:gd name="T61" fmla="*/ 28 h 270"/>
                <a:gd name="T62" fmla="*/ 45 w 301"/>
                <a:gd name="T63" fmla="*/ 26 h 270"/>
                <a:gd name="T64" fmla="*/ 43 w 301"/>
                <a:gd name="T65" fmla="*/ 26 h 270"/>
                <a:gd name="T66" fmla="*/ 43 w 301"/>
                <a:gd name="T67" fmla="*/ 25 h 270"/>
                <a:gd name="T68" fmla="*/ 41 w 301"/>
                <a:gd name="T69" fmla="*/ 25 h 270"/>
                <a:gd name="T70" fmla="*/ 40 w 301"/>
                <a:gd name="T71" fmla="*/ 24 h 270"/>
                <a:gd name="T72" fmla="*/ 37 w 301"/>
                <a:gd name="T73" fmla="*/ 21 h 270"/>
                <a:gd name="T74" fmla="*/ 35 w 301"/>
                <a:gd name="T75" fmla="*/ 21 h 270"/>
                <a:gd name="T76" fmla="*/ 33 w 301"/>
                <a:gd name="T77" fmla="*/ 20 h 270"/>
                <a:gd name="T78" fmla="*/ 32 w 301"/>
                <a:gd name="T79" fmla="*/ 19 h 270"/>
                <a:gd name="T80" fmla="*/ 30 w 301"/>
                <a:gd name="T81" fmla="*/ 18 h 270"/>
                <a:gd name="T82" fmla="*/ 30 w 301"/>
                <a:gd name="T83" fmla="*/ 19 h 270"/>
                <a:gd name="T84" fmla="*/ 28 w 301"/>
                <a:gd name="T85" fmla="*/ 17 h 270"/>
                <a:gd name="T86" fmla="*/ 27 w 301"/>
                <a:gd name="T87" fmla="*/ 17 h 270"/>
                <a:gd name="T88" fmla="*/ 28 w 301"/>
                <a:gd name="T89" fmla="*/ 16 h 270"/>
                <a:gd name="T90" fmla="*/ 27 w 301"/>
                <a:gd name="T91" fmla="*/ 16 h 270"/>
                <a:gd name="T92" fmla="*/ 25 w 301"/>
                <a:gd name="T93" fmla="*/ 16 h 270"/>
                <a:gd name="T94" fmla="*/ 26 w 301"/>
                <a:gd name="T95" fmla="*/ 17 h 270"/>
                <a:gd name="T96" fmla="*/ 25 w 301"/>
                <a:gd name="T97" fmla="*/ 17 h 270"/>
                <a:gd name="T98" fmla="*/ 24 w 301"/>
                <a:gd name="T99" fmla="*/ 17 h 270"/>
                <a:gd name="T100" fmla="*/ 24 w 301"/>
                <a:gd name="T101" fmla="*/ 16 h 270"/>
                <a:gd name="T102" fmla="*/ 24 w 301"/>
                <a:gd name="T103" fmla="*/ 15 h 270"/>
                <a:gd name="T104" fmla="*/ 22 w 301"/>
                <a:gd name="T105" fmla="*/ 15 h 270"/>
                <a:gd name="T106" fmla="*/ 22 w 301"/>
                <a:gd name="T107" fmla="*/ 14 h 270"/>
                <a:gd name="T108" fmla="*/ 21 w 301"/>
                <a:gd name="T109" fmla="*/ 12 h 270"/>
                <a:gd name="T110" fmla="*/ 16 w 301"/>
                <a:gd name="T111" fmla="*/ 0 h 2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1"/>
                <a:gd name="T169" fmla="*/ 0 h 270"/>
                <a:gd name="T170" fmla="*/ 301 w 301"/>
                <a:gd name="T171" fmla="*/ 270 h 2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1" h="270">
                  <a:moveTo>
                    <a:pt x="91" y="0"/>
                  </a:moveTo>
                  <a:lnTo>
                    <a:pt x="83" y="20"/>
                  </a:lnTo>
                  <a:lnTo>
                    <a:pt x="48" y="35"/>
                  </a:lnTo>
                  <a:lnTo>
                    <a:pt x="44" y="41"/>
                  </a:lnTo>
                  <a:lnTo>
                    <a:pt x="37" y="46"/>
                  </a:lnTo>
                  <a:lnTo>
                    <a:pt x="26" y="47"/>
                  </a:lnTo>
                  <a:lnTo>
                    <a:pt x="0" y="167"/>
                  </a:lnTo>
                  <a:lnTo>
                    <a:pt x="2" y="180"/>
                  </a:lnTo>
                  <a:lnTo>
                    <a:pt x="4" y="181"/>
                  </a:lnTo>
                  <a:lnTo>
                    <a:pt x="15" y="181"/>
                  </a:lnTo>
                  <a:lnTo>
                    <a:pt x="19" y="183"/>
                  </a:lnTo>
                  <a:lnTo>
                    <a:pt x="23" y="183"/>
                  </a:lnTo>
                  <a:lnTo>
                    <a:pt x="25" y="180"/>
                  </a:lnTo>
                  <a:lnTo>
                    <a:pt x="26" y="178"/>
                  </a:lnTo>
                  <a:lnTo>
                    <a:pt x="28" y="174"/>
                  </a:lnTo>
                  <a:lnTo>
                    <a:pt x="34" y="174"/>
                  </a:lnTo>
                  <a:lnTo>
                    <a:pt x="38" y="179"/>
                  </a:lnTo>
                  <a:lnTo>
                    <a:pt x="39" y="182"/>
                  </a:lnTo>
                  <a:lnTo>
                    <a:pt x="46" y="191"/>
                  </a:lnTo>
                  <a:lnTo>
                    <a:pt x="62" y="155"/>
                  </a:lnTo>
                  <a:lnTo>
                    <a:pt x="71" y="163"/>
                  </a:lnTo>
                  <a:lnTo>
                    <a:pt x="76" y="163"/>
                  </a:lnTo>
                  <a:lnTo>
                    <a:pt x="78" y="164"/>
                  </a:lnTo>
                  <a:lnTo>
                    <a:pt x="79" y="166"/>
                  </a:lnTo>
                  <a:lnTo>
                    <a:pt x="85" y="175"/>
                  </a:lnTo>
                  <a:lnTo>
                    <a:pt x="93" y="175"/>
                  </a:lnTo>
                  <a:lnTo>
                    <a:pt x="96" y="174"/>
                  </a:lnTo>
                  <a:lnTo>
                    <a:pt x="108" y="172"/>
                  </a:lnTo>
                  <a:lnTo>
                    <a:pt x="112" y="169"/>
                  </a:lnTo>
                  <a:lnTo>
                    <a:pt x="112" y="165"/>
                  </a:lnTo>
                  <a:lnTo>
                    <a:pt x="116" y="165"/>
                  </a:lnTo>
                  <a:lnTo>
                    <a:pt x="121" y="169"/>
                  </a:lnTo>
                  <a:lnTo>
                    <a:pt x="123" y="174"/>
                  </a:lnTo>
                  <a:lnTo>
                    <a:pt x="125" y="174"/>
                  </a:lnTo>
                  <a:lnTo>
                    <a:pt x="126" y="173"/>
                  </a:lnTo>
                  <a:lnTo>
                    <a:pt x="132" y="172"/>
                  </a:lnTo>
                  <a:lnTo>
                    <a:pt x="136" y="169"/>
                  </a:lnTo>
                  <a:lnTo>
                    <a:pt x="139" y="169"/>
                  </a:lnTo>
                  <a:lnTo>
                    <a:pt x="143" y="172"/>
                  </a:lnTo>
                  <a:lnTo>
                    <a:pt x="152" y="172"/>
                  </a:lnTo>
                  <a:lnTo>
                    <a:pt x="153" y="175"/>
                  </a:lnTo>
                  <a:lnTo>
                    <a:pt x="156" y="175"/>
                  </a:lnTo>
                  <a:lnTo>
                    <a:pt x="158" y="174"/>
                  </a:lnTo>
                  <a:lnTo>
                    <a:pt x="168" y="173"/>
                  </a:lnTo>
                  <a:lnTo>
                    <a:pt x="187" y="187"/>
                  </a:lnTo>
                  <a:lnTo>
                    <a:pt x="193" y="188"/>
                  </a:lnTo>
                  <a:lnTo>
                    <a:pt x="213" y="213"/>
                  </a:lnTo>
                  <a:lnTo>
                    <a:pt x="238" y="231"/>
                  </a:lnTo>
                  <a:lnTo>
                    <a:pt x="249" y="249"/>
                  </a:lnTo>
                  <a:lnTo>
                    <a:pt x="261" y="258"/>
                  </a:lnTo>
                  <a:lnTo>
                    <a:pt x="270" y="270"/>
                  </a:lnTo>
                  <a:lnTo>
                    <a:pt x="274" y="265"/>
                  </a:lnTo>
                  <a:lnTo>
                    <a:pt x="301" y="249"/>
                  </a:lnTo>
                  <a:lnTo>
                    <a:pt x="297" y="245"/>
                  </a:lnTo>
                  <a:lnTo>
                    <a:pt x="292" y="247"/>
                  </a:lnTo>
                  <a:lnTo>
                    <a:pt x="288" y="244"/>
                  </a:lnTo>
                  <a:lnTo>
                    <a:pt x="286" y="241"/>
                  </a:lnTo>
                  <a:lnTo>
                    <a:pt x="284" y="236"/>
                  </a:lnTo>
                  <a:lnTo>
                    <a:pt x="283" y="235"/>
                  </a:lnTo>
                  <a:lnTo>
                    <a:pt x="275" y="234"/>
                  </a:lnTo>
                  <a:lnTo>
                    <a:pt x="272" y="232"/>
                  </a:lnTo>
                  <a:lnTo>
                    <a:pt x="268" y="221"/>
                  </a:lnTo>
                  <a:lnTo>
                    <a:pt x="265" y="217"/>
                  </a:lnTo>
                  <a:lnTo>
                    <a:pt x="264" y="214"/>
                  </a:lnTo>
                  <a:lnTo>
                    <a:pt x="260" y="213"/>
                  </a:lnTo>
                  <a:lnTo>
                    <a:pt x="256" y="211"/>
                  </a:lnTo>
                  <a:lnTo>
                    <a:pt x="252" y="202"/>
                  </a:lnTo>
                  <a:lnTo>
                    <a:pt x="251" y="201"/>
                  </a:lnTo>
                  <a:lnTo>
                    <a:pt x="246" y="202"/>
                  </a:lnTo>
                  <a:lnTo>
                    <a:pt x="243" y="200"/>
                  </a:lnTo>
                  <a:lnTo>
                    <a:pt x="241" y="200"/>
                  </a:lnTo>
                  <a:lnTo>
                    <a:pt x="239" y="198"/>
                  </a:lnTo>
                  <a:lnTo>
                    <a:pt x="238" y="194"/>
                  </a:lnTo>
                  <a:lnTo>
                    <a:pt x="220" y="168"/>
                  </a:lnTo>
                  <a:lnTo>
                    <a:pt x="213" y="164"/>
                  </a:lnTo>
                  <a:lnTo>
                    <a:pt x="205" y="164"/>
                  </a:lnTo>
                  <a:lnTo>
                    <a:pt x="200" y="161"/>
                  </a:lnTo>
                  <a:lnTo>
                    <a:pt x="197" y="161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84" y="148"/>
                  </a:lnTo>
                  <a:lnTo>
                    <a:pt x="179" y="147"/>
                  </a:lnTo>
                  <a:lnTo>
                    <a:pt x="176" y="150"/>
                  </a:lnTo>
                  <a:lnTo>
                    <a:pt x="174" y="151"/>
                  </a:lnTo>
                  <a:lnTo>
                    <a:pt x="171" y="150"/>
                  </a:lnTo>
                  <a:lnTo>
                    <a:pt x="166" y="142"/>
                  </a:lnTo>
                  <a:lnTo>
                    <a:pt x="163" y="138"/>
                  </a:lnTo>
                  <a:lnTo>
                    <a:pt x="162" y="135"/>
                  </a:lnTo>
                  <a:lnTo>
                    <a:pt x="164" y="132"/>
                  </a:lnTo>
                  <a:lnTo>
                    <a:pt x="163" y="129"/>
                  </a:lnTo>
                  <a:lnTo>
                    <a:pt x="160" y="128"/>
                  </a:lnTo>
                  <a:lnTo>
                    <a:pt x="157" y="125"/>
                  </a:lnTo>
                  <a:lnTo>
                    <a:pt x="153" y="126"/>
                  </a:lnTo>
                  <a:lnTo>
                    <a:pt x="152" y="128"/>
                  </a:lnTo>
                  <a:lnTo>
                    <a:pt x="152" y="132"/>
                  </a:lnTo>
                  <a:lnTo>
                    <a:pt x="155" y="135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46" y="139"/>
                  </a:lnTo>
                  <a:lnTo>
                    <a:pt x="146" y="136"/>
                  </a:lnTo>
                  <a:lnTo>
                    <a:pt x="146" y="133"/>
                  </a:lnTo>
                  <a:lnTo>
                    <a:pt x="144" y="130"/>
                  </a:lnTo>
                  <a:lnTo>
                    <a:pt x="142" y="121"/>
                  </a:lnTo>
                  <a:lnTo>
                    <a:pt x="141" y="119"/>
                  </a:lnTo>
                  <a:lnTo>
                    <a:pt x="137" y="119"/>
                  </a:lnTo>
                  <a:lnTo>
                    <a:pt x="135" y="117"/>
                  </a:lnTo>
                  <a:lnTo>
                    <a:pt x="135" y="115"/>
                  </a:lnTo>
                  <a:lnTo>
                    <a:pt x="133" y="113"/>
                  </a:lnTo>
                  <a:lnTo>
                    <a:pt x="133" y="108"/>
                  </a:lnTo>
                  <a:lnTo>
                    <a:pt x="125" y="100"/>
                  </a:lnTo>
                  <a:lnTo>
                    <a:pt x="108" y="26"/>
                  </a:lnTo>
                  <a:lnTo>
                    <a:pt x="94" y="0"/>
                  </a:lnTo>
                  <a:lnTo>
                    <a:pt x="9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1" name="Freeform 78"/>
            <p:cNvSpPr>
              <a:spLocks/>
            </p:cNvSpPr>
            <p:nvPr/>
          </p:nvSpPr>
          <p:spPr bwMode="auto">
            <a:xfrm>
              <a:off x="4867990" y="3291872"/>
              <a:ext cx="93427" cy="96479"/>
            </a:xfrm>
            <a:custGeom>
              <a:avLst/>
              <a:gdLst>
                <a:gd name="T0" fmla="*/ 12 w 78"/>
                <a:gd name="T1" fmla="*/ 1 h 96"/>
                <a:gd name="T2" fmla="*/ 11 w 78"/>
                <a:gd name="T3" fmla="*/ 1 h 96"/>
                <a:gd name="T4" fmla="*/ 11 w 78"/>
                <a:gd name="T5" fmla="*/ 1 h 96"/>
                <a:gd name="T6" fmla="*/ 11 w 78"/>
                <a:gd name="T7" fmla="*/ 0 h 96"/>
                <a:gd name="T8" fmla="*/ 10 w 78"/>
                <a:gd name="T9" fmla="*/ 0 h 96"/>
                <a:gd name="T10" fmla="*/ 8 w 78"/>
                <a:gd name="T11" fmla="*/ 1 h 96"/>
                <a:gd name="T12" fmla="*/ 6 w 78"/>
                <a:gd name="T13" fmla="*/ 1 h 96"/>
                <a:gd name="T14" fmla="*/ 6 w 78"/>
                <a:gd name="T15" fmla="*/ 1 h 96"/>
                <a:gd name="T16" fmla="*/ 6 w 78"/>
                <a:gd name="T17" fmla="*/ 1 h 96"/>
                <a:gd name="T18" fmla="*/ 6 w 78"/>
                <a:gd name="T19" fmla="*/ 2 h 96"/>
                <a:gd name="T20" fmla="*/ 6 w 78"/>
                <a:gd name="T21" fmla="*/ 2 h 96"/>
                <a:gd name="T22" fmla="*/ 5 w 78"/>
                <a:gd name="T23" fmla="*/ 2 h 96"/>
                <a:gd name="T24" fmla="*/ 4 w 78"/>
                <a:gd name="T25" fmla="*/ 3 h 96"/>
                <a:gd name="T26" fmla="*/ 3 w 78"/>
                <a:gd name="T27" fmla="*/ 3 h 96"/>
                <a:gd name="T28" fmla="*/ 3 w 78"/>
                <a:gd name="T29" fmla="*/ 3 h 96"/>
                <a:gd name="T30" fmla="*/ 2 w 78"/>
                <a:gd name="T31" fmla="*/ 1 h 96"/>
                <a:gd name="T32" fmla="*/ 2 w 78"/>
                <a:gd name="T33" fmla="*/ 1 h 96"/>
                <a:gd name="T34" fmla="*/ 1 w 78"/>
                <a:gd name="T35" fmla="*/ 1 h 96"/>
                <a:gd name="T36" fmla="*/ 1 w 78"/>
                <a:gd name="T37" fmla="*/ 2 h 96"/>
                <a:gd name="T38" fmla="*/ 1 w 78"/>
                <a:gd name="T39" fmla="*/ 2 h 96"/>
                <a:gd name="T40" fmla="*/ 0 w 78"/>
                <a:gd name="T41" fmla="*/ 2 h 96"/>
                <a:gd name="T42" fmla="*/ 1 w 78"/>
                <a:gd name="T43" fmla="*/ 4 h 96"/>
                <a:gd name="T44" fmla="*/ 1 w 78"/>
                <a:gd name="T45" fmla="*/ 6 h 96"/>
                <a:gd name="T46" fmla="*/ 2 w 78"/>
                <a:gd name="T47" fmla="*/ 7 h 96"/>
                <a:gd name="T48" fmla="*/ 3 w 78"/>
                <a:gd name="T49" fmla="*/ 11 h 96"/>
                <a:gd name="T50" fmla="*/ 4 w 78"/>
                <a:gd name="T51" fmla="*/ 12 h 96"/>
                <a:gd name="T52" fmla="*/ 5 w 78"/>
                <a:gd name="T53" fmla="*/ 12 h 96"/>
                <a:gd name="T54" fmla="*/ 8 w 78"/>
                <a:gd name="T55" fmla="*/ 11 h 96"/>
                <a:gd name="T56" fmla="*/ 13 w 78"/>
                <a:gd name="T57" fmla="*/ 5 h 96"/>
                <a:gd name="T58" fmla="*/ 13 w 78"/>
                <a:gd name="T59" fmla="*/ 4 h 96"/>
                <a:gd name="T60" fmla="*/ 12 w 78"/>
                <a:gd name="T61" fmla="*/ 4 h 96"/>
                <a:gd name="T62" fmla="*/ 12 w 78"/>
                <a:gd name="T63" fmla="*/ 3 h 96"/>
                <a:gd name="T64" fmla="*/ 11 w 78"/>
                <a:gd name="T65" fmla="*/ 3 h 96"/>
                <a:gd name="T66" fmla="*/ 11 w 78"/>
                <a:gd name="T67" fmla="*/ 3 h 96"/>
                <a:gd name="T68" fmla="*/ 11 w 78"/>
                <a:gd name="T69" fmla="*/ 2 h 96"/>
                <a:gd name="T70" fmla="*/ 11 w 78"/>
                <a:gd name="T71" fmla="*/ 1 h 96"/>
                <a:gd name="T72" fmla="*/ 12 w 78"/>
                <a:gd name="T73" fmla="*/ 1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8"/>
                <a:gd name="T112" fmla="*/ 0 h 96"/>
                <a:gd name="T113" fmla="*/ 78 w 7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8" h="96">
                  <a:moveTo>
                    <a:pt x="70" y="4"/>
                  </a:moveTo>
                  <a:lnTo>
                    <a:pt x="68" y="1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9" y="4"/>
                  </a:lnTo>
                  <a:lnTo>
                    <a:pt x="41" y="3"/>
                  </a:lnTo>
                  <a:lnTo>
                    <a:pt x="39" y="5"/>
                  </a:lnTo>
                  <a:lnTo>
                    <a:pt x="38" y="7"/>
                  </a:lnTo>
                  <a:lnTo>
                    <a:pt x="38" y="14"/>
                  </a:lnTo>
                  <a:lnTo>
                    <a:pt x="35" y="19"/>
                  </a:lnTo>
                  <a:lnTo>
                    <a:pt x="28" y="19"/>
                  </a:lnTo>
                  <a:lnTo>
                    <a:pt x="24" y="21"/>
                  </a:lnTo>
                  <a:lnTo>
                    <a:pt x="19" y="22"/>
                  </a:lnTo>
                  <a:lnTo>
                    <a:pt x="17" y="21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6" y="8"/>
                  </a:lnTo>
                  <a:lnTo>
                    <a:pt x="2" y="1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8" y="29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16" y="84"/>
                  </a:lnTo>
                  <a:lnTo>
                    <a:pt x="25" y="96"/>
                  </a:lnTo>
                  <a:lnTo>
                    <a:pt x="27" y="94"/>
                  </a:lnTo>
                  <a:lnTo>
                    <a:pt x="48" y="88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6" y="29"/>
                  </a:lnTo>
                  <a:lnTo>
                    <a:pt x="73" y="26"/>
                  </a:lnTo>
                  <a:lnTo>
                    <a:pt x="68" y="25"/>
                  </a:lnTo>
                  <a:lnTo>
                    <a:pt x="64" y="22"/>
                  </a:lnTo>
                  <a:lnTo>
                    <a:pt x="64" y="14"/>
                  </a:lnTo>
                  <a:lnTo>
                    <a:pt x="65" y="8"/>
                  </a:lnTo>
                  <a:lnTo>
                    <a:pt x="70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2" name="Freeform 79"/>
            <p:cNvSpPr>
              <a:spLocks/>
            </p:cNvSpPr>
            <p:nvPr/>
          </p:nvSpPr>
          <p:spPr bwMode="auto">
            <a:xfrm>
              <a:off x="4867990" y="3291872"/>
              <a:ext cx="93427" cy="96479"/>
            </a:xfrm>
            <a:custGeom>
              <a:avLst/>
              <a:gdLst>
                <a:gd name="T0" fmla="*/ 12 w 78"/>
                <a:gd name="T1" fmla="*/ 1 h 96"/>
                <a:gd name="T2" fmla="*/ 11 w 78"/>
                <a:gd name="T3" fmla="*/ 1 h 96"/>
                <a:gd name="T4" fmla="*/ 11 w 78"/>
                <a:gd name="T5" fmla="*/ 1 h 96"/>
                <a:gd name="T6" fmla="*/ 11 w 78"/>
                <a:gd name="T7" fmla="*/ 0 h 96"/>
                <a:gd name="T8" fmla="*/ 10 w 78"/>
                <a:gd name="T9" fmla="*/ 0 h 96"/>
                <a:gd name="T10" fmla="*/ 8 w 78"/>
                <a:gd name="T11" fmla="*/ 1 h 96"/>
                <a:gd name="T12" fmla="*/ 6 w 78"/>
                <a:gd name="T13" fmla="*/ 1 h 96"/>
                <a:gd name="T14" fmla="*/ 6 w 78"/>
                <a:gd name="T15" fmla="*/ 1 h 96"/>
                <a:gd name="T16" fmla="*/ 6 w 78"/>
                <a:gd name="T17" fmla="*/ 1 h 96"/>
                <a:gd name="T18" fmla="*/ 6 w 78"/>
                <a:gd name="T19" fmla="*/ 2 h 96"/>
                <a:gd name="T20" fmla="*/ 6 w 78"/>
                <a:gd name="T21" fmla="*/ 2 h 96"/>
                <a:gd name="T22" fmla="*/ 5 w 78"/>
                <a:gd name="T23" fmla="*/ 2 h 96"/>
                <a:gd name="T24" fmla="*/ 4 w 78"/>
                <a:gd name="T25" fmla="*/ 3 h 96"/>
                <a:gd name="T26" fmla="*/ 3 w 78"/>
                <a:gd name="T27" fmla="*/ 3 h 96"/>
                <a:gd name="T28" fmla="*/ 3 w 78"/>
                <a:gd name="T29" fmla="*/ 3 h 96"/>
                <a:gd name="T30" fmla="*/ 2 w 78"/>
                <a:gd name="T31" fmla="*/ 1 h 96"/>
                <a:gd name="T32" fmla="*/ 2 w 78"/>
                <a:gd name="T33" fmla="*/ 1 h 96"/>
                <a:gd name="T34" fmla="*/ 1 w 78"/>
                <a:gd name="T35" fmla="*/ 1 h 96"/>
                <a:gd name="T36" fmla="*/ 1 w 78"/>
                <a:gd name="T37" fmla="*/ 2 h 96"/>
                <a:gd name="T38" fmla="*/ 1 w 78"/>
                <a:gd name="T39" fmla="*/ 2 h 96"/>
                <a:gd name="T40" fmla="*/ 0 w 78"/>
                <a:gd name="T41" fmla="*/ 2 h 96"/>
                <a:gd name="T42" fmla="*/ 1 w 78"/>
                <a:gd name="T43" fmla="*/ 4 h 96"/>
                <a:gd name="T44" fmla="*/ 1 w 78"/>
                <a:gd name="T45" fmla="*/ 6 h 96"/>
                <a:gd name="T46" fmla="*/ 2 w 78"/>
                <a:gd name="T47" fmla="*/ 7 h 96"/>
                <a:gd name="T48" fmla="*/ 3 w 78"/>
                <a:gd name="T49" fmla="*/ 11 h 96"/>
                <a:gd name="T50" fmla="*/ 4 w 78"/>
                <a:gd name="T51" fmla="*/ 12 h 96"/>
                <a:gd name="T52" fmla="*/ 5 w 78"/>
                <a:gd name="T53" fmla="*/ 12 h 96"/>
                <a:gd name="T54" fmla="*/ 8 w 78"/>
                <a:gd name="T55" fmla="*/ 11 h 96"/>
                <a:gd name="T56" fmla="*/ 13 w 78"/>
                <a:gd name="T57" fmla="*/ 5 h 96"/>
                <a:gd name="T58" fmla="*/ 13 w 78"/>
                <a:gd name="T59" fmla="*/ 4 h 96"/>
                <a:gd name="T60" fmla="*/ 12 w 78"/>
                <a:gd name="T61" fmla="*/ 4 h 96"/>
                <a:gd name="T62" fmla="*/ 12 w 78"/>
                <a:gd name="T63" fmla="*/ 3 h 96"/>
                <a:gd name="T64" fmla="*/ 11 w 78"/>
                <a:gd name="T65" fmla="*/ 3 h 96"/>
                <a:gd name="T66" fmla="*/ 11 w 78"/>
                <a:gd name="T67" fmla="*/ 3 h 96"/>
                <a:gd name="T68" fmla="*/ 11 w 78"/>
                <a:gd name="T69" fmla="*/ 2 h 96"/>
                <a:gd name="T70" fmla="*/ 11 w 78"/>
                <a:gd name="T71" fmla="*/ 1 h 96"/>
                <a:gd name="T72" fmla="*/ 12 w 78"/>
                <a:gd name="T73" fmla="*/ 1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8"/>
                <a:gd name="T112" fmla="*/ 0 h 96"/>
                <a:gd name="T113" fmla="*/ 78 w 7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8" h="96">
                  <a:moveTo>
                    <a:pt x="70" y="4"/>
                  </a:moveTo>
                  <a:lnTo>
                    <a:pt x="68" y="1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9" y="4"/>
                  </a:lnTo>
                  <a:lnTo>
                    <a:pt x="41" y="3"/>
                  </a:lnTo>
                  <a:lnTo>
                    <a:pt x="39" y="5"/>
                  </a:lnTo>
                  <a:lnTo>
                    <a:pt x="38" y="7"/>
                  </a:lnTo>
                  <a:lnTo>
                    <a:pt x="38" y="14"/>
                  </a:lnTo>
                  <a:lnTo>
                    <a:pt x="35" y="19"/>
                  </a:lnTo>
                  <a:lnTo>
                    <a:pt x="28" y="19"/>
                  </a:lnTo>
                  <a:lnTo>
                    <a:pt x="24" y="21"/>
                  </a:lnTo>
                  <a:lnTo>
                    <a:pt x="19" y="22"/>
                  </a:lnTo>
                  <a:lnTo>
                    <a:pt x="17" y="21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6" y="8"/>
                  </a:lnTo>
                  <a:lnTo>
                    <a:pt x="2" y="1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8" y="29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16" y="84"/>
                  </a:lnTo>
                  <a:lnTo>
                    <a:pt x="25" y="96"/>
                  </a:lnTo>
                  <a:lnTo>
                    <a:pt x="27" y="94"/>
                  </a:lnTo>
                  <a:lnTo>
                    <a:pt x="48" y="88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6" y="29"/>
                  </a:lnTo>
                  <a:lnTo>
                    <a:pt x="73" y="26"/>
                  </a:lnTo>
                  <a:lnTo>
                    <a:pt x="68" y="25"/>
                  </a:lnTo>
                  <a:lnTo>
                    <a:pt x="64" y="22"/>
                  </a:lnTo>
                  <a:lnTo>
                    <a:pt x="64" y="14"/>
                  </a:lnTo>
                  <a:lnTo>
                    <a:pt x="65" y="8"/>
                  </a:lnTo>
                  <a:lnTo>
                    <a:pt x="70" y="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3" name="Freeform 80"/>
            <p:cNvSpPr>
              <a:spLocks/>
            </p:cNvSpPr>
            <p:nvPr/>
          </p:nvSpPr>
          <p:spPr bwMode="auto">
            <a:xfrm>
              <a:off x="5067030" y="3616560"/>
              <a:ext cx="174667" cy="358085"/>
            </a:xfrm>
            <a:custGeom>
              <a:avLst/>
              <a:gdLst>
                <a:gd name="T0" fmla="*/ 8 w 145"/>
                <a:gd name="T1" fmla="*/ 1 h 359"/>
                <a:gd name="T2" fmla="*/ 7 w 145"/>
                <a:gd name="T3" fmla="*/ 1 h 359"/>
                <a:gd name="T4" fmla="*/ 5 w 145"/>
                <a:gd name="T5" fmla="*/ 1 h 359"/>
                <a:gd name="T6" fmla="*/ 3 w 145"/>
                <a:gd name="T7" fmla="*/ 1 h 359"/>
                <a:gd name="T8" fmla="*/ 1 w 145"/>
                <a:gd name="T9" fmla="*/ 1 h 359"/>
                <a:gd name="T10" fmla="*/ 2 w 145"/>
                <a:gd name="T11" fmla="*/ 1 h 359"/>
                <a:gd name="T12" fmla="*/ 3 w 145"/>
                <a:gd name="T13" fmla="*/ 2 h 359"/>
                <a:gd name="T14" fmla="*/ 5 w 145"/>
                <a:gd name="T15" fmla="*/ 4 h 359"/>
                <a:gd name="T16" fmla="*/ 7 w 145"/>
                <a:gd name="T17" fmla="*/ 6 h 359"/>
                <a:gd name="T18" fmla="*/ 7 w 145"/>
                <a:gd name="T19" fmla="*/ 7 h 359"/>
                <a:gd name="T20" fmla="*/ 6 w 145"/>
                <a:gd name="T21" fmla="*/ 8 h 359"/>
                <a:gd name="T22" fmla="*/ 5 w 145"/>
                <a:gd name="T23" fmla="*/ 9 h 359"/>
                <a:gd name="T24" fmla="*/ 4 w 145"/>
                <a:gd name="T25" fmla="*/ 12 h 359"/>
                <a:gd name="T26" fmla="*/ 5 w 145"/>
                <a:gd name="T27" fmla="*/ 17 h 359"/>
                <a:gd name="T28" fmla="*/ 5 w 145"/>
                <a:gd name="T29" fmla="*/ 17 h 359"/>
                <a:gd name="T30" fmla="*/ 4 w 145"/>
                <a:gd name="T31" fmla="*/ 18 h 359"/>
                <a:gd name="T32" fmla="*/ 2 w 145"/>
                <a:gd name="T33" fmla="*/ 18 h 359"/>
                <a:gd name="T34" fmla="*/ 1 w 145"/>
                <a:gd name="T35" fmla="*/ 23 h 359"/>
                <a:gd name="T36" fmla="*/ 0 w 145"/>
                <a:gd name="T37" fmla="*/ 24 h 359"/>
                <a:gd name="T38" fmla="*/ 1 w 145"/>
                <a:gd name="T39" fmla="*/ 25 h 359"/>
                <a:gd name="T40" fmla="*/ 2 w 145"/>
                <a:gd name="T41" fmla="*/ 26 h 359"/>
                <a:gd name="T42" fmla="*/ 3 w 145"/>
                <a:gd name="T43" fmla="*/ 26 h 359"/>
                <a:gd name="T44" fmla="*/ 5 w 145"/>
                <a:gd name="T45" fmla="*/ 28 h 359"/>
                <a:gd name="T46" fmla="*/ 7 w 145"/>
                <a:gd name="T47" fmla="*/ 30 h 359"/>
                <a:gd name="T48" fmla="*/ 13 w 145"/>
                <a:gd name="T49" fmla="*/ 28 h 359"/>
                <a:gd name="T50" fmla="*/ 14 w 145"/>
                <a:gd name="T51" fmla="*/ 33 h 359"/>
                <a:gd name="T52" fmla="*/ 13 w 145"/>
                <a:gd name="T53" fmla="*/ 35 h 359"/>
                <a:gd name="T54" fmla="*/ 12 w 145"/>
                <a:gd name="T55" fmla="*/ 36 h 359"/>
                <a:gd name="T56" fmla="*/ 12 w 145"/>
                <a:gd name="T57" fmla="*/ 38 h 359"/>
                <a:gd name="T58" fmla="*/ 14 w 145"/>
                <a:gd name="T59" fmla="*/ 39 h 359"/>
                <a:gd name="T60" fmla="*/ 17 w 145"/>
                <a:gd name="T61" fmla="*/ 41 h 359"/>
                <a:gd name="T62" fmla="*/ 18 w 145"/>
                <a:gd name="T63" fmla="*/ 42 h 359"/>
                <a:gd name="T64" fmla="*/ 18 w 145"/>
                <a:gd name="T65" fmla="*/ 44 h 359"/>
                <a:gd name="T66" fmla="*/ 20 w 145"/>
                <a:gd name="T67" fmla="*/ 44 h 359"/>
                <a:gd name="T68" fmla="*/ 20 w 145"/>
                <a:gd name="T69" fmla="*/ 42 h 359"/>
                <a:gd name="T70" fmla="*/ 19 w 145"/>
                <a:gd name="T71" fmla="*/ 41 h 359"/>
                <a:gd name="T72" fmla="*/ 20 w 145"/>
                <a:gd name="T73" fmla="*/ 40 h 359"/>
                <a:gd name="T74" fmla="*/ 20 w 145"/>
                <a:gd name="T75" fmla="*/ 39 h 359"/>
                <a:gd name="T76" fmla="*/ 24 w 145"/>
                <a:gd name="T77" fmla="*/ 37 h 359"/>
                <a:gd name="T78" fmla="*/ 24 w 145"/>
                <a:gd name="T79" fmla="*/ 34 h 359"/>
                <a:gd name="T80" fmla="*/ 25 w 145"/>
                <a:gd name="T81" fmla="*/ 31 h 359"/>
                <a:gd name="T82" fmla="*/ 17 w 145"/>
                <a:gd name="T83" fmla="*/ 24 h 359"/>
                <a:gd name="T84" fmla="*/ 16 w 145"/>
                <a:gd name="T85" fmla="*/ 24 h 359"/>
                <a:gd name="T86" fmla="*/ 17 w 145"/>
                <a:gd name="T87" fmla="*/ 25 h 359"/>
                <a:gd name="T88" fmla="*/ 19 w 145"/>
                <a:gd name="T89" fmla="*/ 28 h 359"/>
                <a:gd name="T90" fmla="*/ 18 w 145"/>
                <a:gd name="T91" fmla="*/ 28 h 359"/>
                <a:gd name="T92" fmla="*/ 18 w 145"/>
                <a:gd name="T93" fmla="*/ 27 h 359"/>
                <a:gd name="T94" fmla="*/ 17 w 145"/>
                <a:gd name="T95" fmla="*/ 26 h 359"/>
                <a:gd name="T96" fmla="*/ 16 w 145"/>
                <a:gd name="T97" fmla="*/ 26 h 359"/>
                <a:gd name="T98" fmla="*/ 15 w 145"/>
                <a:gd name="T99" fmla="*/ 27 h 359"/>
                <a:gd name="T100" fmla="*/ 14 w 145"/>
                <a:gd name="T101" fmla="*/ 27 h 359"/>
                <a:gd name="T102" fmla="*/ 14 w 145"/>
                <a:gd name="T103" fmla="*/ 26 h 359"/>
                <a:gd name="T104" fmla="*/ 14 w 145"/>
                <a:gd name="T105" fmla="*/ 25 h 359"/>
                <a:gd name="T106" fmla="*/ 12 w 145"/>
                <a:gd name="T107" fmla="*/ 23 h 359"/>
                <a:gd name="T108" fmla="*/ 12 w 145"/>
                <a:gd name="T109" fmla="*/ 21 h 359"/>
                <a:gd name="T110" fmla="*/ 9 w 145"/>
                <a:gd name="T111" fmla="*/ 16 h 359"/>
                <a:gd name="T112" fmla="*/ 12 w 145"/>
                <a:gd name="T113" fmla="*/ 13 h 359"/>
                <a:gd name="T114" fmla="*/ 12 w 145"/>
                <a:gd name="T115" fmla="*/ 6 h 359"/>
                <a:gd name="T116" fmla="*/ 11 w 145"/>
                <a:gd name="T117" fmla="*/ 5 h 359"/>
                <a:gd name="T118" fmla="*/ 9 w 145"/>
                <a:gd name="T119" fmla="*/ 3 h 359"/>
                <a:gd name="T120" fmla="*/ 9 w 145"/>
                <a:gd name="T121" fmla="*/ 1 h 35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5"/>
                <a:gd name="T184" fmla="*/ 0 h 359"/>
                <a:gd name="T185" fmla="*/ 145 w 145"/>
                <a:gd name="T186" fmla="*/ 359 h 35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5" h="359">
                  <a:moveTo>
                    <a:pt x="52" y="14"/>
                  </a:moveTo>
                  <a:lnTo>
                    <a:pt x="49" y="9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34" y="10"/>
                  </a:lnTo>
                  <a:lnTo>
                    <a:pt x="32" y="9"/>
                  </a:lnTo>
                  <a:lnTo>
                    <a:pt x="28" y="5"/>
                  </a:lnTo>
                  <a:lnTo>
                    <a:pt x="20" y="5"/>
                  </a:lnTo>
                  <a:lnTo>
                    <a:pt x="11" y="0"/>
                  </a:lnTo>
                  <a:lnTo>
                    <a:pt x="9" y="1"/>
                  </a:lnTo>
                  <a:lnTo>
                    <a:pt x="9" y="5"/>
                  </a:lnTo>
                  <a:lnTo>
                    <a:pt x="11" y="7"/>
                  </a:lnTo>
                  <a:lnTo>
                    <a:pt x="12" y="11"/>
                  </a:lnTo>
                  <a:lnTo>
                    <a:pt x="20" y="11"/>
                  </a:lnTo>
                  <a:lnTo>
                    <a:pt x="27" y="23"/>
                  </a:lnTo>
                  <a:lnTo>
                    <a:pt x="30" y="32"/>
                  </a:lnTo>
                  <a:lnTo>
                    <a:pt x="35" y="36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2" y="59"/>
                  </a:lnTo>
                  <a:lnTo>
                    <a:pt x="41" y="62"/>
                  </a:lnTo>
                  <a:lnTo>
                    <a:pt x="35" y="66"/>
                  </a:lnTo>
                  <a:lnTo>
                    <a:pt x="33" y="67"/>
                  </a:lnTo>
                  <a:lnTo>
                    <a:pt x="30" y="69"/>
                  </a:lnTo>
                  <a:lnTo>
                    <a:pt x="28" y="85"/>
                  </a:lnTo>
                  <a:lnTo>
                    <a:pt x="23" y="99"/>
                  </a:lnTo>
                  <a:lnTo>
                    <a:pt x="24" y="132"/>
                  </a:lnTo>
                  <a:lnTo>
                    <a:pt x="27" y="135"/>
                  </a:lnTo>
                  <a:lnTo>
                    <a:pt x="32" y="137"/>
                  </a:lnTo>
                  <a:lnTo>
                    <a:pt x="33" y="143"/>
                  </a:lnTo>
                  <a:lnTo>
                    <a:pt x="32" y="145"/>
                  </a:lnTo>
                  <a:lnTo>
                    <a:pt x="23" y="147"/>
                  </a:lnTo>
                  <a:lnTo>
                    <a:pt x="19" y="150"/>
                  </a:lnTo>
                  <a:lnTo>
                    <a:pt x="14" y="152"/>
                  </a:lnTo>
                  <a:lnTo>
                    <a:pt x="13" y="153"/>
                  </a:lnTo>
                  <a:lnTo>
                    <a:pt x="6" y="189"/>
                  </a:lnTo>
                  <a:lnTo>
                    <a:pt x="1" y="195"/>
                  </a:lnTo>
                  <a:lnTo>
                    <a:pt x="0" y="198"/>
                  </a:lnTo>
                  <a:lnTo>
                    <a:pt x="2" y="206"/>
                  </a:lnTo>
                  <a:lnTo>
                    <a:pt x="6" y="208"/>
                  </a:lnTo>
                  <a:lnTo>
                    <a:pt x="8" y="213"/>
                  </a:lnTo>
                  <a:lnTo>
                    <a:pt x="15" y="213"/>
                  </a:lnTo>
                  <a:lnTo>
                    <a:pt x="17" y="214"/>
                  </a:lnTo>
                  <a:lnTo>
                    <a:pt x="19" y="217"/>
                  </a:lnTo>
                  <a:lnTo>
                    <a:pt x="23" y="219"/>
                  </a:lnTo>
                  <a:lnTo>
                    <a:pt x="31" y="232"/>
                  </a:lnTo>
                  <a:lnTo>
                    <a:pt x="39" y="241"/>
                  </a:lnTo>
                  <a:lnTo>
                    <a:pt x="42" y="242"/>
                  </a:lnTo>
                  <a:lnTo>
                    <a:pt x="73" y="235"/>
                  </a:lnTo>
                  <a:lnTo>
                    <a:pt x="76" y="236"/>
                  </a:lnTo>
                  <a:lnTo>
                    <a:pt x="80" y="241"/>
                  </a:lnTo>
                  <a:lnTo>
                    <a:pt x="84" y="274"/>
                  </a:lnTo>
                  <a:lnTo>
                    <a:pt x="82" y="279"/>
                  </a:lnTo>
                  <a:lnTo>
                    <a:pt x="77" y="285"/>
                  </a:lnTo>
                  <a:lnTo>
                    <a:pt x="78" y="291"/>
                  </a:lnTo>
                  <a:lnTo>
                    <a:pt x="73" y="295"/>
                  </a:lnTo>
                  <a:lnTo>
                    <a:pt x="71" y="305"/>
                  </a:lnTo>
                  <a:lnTo>
                    <a:pt x="73" y="308"/>
                  </a:lnTo>
                  <a:lnTo>
                    <a:pt x="77" y="320"/>
                  </a:lnTo>
                  <a:lnTo>
                    <a:pt x="80" y="323"/>
                  </a:lnTo>
                  <a:lnTo>
                    <a:pt x="83" y="325"/>
                  </a:lnTo>
                  <a:lnTo>
                    <a:pt x="97" y="342"/>
                  </a:lnTo>
                  <a:lnTo>
                    <a:pt x="106" y="346"/>
                  </a:lnTo>
                  <a:lnTo>
                    <a:pt x="109" y="350"/>
                  </a:lnTo>
                  <a:lnTo>
                    <a:pt x="109" y="353"/>
                  </a:lnTo>
                  <a:lnTo>
                    <a:pt x="105" y="358"/>
                  </a:lnTo>
                  <a:lnTo>
                    <a:pt x="106" y="359"/>
                  </a:lnTo>
                  <a:lnTo>
                    <a:pt x="116" y="359"/>
                  </a:lnTo>
                  <a:lnTo>
                    <a:pt x="117" y="358"/>
                  </a:lnTo>
                  <a:lnTo>
                    <a:pt x="117" y="345"/>
                  </a:lnTo>
                  <a:lnTo>
                    <a:pt x="115" y="341"/>
                  </a:lnTo>
                  <a:lnTo>
                    <a:pt x="112" y="339"/>
                  </a:lnTo>
                  <a:lnTo>
                    <a:pt x="112" y="334"/>
                  </a:lnTo>
                  <a:lnTo>
                    <a:pt x="115" y="327"/>
                  </a:lnTo>
                  <a:lnTo>
                    <a:pt x="115" y="324"/>
                  </a:lnTo>
                  <a:lnTo>
                    <a:pt x="116" y="320"/>
                  </a:lnTo>
                  <a:lnTo>
                    <a:pt x="137" y="311"/>
                  </a:lnTo>
                  <a:lnTo>
                    <a:pt x="140" y="307"/>
                  </a:lnTo>
                  <a:lnTo>
                    <a:pt x="141" y="289"/>
                  </a:lnTo>
                  <a:lnTo>
                    <a:pt x="143" y="283"/>
                  </a:lnTo>
                  <a:lnTo>
                    <a:pt x="140" y="271"/>
                  </a:lnTo>
                  <a:lnTo>
                    <a:pt x="145" y="256"/>
                  </a:lnTo>
                  <a:lnTo>
                    <a:pt x="142" y="246"/>
                  </a:lnTo>
                  <a:lnTo>
                    <a:pt x="97" y="191"/>
                  </a:lnTo>
                  <a:lnTo>
                    <a:pt x="95" y="192"/>
                  </a:lnTo>
                  <a:lnTo>
                    <a:pt x="95" y="198"/>
                  </a:lnTo>
                  <a:lnTo>
                    <a:pt x="97" y="203"/>
                  </a:lnTo>
                  <a:lnTo>
                    <a:pt x="102" y="206"/>
                  </a:lnTo>
                  <a:lnTo>
                    <a:pt x="104" y="208"/>
                  </a:lnTo>
                  <a:lnTo>
                    <a:pt x="112" y="228"/>
                  </a:lnTo>
                  <a:lnTo>
                    <a:pt x="112" y="233"/>
                  </a:lnTo>
                  <a:lnTo>
                    <a:pt x="111" y="234"/>
                  </a:lnTo>
                  <a:lnTo>
                    <a:pt x="109" y="233"/>
                  </a:lnTo>
                  <a:lnTo>
                    <a:pt x="104" y="226"/>
                  </a:lnTo>
                  <a:lnTo>
                    <a:pt x="100" y="224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1" y="225"/>
                  </a:lnTo>
                  <a:lnTo>
                    <a:pt x="89" y="226"/>
                  </a:lnTo>
                  <a:lnTo>
                    <a:pt x="85" y="226"/>
                  </a:lnTo>
                  <a:lnTo>
                    <a:pt x="83" y="225"/>
                  </a:lnTo>
                  <a:lnTo>
                    <a:pt x="81" y="221"/>
                  </a:lnTo>
                  <a:lnTo>
                    <a:pt x="80" y="214"/>
                  </a:lnTo>
                  <a:lnTo>
                    <a:pt x="82" y="207"/>
                  </a:lnTo>
                  <a:lnTo>
                    <a:pt x="82" y="203"/>
                  </a:lnTo>
                  <a:lnTo>
                    <a:pt x="75" y="195"/>
                  </a:lnTo>
                  <a:lnTo>
                    <a:pt x="71" y="185"/>
                  </a:lnTo>
                  <a:lnTo>
                    <a:pt x="71" y="174"/>
                  </a:lnTo>
                  <a:lnTo>
                    <a:pt x="70" y="174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6" y="128"/>
                  </a:lnTo>
                  <a:lnTo>
                    <a:pt x="68" y="106"/>
                  </a:lnTo>
                  <a:lnTo>
                    <a:pt x="65" y="58"/>
                  </a:lnTo>
                  <a:lnTo>
                    <a:pt x="67" y="52"/>
                  </a:lnTo>
                  <a:lnTo>
                    <a:pt x="67" y="47"/>
                  </a:lnTo>
                  <a:lnTo>
                    <a:pt x="64" y="41"/>
                  </a:lnTo>
                  <a:lnTo>
                    <a:pt x="56" y="37"/>
                  </a:lnTo>
                  <a:lnTo>
                    <a:pt x="51" y="26"/>
                  </a:lnTo>
                  <a:lnTo>
                    <a:pt x="52" y="14"/>
                  </a:lnTo>
                  <a:lnTo>
                    <a:pt x="56" y="8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" name="Freeform 81"/>
            <p:cNvSpPr>
              <a:spLocks/>
            </p:cNvSpPr>
            <p:nvPr/>
          </p:nvSpPr>
          <p:spPr bwMode="auto">
            <a:xfrm>
              <a:off x="5067030" y="3616560"/>
              <a:ext cx="174667" cy="358085"/>
            </a:xfrm>
            <a:custGeom>
              <a:avLst/>
              <a:gdLst>
                <a:gd name="T0" fmla="*/ 8 w 145"/>
                <a:gd name="T1" fmla="*/ 1 h 359"/>
                <a:gd name="T2" fmla="*/ 7 w 145"/>
                <a:gd name="T3" fmla="*/ 1 h 359"/>
                <a:gd name="T4" fmla="*/ 5 w 145"/>
                <a:gd name="T5" fmla="*/ 1 h 359"/>
                <a:gd name="T6" fmla="*/ 3 w 145"/>
                <a:gd name="T7" fmla="*/ 1 h 359"/>
                <a:gd name="T8" fmla="*/ 1 w 145"/>
                <a:gd name="T9" fmla="*/ 1 h 359"/>
                <a:gd name="T10" fmla="*/ 2 w 145"/>
                <a:gd name="T11" fmla="*/ 1 h 359"/>
                <a:gd name="T12" fmla="*/ 3 w 145"/>
                <a:gd name="T13" fmla="*/ 2 h 359"/>
                <a:gd name="T14" fmla="*/ 5 w 145"/>
                <a:gd name="T15" fmla="*/ 4 h 359"/>
                <a:gd name="T16" fmla="*/ 7 w 145"/>
                <a:gd name="T17" fmla="*/ 6 h 359"/>
                <a:gd name="T18" fmla="*/ 7 w 145"/>
                <a:gd name="T19" fmla="*/ 7 h 359"/>
                <a:gd name="T20" fmla="*/ 6 w 145"/>
                <a:gd name="T21" fmla="*/ 8 h 359"/>
                <a:gd name="T22" fmla="*/ 5 w 145"/>
                <a:gd name="T23" fmla="*/ 9 h 359"/>
                <a:gd name="T24" fmla="*/ 4 w 145"/>
                <a:gd name="T25" fmla="*/ 12 h 359"/>
                <a:gd name="T26" fmla="*/ 5 w 145"/>
                <a:gd name="T27" fmla="*/ 17 h 359"/>
                <a:gd name="T28" fmla="*/ 5 w 145"/>
                <a:gd name="T29" fmla="*/ 17 h 359"/>
                <a:gd name="T30" fmla="*/ 4 w 145"/>
                <a:gd name="T31" fmla="*/ 18 h 359"/>
                <a:gd name="T32" fmla="*/ 2 w 145"/>
                <a:gd name="T33" fmla="*/ 18 h 359"/>
                <a:gd name="T34" fmla="*/ 1 w 145"/>
                <a:gd name="T35" fmla="*/ 23 h 359"/>
                <a:gd name="T36" fmla="*/ 0 w 145"/>
                <a:gd name="T37" fmla="*/ 24 h 359"/>
                <a:gd name="T38" fmla="*/ 1 w 145"/>
                <a:gd name="T39" fmla="*/ 25 h 359"/>
                <a:gd name="T40" fmla="*/ 2 w 145"/>
                <a:gd name="T41" fmla="*/ 26 h 359"/>
                <a:gd name="T42" fmla="*/ 3 w 145"/>
                <a:gd name="T43" fmla="*/ 26 h 359"/>
                <a:gd name="T44" fmla="*/ 5 w 145"/>
                <a:gd name="T45" fmla="*/ 28 h 359"/>
                <a:gd name="T46" fmla="*/ 7 w 145"/>
                <a:gd name="T47" fmla="*/ 30 h 359"/>
                <a:gd name="T48" fmla="*/ 13 w 145"/>
                <a:gd name="T49" fmla="*/ 28 h 359"/>
                <a:gd name="T50" fmla="*/ 14 w 145"/>
                <a:gd name="T51" fmla="*/ 33 h 359"/>
                <a:gd name="T52" fmla="*/ 13 w 145"/>
                <a:gd name="T53" fmla="*/ 35 h 359"/>
                <a:gd name="T54" fmla="*/ 12 w 145"/>
                <a:gd name="T55" fmla="*/ 36 h 359"/>
                <a:gd name="T56" fmla="*/ 12 w 145"/>
                <a:gd name="T57" fmla="*/ 38 h 359"/>
                <a:gd name="T58" fmla="*/ 14 w 145"/>
                <a:gd name="T59" fmla="*/ 39 h 359"/>
                <a:gd name="T60" fmla="*/ 17 w 145"/>
                <a:gd name="T61" fmla="*/ 41 h 359"/>
                <a:gd name="T62" fmla="*/ 18 w 145"/>
                <a:gd name="T63" fmla="*/ 42 h 359"/>
                <a:gd name="T64" fmla="*/ 18 w 145"/>
                <a:gd name="T65" fmla="*/ 44 h 359"/>
                <a:gd name="T66" fmla="*/ 20 w 145"/>
                <a:gd name="T67" fmla="*/ 44 h 359"/>
                <a:gd name="T68" fmla="*/ 20 w 145"/>
                <a:gd name="T69" fmla="*/ 42 h 359"/>
                <a:gd name="T70" fmla="*/ 19 w 145"/>
                <a:gd name="T71" fmla="*/ 41 h 359"/>
                <a:gd name="T72" fmla="*/ 20 w 145"/>
                <a:gd name="T73" fmla="*/ 40 h 359"/>
                <a:gd name="T74" fmla="*/ 20 w 145"/>
                <a:gd name="T75" fmla="*/ 39 h 359"/>
                <a:gd name="T76" fmla="*/ 24 w 145"/>
                <a:gd name="T77" fmla="*/ 37 h 359"/>
                <a:gd name="T78" fmla="*/ 24 w 145"/>
                <a:gd name="T79" fmla="*/ 34 h 359"/>
                <a:gd name="T80" fmla="*/ 25 w 145"/>
                <a:gd name="T81" fmla="*/ 31 h 359"/>
                <a:gd name="T82" fmla="*/ 17 w 145"/>
                <a:gd name="T83" fmla="*/ 24 h 359"/>
                <a:gd name="T84" fmla="*/ 16 w 145"/>
                <a:gd name="T85" fmla="*/ 24 h 359"/>
                <a:gd name="T86" fmla="*/ 17 w 145"/>
                <a:gd name="T87" fmla="*/ 25 h 359"/>
                <a:gd name="T88" fmla="*/ 19 w 145"/>
                <a:gd name="T89" fmla="*/ 28 h 359"/>
                <a:gd name="T90" fmla="*/ 18 w 145"/>
                <a:gd name="T91" fmla="*/ 28 h 359"/>
                <a:gd name="T92" fmla="*/ 18 w 145"/>
                <a:gd name="T93" fmla="*/ 27 h 359"/>
                <a:gd name="T94" fmla="*/ 17 w 145"/>
                <a:gd name="T95" fmla="*/ 26 h 359"/>
                <a:gd name="T96" fmla="*/ 16 w 145"/>
                <a:gd name="T97" fmla="*/ 26 h 359"/>
                <a:gd name="T98" fmla="*/ 15 w 145"/>
                <a:gd name="T99" fmla="*/ 27 h 359"/>
                <a:gd name="T100" fmla="*/ 14 w 145"/>
                <a:gd name="T101" fmla="*/ 27 h 359"/>
                <a:gd name="T102" fmla="*/ 14 w 145"/>
                <a:gd name="T103" fmla="*/ 26 h 359"/>
                <a:gd name="T104" fmla="*/ 14 w 145"/>
                <a:gd name="T105" fmla="*/ 25 h 359"/>
                <a:gd name="T106" fmla="*/ 12 w 145"/>
                <a:gd name="T107" fmla="*/ 23 h 359"/>
                <a:gd name="T108" fmla="*/ 12 w 145"/>
                <a:gd name="T109" fmla="*/ 21 h 359"/>
                <a:gd name="T110" fmla="*/ 9 w 145"/>
                <a:gd name="T111" fmla="*/ 16 h 359"/>
                <a:gd name="T112" fmla="*/ 12 w 145"/>
                <a:gd name="T113" fmla="*/ 13 h 359"/>
                <a:gd name="T114" fmla="*/ 12 w 145"/>
                <a:gd name="T115" fmla="*/ 6 h 359"/>
                <a:gd name="T116" fmla="*/ 11 w 145"/>
                <a:gd name="T117" fmla="*/ 5 h 359"/>
                <a:gd name="T118" fmla="*/ 9 w 145"/>
                <a:gd name="T119" fmla="*/ 3 h 359"/>
                <a:gd name="T120" fmla="*/ 9 w 145"/>
                <a:gd name="T121" fmla="*/ 1 h 35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5"/>
                <a:gd name="T184" fmla="*/ 0 h 359"/>
                <a:gd name="T185" fmla="*/ 145 w 145"/>
                <a:gd name="T186" fmla="*/ 359 h 35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5" h="359">
                  <a:moveTo>
                    <a:pt x="52" y="14"/>
                  </a:moveTo>
                  <a:lnTo>
                    <a:pt x="49" y="9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34" y="10"/>
                  </a:lnTo>
                  <a:lnTo>
                    <a:pt x="32" y="9"/>
                  </a:lnTo>
                  <a:lnTo>
                    <a:pt x="28" y="5"/>
                  </a:lnTo>
                  <a:lnTo>
                    <a:pt x="20" y="5"/>
                  </a:lnTo>
                  <a:lnTo>
                    <a:pt x="11" y="0"/>
                  </a:lnTo>
                  <a:lnTo>
                    <a:pt x="9" y="1"/>
                  </a:lnTo>
                  <a:lnTo>
                    <a:pt x="9" y="5"/>
                  </a:lnTo>
                  <a:lnTo>
                    <a:pt x="11" y="7"/>
                  </a:lnTo>
                  <a:lnTo>
                    <a:pt x="12" y="11"/>
                  </a:lnTo>
                  <a:lnTo>
                    <a:pt x="20" y="11"/>
                  </a:lnTo>
                  <a:lnTo>
                    <a:pt x="27" y="23"/>
                  </a:lnTo>
                  <a:lnTo>
                    <a:pt x="30" y="32"/>
                  </a:lnTo>
                  <a:lnTo>
                    <a:pt x="35" y="36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2" y="59"/>
                  </a:lnTo>
                  <a:lnTo>
                    <a:pt x="41" y="62"/>
                  </a:lnTo>
                  <a:lnTo>
                    <a:pt x="35" y="66"/>
                  </a:lnTo>
                  <a:lnTo>
                    <a:pt x="33" y="67"/>
                  </a:lnTo>
                  <a:lnTo>
                    <a:pt x="30" y="69"/>
                  </a:lnTo>
                  <a:lnTo>
                    <a:pt x="28" y="85"/>
                  </a:lnTo>
                  <a:lnTo>
                    <a:pt x="23" y="99"/>
                  </a:lnTo>
                  <a:lnTo>
                    <a:pt x="24" y="132"/>
                  </a:lnTo>
                  <a:lnTo>
                    <a:pt x="27" y="135"/>
                  </a:lnTo>
                  <a:lnTo>
                    <a:pt x="32" y="137"/>
                  </a:lnTo>
                  <a:lnTo>
                    <a:pt x="33" y="143"/>
                  </a:lnTo>
                  <a:lnTo>
                    <a:pt x="32" y="145"/>
                  </a:lnTo>
                  <a:lnTo>
                    <a:pt x="23" y="147"/>
                  </a:lnTo>
                  <a:lnTo>
                    <a:pt x="19" y="150"/>
                  </a:lnTo>
                  <a:lnTo>
                    <a:pt x="14" y="152"/>
                  </a:lnTo>
                  <a:lnTo>
                    <a:pt x="13" y="153"/>
                  </a:lnTo>
                  <a:lnTo>
                    <a:pt x="6" y="189"/>
                  </a:lnTo>
                  <a:lnTo>
                    <a:pt x="1" y="195"/>
                  </a:lnTo>
                  <a:lnTo>
                    <a:pt x="0" y="198"/>
                  </a:lnTo>
                  <a:lnTo>
                    <a:pt x="2" y="206"/>
                  </a:lnTo>
                  <a:lnTo>
                    <a:pt x="6" y="208"/>
                  </a:lnTo>
                  <a:lnTo>
                    <a:pt x="8" y="213"/>
                  </a:lnTo>
                  <a:lnTo>
                    <a:pt x="15" y="213"/>
                  </a:lnTo>
                  <a:lnTo>
                    <a:pt x="17" y="214"/>
                  </a:lnTo>
                  <a:lnTo>
                    <a:pt x="19" y="217"/>
                  </a:lnTo>
                  <a:lnTo>
                    <a:pt x="23" y="219"/>
                  </a:lnTo>
                  <a:lnTo>
                    <a:pt x="31" y="232"/>
                  </a:lnTo>
                  <a:lnTo>
                    <a:pt x="39" y="241"/>
                  </a:lnTo>
                  <a:lnTo>
                    <a:pt x="42" y="242"/>
                  </a:lnTo>
                  <a:lnTo>
                    <a:pt x="73" y="235"/>
                  </a:lnTo>
                  <a:lnTo>
                    <a:pt x="76" y="236"/>
                  </a:lnTo>
                  <a:lnTo>
                    <a:pt x="80" y="241"/>
                  </a:lnTo>
                  <a:lnTo>
                    <a:pt x="84" y="274"/>
                  </a:lnTo>
                  <a:lnTo>
                    <a:pt x="82" y="279"/>
                  </a:lnTo>
                  <a:lnTo>
                    <a:pt x="77" y="285"/>
                  </a:lnTo>
                  <a:lnTo>
                    <a:pt x="78" y="291"/>
                  </a:lnTo>
                  <a:lnTo>
                    <a:pt x="73" y="295"/>
                  </a:lnTo>
                  <a:lnTo>
                    <a:pt x="71" y="305"/>
                  </a:lnTo>
                  <a:lnTo>
                    <a:pt x="73" y="308"/>
                  </a:lnTo>
                  <a:lnTo>
                    <a:pt x="77" y="320"/>
                  </a:lnTo>
                  <a:lnTo>
                    <a:pt x="80" y="323"/>
                  </a:lnTo>
                  <a:lnTo>
                    <a:pt x="83" y="325"/>
                  </a:lnTo>
                  <a:lnTo>
                    <a:pt x="97" y="342"/>
                  </a:lnTo>
                  <a:lnTo>
                    <a:pt x="106" y="346"/>
                  </a:lnTo>
                  <a:lnTo>
                    <a:pt x="109" y="350"/>
                  </a:lnTo>
                  <a:lnTo>
                    <a:pt x="109" y="353"/>
                  </a:lnTo>
                  <a:lnTo>
                    <a:pt x="105" y="358"/>
                  </a:lnTo>
                  <a:lnTo>
                    <a:pt x="106" y="359"/>
                  </a:lnTo>
                  <a:lnTo>
                    <a:pt x="116" y="359"/>
                  </a:lnTo>
                  <a:lnTo>
                    <a:pt x="117" y="358"/>
                  </a:lnTo>
                  <a:lnTo>
                    <a:pt x="117" y="345"/>
                  </a:lnTo>
                  <a:lnTo>
                    <a:pt x="115" y="341"/>
                  </a:lnTo>
                  <a:lnTo>
                    <a:pt x="112" y="339"/>
                  </a:lnTo>
                  <a:lnTo>
                    <a:pt x="112" y="334"/>
                  </a:lnTo>
                  <a:lnTo>
                    <a:pt x="115" y="327"/>
                  </a:lnTo>
                  <a:lnTo>
                    <a:pt x="115" y="324"/>
                  </a:lnTo>
                  <a:lnTo>
                    <a:pt x="116" y="320"/>
                  </a:lnTo>
                  <a:lnTo>
                    <a:pt x="137" y="311"/>
                  </a:lnTo>
                  <a:lnTo>
                    <a:pt x="140" y="307"/>
                  </a:lnTo>
                  <a:lnTo>
                    <a:pt x="141" y="289"/>
                  </a:lnTo>
                  <a:lnTo>
                    <a:pt x="143" y="283"/>
                  </a:lnTo>
                  <a:lnTo>
                    <a:pt x="140" y="271"/>
                  </a:lnTo>
                  <a:lnTo>
                    <a:pt x="145" y="256"/>
                  </a:lnTo>
                  <a:lnTo>
                    <a:pt x="142" y="246"/>
                  </a:lnTo>
                  <a:lnTo>
                    <a:pt x="97" y="191"/>
                  </a:lnTo>
                  <a:lnTo>
                    <a:pt x="95" y="192"/>
                  </a:lnTo>
                  <a:lnTo>
                    <a:pt x="95" y="198"/>
                  </a:lnTo>
                  <a:lnTo>
                    <a:pt x="97" y="203"/>
                  </a:lnTo>
                  <a:lnTo>
                    <a:pt x="102" y="206"/>
                  </a:lnTo>
                  <a:lnTo>
                    <a:pt x="104" y="208"/>
                  </a:lnTo>
                  <a:lnTo>
                    <a:pt x="112" y="228"/>
                  </a:lnTo>
                  <a:lnTo>
                    <a:pt x="112" y="233"/>
                  </a:lnTo>
                  <a:lnTo>
                    <a:pt x="111" y="234"/>
                  </a:lnTo>
                  <a:lnTo>
                    <a:pt x="109" y="233"/>
                  </a:lnTo>
                  <a:lnTo>
                    <a:pt x="104" y="226"/>
                  </a:lnTo>
                  <a:lnTo>
                    <a:pt x="100" y="224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1" y="225"/>
                  </a:lnTo>
                  <a:lnTo>
                    <a:pt x="89" y="226"/>
                  </a:lnTo>
                  <a:lnTo>
                    <a:pt x="85" y="226"/>
                  </a:lnTo>
                  <a:lnTo>
                    <a:pt x="83" y="225"/>
                  </a:lnTo>
                  <a:lnTo>
                    <a:pt x="81" y="221"/>
                  </a:lnTo>
                  <a:lnTo>
                    <a:pt x="80" y="214"/>
                  </a:lnTo>
                  <a:lnTo>
                    <a:pt x="82" y="207"/>
                  </a:lnTo>
                  <a:lnTo>
                    <a:pt x="82" y="203"/>
                  </a:lnTo>
                  <a:lnTo>
                    <a:pt x="75" y="195"/>
                  </a:lnTo>
                  <a:lnTo>
                    <a:pt x="71" y="185"/>
                  </a:lnTo>
                  <a:lnTo>
                    <a:pt x="71" y="174"/>
                  </a:lnTo>
                  <a:lnTo>
                    <a:pt x="70" y="174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6" y="128"/>
                  </a:lnTo>
                  <a:lnTo>
                    <a:pt x="68" y="106"/>
                  </a:lnTo>
                  <a:lnTo>
                    <a:pt x="65" y="58"/>
                  </a:lnTo>
                  <a:lnTo>
                    <a:pt x="67" y="52"/>
                  </a:lnTo>
                  <a:lnTo>
                    <a:pt x="67" y="47"/>
                  </a:lnTo>
                  <a:lnTo>
                    <a:pt x="64" y="41"/>
                  </a:lnTo>
                  <a:lnTo>
                    <a:pt x="56" y="37"/>
                  </a:lnTo>
                  <a:lnTo>
                    <a:pt x="51" y="26"/>
                  </a:lnTo>
                  <a:lnTo>
                    <a:pt x="52" y="14"/>
                  </a:lnTo>
                  <a:lnTo>
                    <a:pt x="56" y="8"/>
                  </a:lnTo>
                  <a:lnTo>
                    <a:pt x="52" y="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" name="Freeform 82"/>
            <p:cNvSpPr>
              <a:spLocks/>
            </p:cNvSpPr>
            <p:nvPr/>
          </p:nvSpPr>
          <p:spPr bwMode="auto">
            <a:xfrm>
              <a:off x="5690553" y="1206446"/>
              <a:ext cx="1054097" cy="803372"/>
            </a:xfrm>
            <a:custGeom>
              <a:avLst/>
              <a:gdLst>
                <a:gd name="T0" fmla="*/ 134 w 877"/>
                <a:gd name="T1" fmla="*/ 99 h 803"/>
                <a:gd name="T2" fmla="*/ 125 w 877"/>
                <a:gd name="T3" fmla="*/ 98 h 803"/>
                <a:gd name="T4" fmla="*/ 115 w 877"/>
                <a:gd name="T5" fmla="*/ 97 h 803"/>
                <a:gd name="T6" fmla="*/ 98 w 877"/>
                <a:gd name="T7" fmla="*/ 87 h 803"/>
                <a:gd name="T8" fmla="*/ 88 w 877"/>
                <a:gd name="T9" fmla="*/ 87 h 803"/>
                <a:gd name="T10" fmla="*/ 85 w 877"/>
                <a:gd name="T11" fmla="*/ 89 h 803"/>
                <a:gd name="T12" fmla="*/ 79 w 877"/>
                <a:gd name="T13" fmla="*/ 90 h 803"/>
                <a:gd name="T14" fmla="*/ 73 w 877"/>
                <a:gd name="T15" fmla="*/ 89 h 803"/>
                <a:gd name="T16" fmla="*/ 72 w 877"/>
                <a:gd name="T17" fmla="*/ 87 h 803"/>
                <a:gd name="T18" fmla="*/ 65 w 877"/>
                <a:gd name="T19" fmla="*/ 84 h 803"/>
                <a:gd name="T20" fmla="*/ 58 w 877"/>
                <a:gd name="T21" fmla="*/ 82 h 803"/>
                <a:gd name="T22" fmla="*/ 53 w 877"/>
                <a:gd name="T23" fmla="*/ 75 h 803"/>
                <a:gd name="T24" fmla="*/ 47 w 877"/>
                <a:gd name="T25" fmla="*/ 70 h 803"/>
                <a:gd name="T26" fmla="*/ 45 w 877"/>
                <a:gd name="T27" fmla="*/ 67 h 803"/>
                <a:gd name="T28" fmla="*/ 41 w 877"/>
                <a:gd name="T29" fmla="*/ 68 h 803"/>
                <a:gd name="T30" fmla="*/ 40 w 877"/>
                <a:gd name="T31" fmla="*/ 67 h 803"/>
                <a:gd name="T32" fmla="*/ 38 w 877"/>
                <a:gd name="T33" fmla="*/ 65 h 803"/>
                <a:gd name="T34" fmla="*/ 36 w 877"/>
                <a:gd name="T35" fmla="*/ 64 h 803"/>
                <a:gd name="T36" fmla="*/ 36 w 877"/>
                <a:gd name="T37" fmla="*/ 66 h 803"/>
                <a:gd name="T38" fmla="*/ 30 w 877"/>
                <a:gd name="T39" fmla="*/ 65 h 803"/>
                <a:gd name="T40" fmla="*/ 27 w 877"/>
                <a:gd name="T41" fmla="*/ 61 h 803"/>
                <a:gd name="T42" fmla="*/ 20 w 877"/>
                <a:gd name="T43" fmla="*/ 50 h 803"/>
                <a:gd name="T44" fmla="*/ 13 w 877"/>
                <a:gd name="T45" fmla="*/ 45 h 803"/>
                <a:gd name="T46" fmla="*/ 11 w 877"/>
                <a:gd name="T47" fmla="*/ 43 h 803"/>
                <a:gd name="T48" fmla="*/ 10 w 877"/>
                <a:gd name="T49" fmla="*/ 41 h 803"/>
                <a:gd name="T50" fmla="*/ 11 w 877"/>
                <a:gd name="T51" fmla="*/ 37 h 803"/>
                <a:gd name="T52" fmla="*/ 15 w 877"/>
                <a:gd name="T53" fmla="*/ 32 h 803"/>
                <a:gd name="T54" fmla="*/ 17 w 877"/>
                <a:gd name="T55" fmla="*/ 29 h 803"/>
                <a:gd name="T56" fmla="*/ 9 w 877"/>
                <a:gd name="T57" fmla="*/ 24 h 803"/>
                <a:gd name="T58" fmla="*/ 5 w 877"/>
                <a:gd name="T59" fmla="*/ 17 h 803"/>
                <a:gd name="T60" fmla="*/ 1 w 877"/>
                <a:gd name="T61" fmla="*/ 6 h 803"/>
                <a:gd name="T62" fmla="*/ 3 w 877"/>
                <a:gd name="T63" fmla="*/ 0 h 803"/>
                <a:gd name="T64" fmla="*/ 22 w 877"/>
                <a:gd name="T65" fmla="*/ 4 h 803"/>
                <a:gd name="T66" fmla="*/ 31 w 877"/>
                <a:gd name="T67" fmla="*/ 2 h 803"/>
                <a:gd name="T68" fmla="*/ 30 w 877"/>
                <a:gd name="T69" fmla="*/ 6 h 803"/>
                <a:gd name="T70" fmla="*/ 32 w 877"/>
                <a:gd name="T71" fmla="*/ 9 h 803"/>
                <a:gd name="T72" fmla="*/ 36 w 877"/>
                <a:gd name="T73" fmla="*/ 10 h 803"/>
                <a:gd name="T74" fmla="*/ 40 w 877"/>
                <a:gd name="T75" fmla="*/ 17 h 803"/>
                <a:gd name="T76" fmla="*/ 47 w 877"/>
                <a:gd name="T77" fmla="*/ 18 h 803"/>
                <a:gd name="T78" fmla="*/ 60 w 877"/>
                <a:gd name="T79" fmla="*/ 23 h 803"/>
                <a:gd name="T80" fmla="*/ 71 w 877"/>
                <a:gd name="T81" fmla="*/ 21 h 803"/>
                <a:gd name="T82" fmla="*/ 76 w 877"/>
                <a:gd name="T83" fmla="*/ 19 h 803"/>
                <a:gd name="T84" fmla="*/ 87 w 877"/>
                <a:gd name="T85" fmla="*/ 12 h 803"/>
                <a:gd name="T86" fmla="*/ 94 w 877"/>
                <a:gd name="T87" fmla="*/ 12 h 803"/>
                <a:gd name="T88" fmla="*/ 100 w 877"/>
                <a:gd name="T89" fmla="*/ 11 h 803"/>
                <a:gd name="T90" fmla="*/ 114 w 877"/>
                <a:gd name="T91" fmla="*/ 16 h 803"/>
                <a:gd name="T92" fmla="*/ 119 w 877"/>
                <a:gd name="T93" fmla="*/ 17 h 803"/>
                <a:gd name="T94" fmla="*/ 131 w 877"/>
                <a:gd name="T95" fmla="*/ 23 h 803"/>
                <a:gd name="T96" fmla="*/ 133 w 877"/>
                <a:gd name="T97" fmla="*/ 29 h 803"/>
                <a:gd name="T98" fmla="*/ 130 w 877"/>
                <a:gd name="T99" fmla="*/ 39 h 803"/>
                <a:gd name="T100" fmla="*/ 128 w 877"/>
                <a:gd name="T101" fmla="*/ 43 h 803"/>
                <a:gd name="T102" fmla="*/ 128 w 877"/>
                <a:gd name="T103" fmla="*/ 51 h 803"/>
                <a:gd name="T104" fmla="*/ 133 w 877"/>
                <a:gd name="T105" fmla="*/ 58 h 803"/>
                <a:gd name="T106" fmla="*/ 136 w 877"/>
                <a:gd name="T107" fmla="*/ 61 h 803"/>
                <a:gd name="T108" fmla="*/ 135 w 877"/>
                <a:gd name="T109" fmla="*/ 76 h 803"/>
                <a:gd name="T110" fmla="*/ 144 w 877"/>
                <a:gd name="T111" fmla="*/ 79 h 803"/>
                <a:gd name="T112" fmla="*/ 148 w 877"/>
                <a:gd name="T113" fmla="*/ 86 h 803"/>
                <a:gd name="T114" fmla="*/ 146 w 877"/>
                <a:gd name="T115" fmla="*/ 89 h 803"/>
                <a:gd name="T116" fmla="*/ 135 w 877"/>
                <a:gd name="T117" fmla="*/ 98 h 8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77"/>
                <a:gd name="T178" fmla="*/ 0 h 803"/>
                <a:gd name="T179" fmla="*/ 877 w 877"/>
                <a:gd name="T180" fmla="*/ 803 h 8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77" h="803">
                  <a:moveTo>
                    <a:pt x="800" y="801"/>
                  </a:moveTo>
                  <a:lnTo>
                    <a:pt x="796" y="800"/>
                  </a:lnTo>
                  <a:lnTo>
                    <a:pt x="791" y="803"/>
                  </a:lnTo>
                  <a:lnTo>
                    <a:pt x="754" y="795"/>
                  </a:lnTo>
                  <a:lnTo>
                    <a:pt x="748" y="789"/>
                  </a:lnTo>
                  <a:lnTo>
                    <a:pt x="743" y="793"/>
                  </a:lnTo>
                  <a:lnTo>
                    <a:pt x="689" y="784"/>
                  </a:lnTo>
                  <a:lnTo>
                    <a:pt x="685" y="786"/>
                  </a:lnTo>
                  <a:lnTo>
                    <a:pt x="683" y="790"/>
                  </a:lnTo>
                  <a:lnTo>
                    <a:pt x="674" y="783"/>
                  </a:lnTo>
                  <a:lnTo>
                    <a:pt x="607" y="773"/>
                  </a:lnTo>
                  <a:lnTo>
                    <a:pt x="583" y="712"/>
                  </a:lnTo>
                  <a:lnTo>
                    <a:pt x="562" y="701"/>
                  </a:lnTo>
                  <a:lnTo>
                    <a:pt x="556" y="701"/>
                  </a:lnTo>
                  <a:lnTo>
                    <a:pt x="522" y="712"/>
                  </a:lnTo>
                  <a:lnTo>
                    <a:pt x="517" y="719"/>
                  </a:lnTo>
                  <a:lnTo>
                    <a:pt x="511" y="722"/>
                  </a:lnTo>
                  <a:lnTo>
                    <a:pt x="502" y="724"/>
                  </a:lnTo>
                  <a:lnTo>
                    <a:pt x="488" y="731"/>
                  </a:lnTo>
                  <a:lnTo>
                    <a:pt x="479" y="733"/>
                  </a:lnTo>
                  <a:lnTo>
                    <a:pt x="466" y="731"/>
                  </a:lnTo>
                  <a:lnTo>
                    <a:pt x="461" y="725"/>
                  </a:lnTo>
                  <a:lnTo>
                    <a:pt x="449" y="722"/>
                  </a:lnTo>
                  <a:lnTo>
                    <a:pt x="431" y="725"/>
                  </a:lnTo>
                  <a:lnTo>
                    <a:pt x="423" y="715"/>
                  </a:lnTo>
                  <a:lnTo>
                    <a:pt x="426" y="717"/>
                  </a:lnTo>
                  <a:lnTo>
                    <a:pt x="426" y="713"/>
                  </a:lnTo>
                  <a:lnTo>
                    <a:pt x="393" y="701"/>
                  </a:lnTo>
                  <a:lnTo>
                    <a:pt x="386" y="690"/>
                  </a:lnTo>
                  <a:lnTo>
                    <a:pt x="386" y="686"/>
                  </a:lnTo>
                  <a:lnTo>
                    <a:pt x="379" y="679"/>
                  </a:lnTo>
                  <a:lnTo>
                    <a:pt x="355" y="669"/>
                  </a:lnTo>
                  <a:lnTo>
                    <a:pt x="341" y="668"/>
                  </a:lnTo>
                  <a:lnTo>
                    <a:pt x="334" y="664"/>
                  </a:lnTo>
                  <a:lnTo>
                    <a:pt x="327" y="655"/>
                  </a:lnTo>
                  <a:lnTo>
                    <a:pt x="310" y="610"/>
                  </a:lnTo>
                  <a:lnTo>
                    <a:pt x="294" y="596"/>
                  </a:lnTo>
                  <a:lnTo>
                    <a:pt x="287" y="576"/>
                  </a:lnTo>
                  <a:lnTo>
                    <a:pt x="279" y="572"/>
                  </a:lnTo>
                  <a:lnTo>
                    <a:pt x="270" y="558"/>
                  </a:lnTo>
                  <a:lnTo>
                    <a:pt x="269" y="552"/>
                  </a:lnTo>
                  <a:lnTo>
                    <a:pt x="266" y="547"/>
                  </a:lnTo>
                  <a:lnTo>
                    <a:pt x="262" y="544"/>
                  </a:lnTo>
                  <a:lnTo>
                    <a:pt x="252" y="548"/>
                  </a:lnTo>
                  <a:lnTo>
                    <a:pt x="245" y="554"/>
                  </a:lnTo>
                  <a:lnTo>
                    <a:pt x="243" y="552"/>
                  </a:lnTo>
                  <a:lnTo>
                    <a:pt x="239" y="550"/>
                  </a:lnTo>
                  <a:lnTo>
                    <a:pt x="236" y="547"/>
                  </a:lnTo>
                  <a:lnTo>
                    <a:pt x="230" y="542"/>
                  </a:lnTo>
                  <a:lnTo>
                    <a:pt x="227" y="536"/>
                  </a:lnTo>
                  <a:lnTo>
                    <a:pt x="226" y="527"/>
                  </a:lnTo>
                  <a:lnTo>
                    <a:pt x="222" y="523"/>
                  </a:lnTo>
                  <a:lnTo>
                    <a:pt x="214" y="521"/>
                  </a:lnTo>
                  <a:lnTo>
                    <a:pt x="210" y="524"/>
                  </a:lnTo>
                  <a:lnTo>
                    <a:pt x="212" y="531"/>
                  </a:lnTo>
                  <a:lnTo>
                    <a:pt x="210" y="535"/>
                  </a:lnTo>
                  <a:lnTo>
                    <a:pt x="210" y="541"/>
                  </a:lnTo>
                  <a:lnTo>
                    <a:pt x="204" y="541"/>
                  </a:lnTo>
                  <a:lnTo>
                    <a:pt x="203" y="548"/>
                  </a:lnTo>
                  <a:lnTo>
                    <a:pt x="175" y="526"/>
                  </a:lnTo>
                  <a:lnTo>
                    <a:pt x="171" y="519"/>
                  </a:lnTo>
                  <a:lnTo>
                    <a:pt x="168" y="503"/>
                  </a:lnTo>
                  <a:lnTo>
                    <a:pt x="157" y="497"/>
                  </a:lnTo>
                  <a:lnTo>
                    <a:pt x="161" y="457"/>
                  </a:lnTo>
                  <a:lnTo>
                    <a:pt x="137" y="415"/>
                  </a:lnTo>
                  <a:lnTo>
                    <a:pt x="116" y="408"/>
                  </a:lnTo>
                  <a:lnTo>
                    <a:pt x="83" y="384"/>
                  </a:lnTo>
                  <a:lnTo>
                    <a:pt x="82" y="375"/>
                  </a:lnTo>
                  <a:lnTo>
                    <a:pt x="77" y="364"/>
                  </a:lnTo>
                  <a:lnTo>
                    <a:pt x="72" y="358"/>
                  </a:lnTo>
                  <a:lnTo>
                    <a:pt x="69" y="352"/>
                  </a:lnTo>
                  <a:lnTo>
                    <a:pt x="62" y="352"/>
                  </a:lnTo>
                  <a:lnTo>
                    <a:pt x="57" y="348"/>
                  </a:lnTo>
                  <a:lnTo>
                    <a:pt x="54" y="335"/>
                  </a:lnTo>
                  <a:lnTo>
                    <a:pt x="58" y="333"/>
                  </a:lnTo>
                  <a:lnTo>
                    <a:pt x="60" y="328"/>
                  </a:lnTo>
                  <a:lnTo>
                    <a:pt x="63" y="307"/>
                  </a:lnTo>
                  <a:lnTo>
                    <a:pt x="66" y="301"/>
                  </a:lnTo>
                  <a:lnTo>
                    <a:pt x="73" y="298"/>
                  </a:lnTo>
                  <a:lnTo>
                    <a:pt x="73" y="292"/>
                  </a:lnTo>
                  <a:lnTo>
                    <a:pt x="92" y="265"/>
                  </a:lnTo>
                  <a:lnTo>
                    <a:pt x="88" y="250"/>
                  </a:lnTo>
                  <a:lnTo>
                    <a:pt x="92" y="238"/>
                  </a:lnTo>
                  <a:lnTo>
                    <a:pt x="98" y="232"/>
                  </a:lnTo>
                  <a:lnTo>
                    <a:pt x="66" y="227"/>
                  </a:lnTo>
                  <a:lnTo>
                    <a:pt x="58" y="219"/>
                  </a:lnTo>
                  <a:lnTo>
                    <a:pt x="51" y="199"/>
                  </a:lnTo>
                  <a:lnTo>
                    <a:pt x="42" y="192"/>
                  </a:lnTo>
                  <a:lnTo>
                    <a:pt x="34" y="178"/>
                  </a:lnTo>
                  <a:lnTo>
                    <a:pt x="29" y="136"/>
                  </a:lnTo>
                  <a:lnTo>
                    <a:pt x="18" y="123"/>
                  </a:lnTo>
                  <a:lnTo>
                    <a:pt x="7" y="116"/>
                  </a:lnTo>
                  <a:lnTo>
                    <a:pt x="7" y="49"/>
                  </a:lnTo>
                  <a:lnTo>
                    <a:pt x="0" y="27"/>
                  </a:lnTo>
                  <a:lnTo>
                    <a:pt x="12" y="21"/>
                  </a:lnTo>
                  <a:lnTo>
                    <a:pt x="20" y="0"/>
                  </a:lnTo>
                  <a:lnTo>
                    <a:pt x="59" y="52"/>
                  </a:lnTo>
                  <a:lnTo>
                    <a:pt x="115" y="55"/>
                  </a:lnTo>
                  <a:lnTo>
                    <a:pt x="131" y="31"/>
                  </a:lnTo>
                  <a:lnTo>
                    <a:pt x="148" y="15"/>
                  </a:lnTo>
                  <a:lnTo>
                    <a:pt x="170" y="10"/>
                  </a:lnTo>
                  <a:lnTo>
                    <a:pt x="185" y="19"/>
                  </a:lnTo>
                  <a:lnTo>
                    <a:pt x="183" y="30"/>
                  </a:lnTo>
                  <a:lnTo>
                    <a:pt x="190" y="46"/>
                  </a:lnTo>
                  <a:lnTo>
                    <a:pt x="177" y="55"/>
                  </a:lnTo>
                  <a:lnTo>
                    <a:pt x="174" y="59"/>
                  </a:lnTo>
                  <a:lnTo>
                    <a:pt x="183" y="63"/>
                  </a:lnTo>
                  <a:lnTo>
                    <a:pt x="188" y="68"/>
                  </a:lnTo>
                  <a:lnTo>
                    <a:pt x="194" y="71"/>
                  </a:lnTo>
                  <a:lnTo>
                    <a:pt x="200" y="76"/>
                  </a:lnTo>
                  <a:lnTo>
                    <a:pt x="212" y="79"/>
                  </a:lnTo>
                  <a:lnTo>
                    <a:pt x="215" y="77"/>
                  </a:lnTo>
                  <a:lnTo>
                    <a:pt x="226" y="130"/>
                  </a:lnTo>
                  <a:lnTo>
                    <a:pt x="236" y="137"/>
                  </a:lnTo>
                  <a:lnTo>
                    <a:pt x="254" y="142"/>
                  </a:lnTo>
                  <a:lnTo>
                    <a:pt x="274" y="142"/>
                  </a:lnTo>
                  <a:lnTo>
                    <a:pt x="280" y="147"/>
                  </a:lnTo>
                  <a:lnTo>
                    <a:pt x="287" y="160"/>
                  </a:lnTo>
                  <a:lnTo>
                    <a:pt x="315" y="179"/>
                  </a:lnTo>
                  <a:lnTo>
                    <a:pt x="354" y="189"/>
                  </a:lnTo>
                  <a:lnTo>
                    <a:pt x="434" y="168"/>
                  </a:lnTo>
                  <a:lnTo>
                    <a:pt x="431" y="171"/>
                  </a:lnTo>
                  <a:lnTo>
                    <a:pt x="420" y="174"/>
                  </a:lnTo>
                  <a:lnTo>
                    <a:pt x="434" y="175"/>
                  </a:lnTo>
                  <a:lnTo>
                    <a:pt x="454" y="172"/>
                  </a:lnTo>
                  <a:lnTo>
                    <a:pt x="453" y="156"/>
                  </a:lnTo>
                  <a:lnTo>
                    <a:pt x="447" y="138"/>
                  </a:lnTo>
                  <a:lnTo>
                    <a:pt x="473" y="135"/>
                  </a:lnTo>
                  <a:lnTo>
                    <a:pt x="514" y="101"/>
                  </a:lnTo>
                  <a:lnTo>
                    <a:pt x="536" y="98"/>
                  </a:lnTo>
                  <a:lnTo>
                    <a:pt x="546" y="101"/>
                  </a:lnTo>
                  <a:lnTo>
                    <a:pt x="555" y="101"/>
                  </a:lnTo>
                  <a:lnTo>
                    <a:pt x="560" y="96"/>
                  </a:lnTo>
                  <a:lnTo>
                    <a:pt x="561" y="90"/>
                  </a:lnTo>
                  <a:lnTo>
                    <a:pt x="591" y="89"/>
                  </a:lnTo>
                  <a:lnTo>
                    <a:pt x="611" y="108"/>
                  </a:lnTo>
                  <a:lnTo>
                    <a:pt x="663" y="128"/>
                  </a:lnTo>
                  <a:lnTo>
                    <a:pt x="673" y="125"/>
                  </a:lnTo>
                  <a:lnTo>
                    <a:pt x="684" y="128"/>
                  </a:lnTo>
                  <a:lnTo>
                    <a:pt x="692" y="132"/>
                  </a:lnTo>
                  <a:lnTo>
                    <a:pt x="701" y="142"/>
                  </a:lnTo>
                  <a:lnTo>
                    <a:pt x="704" y="154"/>
                  </a:lnTo>
                  <a:lnTo>
                    <a:pt x="756" y="188"/>
                  </a:lnTo>
                  <a:lnTo>
                    <a:pt x="778" y="188"/>
                  </a:lnTo>
                  <a:lnTo>
                    <a:pt x="782" y="192"/>
                  </a:lnTo>
                  <a:lnTo>
                    <a:pt x="782" y="223"/>
                  </a:lnTo>
                  <a:lnTo>
                    <a:pt x="784" y="231"/>
                  </a:lnTo>
                  <a:lnTo>
                    <a:pt x="777" y="287"/>
                  </a:lnTo>
                  <a:lnTo>
                    <a:pt x="766" y="304"/>
                  </a:lnTo>
                  <a:lnTo>
                    <a:pt x="766" y="317"/>
                  </a:lnTo>
                  <a:lnTo>
                    <a:pt x="748" y="324"/>
                  </a:lnTo>
                  <a:lnTo>
                    <a:pt x="748" y="349"/>
                  </a:lnTo>
                  <a:lnTo>
                    <a:pt x="759" y="353"/>
                  </a:lnTo>
                  <a:lnTo>
                    <a:pt x="760" y="362"/>
                  </a:lnTo>
                  <a:lnTo>
                    <a:pt x="751" y="392"/>
                  </a:lnTo>
                  <a:lnTo>
                    <a:pt x="758" y="416"/>
                  </a:lnTo>
                  <a:lnTo>
                    <a:pt x="759" y="456"/>
                  </a:lnTo>
                  <a:lnTo>
                    <a:pt x="768" y="464"/>
                  </a:lnTo>
                  <a:lnTo>
                    <a:pt x="788" y="469"/>
                  </a:lnTo>
                  <a:lnTo>
                    <a:pt x="796" y="476"/>
                  </a:lnTo>
                  <a:lnTo>
                    <a:pt x="802" y="490"/>
                  </a:lnTo>
                  <a:lnTo>
                    <a:pt x="802" y="502"/>
                  </a:lnTo>
                  <a:lnTo>
                    <a:pt x="764" y="565"/>
                  </a:lnTo>
                  <a:lnTo>
                    <a:pt x="782" y="583"/>
                  </a:lnTo>
                  <a:lnTo>
                    <a:pt x="800" y="618"/>
                  </a:lnTo>
                  <a:lnTo>
                    <a:pt x="823" y="635"/>
                  </a:lnTo>
                  <a:lnTo>
                    <a:pt x="846" y="641"/>
                  </a:lnTo>
                  <a:lnTo>
                    <a:pt x="851" y="647"/>
                  </a:lnTo>
                  <a:lnTo>
                    <a:pt x="855" y="693"/>
                  </a:lnTo>
                  <a:lnTo>
                    <a:pt x="871" y="696"/>
                  </a:lnTo>
                  <a:lnTo>
                    <a:pt x="876" y="700"/>
                  </a:lnTo>
                  <a:lnTo>
                    <a:pt x="877" y="708"/>
                  </a:lnTo>
                  <a:lnTo>
                    <a:pt x="874" y="713"/>
                  </a:lnTo>
                  <a:lnTo>
                    <a:pt x="863" y="725"/>
                  </a:lnTo>
                  <a:lnTo>
                    <a:pt x="828" y="735"/>
                  </a:lnTo>
                  <a:lnTo>
                    <a:pt x="811" y="753"/>
                  </a:lnTo>
                  <a:lnTo>
                    <a:pt x="800" y="80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6" name="Freeform 83"/>
            <p:cNvSpPr>
              <a:spLocks/>
            </p:cNvSpPr>
            <p:nvPr/>
          </p:nvSpPr>
          <p:spPr bwMode="auto">
            <a:xfrm>
              <a:off x="5690553" y="1206446"/>
              <a:ext cx="1054097" cy="803372"/>
            </a:xfrm>
            <a:custGeom>
              <a:avLst/>
              <a:gdLst>
                <a:gd name="T0" fmla="*/ 134 w 877"/>
                <a:gd name="T1" fmla="*/ 99 h 803"/>
                <a:gd name="T2" fmla="*/ 125 w 877"/>
                <a:gd name="T3" fmla="*/ 98 h 803"/>
                <a:gd name="T4" fmla="*/ 115 w 877"/>
                <a:gd name="T5" fmla="*/ 97 h 803"/>
                <a:gd name="T6" fmla="*/ 98 w 877"/>
                <a:gd name="T7" fmla="*/ 87 h 803"/>
                <a:gd name="T8" fmla="*/ 88 w 877"/>
                <a:gd name="T9" fmla="*/ 87 h 803"/>
                <a:gd name="T10" fmla="*/ 85 w 877"/>
                <a:gd name="T11" fmla="*/ 89 h 803"/>
                <a:gd name="T12" fmla="*/ 79 w 877"/>
                <a:gd name="T13" fmla="*/ 90 h 803"/>
                <a:gd name="T14" fmla="*/ 73 w 877"/>
                <a:gd name="T15" fmla="*/ 89 h 803"/>
                <a:gd name="T16" fmla="*/ 72 w 877"/>
                <a:gd name="T17" fmla="*/ 87 h 803"/>
                <a:gd name="T18" fmla="*/ 65 w 877"/>
                <a:gd name="T19" fmla="*/ 84 h 803"/>
                <a:gd name="T20" fmla="*/ 58 w 877"/>
                <a:gd name="T21" fmla="*/ 82 h 803"/>
                <a:gd name="T22" fmla="*/ 53 w 877"/>
                <a:gd name="T23" fmla="*/ 75 h 803"/>
                <a:gd name="T24" fmla="*/ 47 w 877"/>
                <a:gd name="T25" fmla="*/ 70 h 803"/>
                <a:gd name="T26" fmla="*/ 45 w 877"/>
                <a:gd name="T27" fmla="*/ 67 h 803"/>
                <a:gd name="T28" fmla="*/ 41 w 877"/>
                <a:gd name="T29" fmla="*/ 68 h 803"/>
                <a:gd name="T30" fmla="*/ 40 w 877"/>
                <a:gd name="T31" fmla="*/ 67 h 803"/>
                <a:gd name="T32" fmla="*/ 38 w 877"/>
                <a:gd name="T33" fmla="*/ 65 h 803"/>
                <a:gd name="T34" fmla="*/ 36 w 877"/>
                <a:gd name="T35" fmla="*/ 64 h 803"/>
                <a:gd name="T36" fmla="*/ 36 w 877"/>
                <a:gd name="T37" fmla="*/ 66 h 803"/>
                <a:gd name="T38" fmla="*/ 30 w 877"/>
                <a:gd name="T39" fmla="*/ 65 h 803"/>
                <a:gd name="T40" fmla="*/ 27 w 877"/>
                <a:gd name="T41" fmla="*/ 61 h 803"/>
                <a:gd name="T42" fmla="*/ 20 w 877"/>
                <a:gd name="T43" fmla="*/ 50 h 803"/>
                <a:gd name="T44" fmla="*/ 13 w 877"/>
                <a:gd name="T45" fmla="*/ 45 h 803"/>
                <a:gd name="T46" fmla="*/ 11 w 877"/>
                <a:gd name="T47" fmla="*/ 43 h 803"/>
                <a:gd name="T48" fmla="*/ 10 w 877"/>
                <a:gd name="T49" fmla="*/ 41 h 803"/>
                <a:gd name="T50" fmla="*/ 11 w 877"/>
                <a:gd name="T51" fmla="*/ 37 h 803"/>
                <a:gd name="T52" fmla="*/ 15 w 877"/>
                <a:gd name="T53" fmla="*/ 32 h 803"/>
                <a:gd name="T54" fmla="*/ 17 w 877"/>
                <a:gd name="T55" fmla="*/ 29 h 803"/>
                <a:gd name="T56" fmla="*/ 9 w 877"/>
                <a:gd name="T57" fmla="*/ 24 h 803"/>
                <a:gd name="T58" fmla="*/ 5 w 877"/>
                <a:gd name="T59" fmla="*/ 17 h 803"/>
                <a:gd name="T60" fmla="*/ 1 w 877"/>
                <a:gd name="T61" fmla="*/ 6 h 803"/>
                <a:gd name="T62" fmla="*/ 3 w 877"/>
                <a:gd name="T63" fmla="*/ 0 h 803"/>
                <a:gd name="T64" fmla="*/ 22 w 877"/>
                <a:gd name="T65" fmla="*/ 4 h 803"/>
                <a:gd name="T66" fmla="*/ 31 w 877"/>
                <a:gd name="T67" fmla="*/ 2 h 803"/>
                <a:gd name="T68" fmla="*/ 30 w 877"/>
                <a:gd name="T69" fmla="*/ 6 h 803"/>
                <a:gd name="T70" fmla="*/ 32 w 877"/>
                <a:gd name="T71" fmla="*/ 9 h 803"/>
                <a:gd name="T72" fmla="*/ 36 w 877"/>
                <a:gd name="T73" fmla="*/ 10 h 803"/>
                <a:gd name="T74" fmla="*/ 40 w 877"/>
                <a:gd name="T75" fmla="*/ 17 h 803"/>
                <a:gd name="T76" fmla="*/ 47 w 877"/>
                <a:gd name="T77" fmla="*/ 18 h 803"/>
                <a:gd name="T78" fmla="*/ 60 w 877"/>
                <a:gd name="T79" fmla="*/ 23 h 803"/>
                <a:gd name="T80" fmla="*/ 71 w 877"/>
                <a:gd name="T81" fmla="*/ 21 h 803"/>
                <a:gd name="T82" fmla="*/ 76 w 877"/>
                <a:gd name="T83" fmla="*/ 19 h 803"/>
                <a:gd name="T84" fmla="*/ 87 w 877"/>
                <a:gd name="T85" fmla="*/ 12 h 803"/>
                <a:gd name="T86" fmla="*/ 94 w 877"/>
                <a:gd name="T87" fmla="*/ 12 h 803"/>
                <a:gd name="T88" fmla="*/ 100 w 877"/>
                <a:gd name="T89" fmla="*/ 11 h 803"/>
                <a:gd name="T90" fmla="*/ 114 w 877"/>
                <a:gd name="T91" fmla="*/ 16 h 803"/>
                <a:gd name="T92" fmla="*/ 119 w 877"/>
                <a:gd name="T93" fmla="*/ 17 h 803"/>
                <a:gd name="T94" fmla="*/ 131 w 877"/>
                <a:gd name="T95" fmla="*/ 23 h 803"/>
                <a:gd name="T96" fmla="*/ 133 w 877"/>
                <a:gd name="T97" fmla="*/ 29 h 803"/>
                <a:gd name="T98" fmla="*/ 130 w 877"/>
                <a:gd name="T99" fmla="*/ 39 h 803"/>
                <a:gd name="T100" fmla="*/ 128 w 877"/>
                <a:gd name="T101" fmla="*/ 43 h 803"/>
                <a:gd name="T102" fmla="*/ 128 w 877"/>
                <a:gd name="T103" fmla="*/ 51 h 803"/>
                <a:gd name="T104" fmla="*/ 133 w 877"/>
                <a:gd name="T105" fmla="*/ 58 h 803"/>
                <a:gd name="T106" fmla="*/ 136 w 877"/>
                <a:gd name="T107" fmla="*/ 61 h 803"/>
                <a:gd name="T108" fmla="*/ 135 w 877"/>
                <a:gd name="T109" fmla="*/ 76 h 803"/>
                <a:gd name="T110" fmla="*/ 144 w 877"/>
                <a:gd name="T111" fmla="*/ 79 h 803"/>
                <a:gd name="T112" fmla="*/ 148 w 877"/>
                <a:gd name="T113" fmla="*/ 86 h 803"/>
                <a:gd name="T114" fmla="*/ 146 w 877"/>
                <a:gd name="T115" fmla="*/ 89 h 803"/>
                <a:gd name="T116" fmla="*/ 135 w 877"/>
                <a:gd name="T117" fmla="*/ 98 h 8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77"/>
                <a:gd name="T178" fmla="*/ 0 h 803"/>
                <a:gd name="T179" fmla="*/ 877 w 877"/>
                <a:gd name="T180" fmla="*/ 803 h 8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77" h="803">
                  <a:moveTo>
                    <a:pt x="800" y="801"/>
                  </a:moveTo>
                  <a:lnTo>
                    <a:pt x="796" y="800"/>
                  </a:lnTo>
                  <a:lnTo>
                    <a:pt x="791" y="803"/>
                  </a:lnTo>
                  <a:lnTo>
                    <a:pt x="754" y="795"/>
                  </a:lnTo>
                  <a:lnTo>
                    <a:pt x="748" y="789"/>
                  </a:lnTo>
                  <a:lnTo>
                    <a:pt x="743" y="793"/>
                  </a:lnTo>
                  <a:lnTo>
                    <a:pt x="689" y="784"/>
                  </a:lnTo>
                  <a:lnTo>
                    <a:pt x="685" y="786"/>
                  </a:lnTo>
                  <a:lnTo>
                    <a:pt x="683" y="790"/>
                  </a:lnTo>
                  <a:lnTo>
                    <a:pt x="674" y="783"/>
                  </a:lnTo>
                  <a:lnTo>
                    <a:pt x="607" y="773"/>
                  </a:lnTo>
                  <a:lnTo>
                    <a:pt x="583" y="712"/>
                  </a:lnTo>
                  <a:lnTo>
                    <a:pt x="562" y="701"/>
                  </a:lnTo>
                  <a:lnTo>
                    <a:pt x="556" y="701"/>
                  </a:lnTo>
                  <a:lnTo>
                    <a:pt x="522" y="712"/>
                  </a:lnTo>
                  <a:lnTo>
                    <a:pt x="517" y="719"/>
                  </a:lnTo>
                  <a:lnTo>
                    <a:pt x="511" y="722"/>
                  </a:lnTo>
                  <a:lnTo>
                    <a:pt x="502" y="724"/>
                  </a:lnTo>
                  <a:lnTo>
                    <a:pt x="488" y="731"/>
                  </a:lnTo>
                  <a:lnTo>
                    <a:pt x="479" y="733"/>
                  </a:lnTo>
                  <a:lnTo>
                    <a:pt x="466" y="731"/>
                  </a:lnTo>
                  <a:lnTo>
                    <a:pt x="461" y="725"/>
                  </a:lnTo>
                  <a:lnTo>
                    <a:pt x="449" y="722"/>
                  </a:lnTo>
                  <a:lnTo>
                    <a:pt x="431" y="725"/>
                  </a:lnTo>
                  <a:lnTo>
                    <a:pt x="423" y="715"/>
                  </a:lnTo>
                  <a:lnTo>
                    <a:pt x="426" y="717"/>
                  </a:lnTo>
                  <a:lnTo>
                    <a:pt x="426" y="713"/>
                  </a:lnTo>
                  <a:lnTo>
                    <a:pt x="393" y="701"/>
                  </a:lnTo>
                  <a:lnTo>
                    <a:pt x="386" y="690"/>
                  </a:lnTo>
                  <a:lnTo>
                    <a:pt x="386" y="686"/>
                  </a:lnTo>
                  <a:lnTo>
                    <a:pt x="379" y="679"/>
                  </a:lnTo>
                  <a:lnTo>
                    <a:pt x="355" y="669"/>
                  </a:lnTo>
                  <a:lnTo>
                    <a:pt x="341" y="668"/>
                  </a:lnTo>
                  <a:lnTo>
                    <a:pt x="334" y="664"/>
                  </a:lnTo>
                  <a:lnTo>
                    <a:pt x="327" y="655"/>
                  </a:lnTo>
                  <a:lnTo>
                    <a:pt x="310" y="610"/>
                  </a:lnTo>
                  <a:lnTo>
                    <a:pt x="294" y="596"/>
                  </a:lnTo>
                  <a:lnTo>
                    <a:pt x="287" y="576"/>
                  </a:lnTo>
                  <a:lnTo>
                    <a:pt x="279" y="572"/>
                  </a:lnTo>
                  <a:lnTo>
                    <a:pt x="270" y="558"/>
                  </a:lnTo>
                  <a:lnTo>
                    <a:pt x="269" y="552"/>
                  </a:lnTo>
                  <a:lnTo>
                    <a:pt x="266" y="547"/>
                  </a:lnTo>
                  <a:lnTo>
                    <a:pt x="262" y="544"/>
                  </a:lnTo>
                  <a:lnTo>
                    <a:pt x="252" y="548"/>
                  </a:lnTo>
                  <a:lnTo>
                    <a:pt x="245" y="554"/>
                  </a:lnTo>
                  <a:lnTo>
                    <a:pt x="243" y="552"/>
                  </a:lnTo>
                  <a:lnTo>
                    <a:pt x="239" y="550"/>
                  </a:lnTo>
                  <a:lnTo>
                    <a:pt x="236" y="547"/>
                  </a:lnTo>
                  <a:lnTo>
                    <a:pt x="230" y="542"/>
                  </a:lnTo>
                  <a:lnTo>
                    <a:pt x="227" y="536"/>
                  </a:lnTo>
                  <a:lnTo>
                    <a:pt x="226" y="527"/>
                  </a:lnTo>
                  <a:lnTo>
                    <a:pt x="222" y="523"/>
                  </a:lnTo>
                  <a:lnTo>
                    <a:pt x="214" y="521"/>
                  </a:lnTo>
                  <a:lnTo>
                    <a:pt x="210" y="524"/>
                  </a:lnTo>
                  <a:lnTo>
                    <a:pt x="212" y="531"/>
                  </a:lnTo>
                  <a:lnTo>
                    <a:pt x="210" y="535"/>
                  </a:lnTo>
                  <a:lnTo>
                    <a:pt x="210" y="541"/>
                  </a:lnTo>
                  <a:lnTo>
                    <a:pt x="204" y="541"/>
                  </a:lnTo>
                  <a:lnTo>
                    <a:pt x="203" y="548"/>
                  </a:lnTo>
                  <a:lnTo>
                    <a:pt x="175" y="526"/>
                  </a:lnTo>
                  <a:lnTo>
                    <a:pt x="171" y="519"/>
                  </a:lnTo>
                  <a:lnTo>
                    <a:pt x="168" y="503"/>
                  </a:lnTo>
                  <a:lnTo>
                    <a:pt x="157" y="497"/>
                  </a:lnTo>
                  <a:lnTo>
                    <a:pt x="161" y="457"/>
                  </a:lnTo>
                  <a:lnTo>
                    <a:pt x="137" y="415"/>
                  </a:lnTo>
                  <a:lnTo>
                    <a:pt x="116" y="408"/>
                  </a:lnTo>
                  <a:lnTo>
                    <a:pt x="83" y="384"/>
                  </a:lnTo>
                  <a:lnTo>
                    <a:pt x="82" y="375"/>
                  </a:lnTo>
                  <a:lnTo>
                    <a:pt x="77" y="364"/>
                  </a:lnTo>
                  <a:lnTo>
                    <a:pt x="72" y="358"/>
                  </a:lnTo>
                  <a:lnTo>
                    <a:pt x="69" y="352"/>
                  </a:lnTo>
                  <a:lnTo>
                    <a:pt x="62" y="352"/>
                  </a:lnTo>
                  <a:lnTo>
                    <a:pt x="57" y="348"/>
                  </a:lnTo>
                  <a:lnTo>
                    <a:pt x="54" y="335"/>
                  </a:lnTo>
                  <a:lnTo>
                    <a:pt x="58" y="333"/>
                  </a:lnTo>
                  <a:lnTo>
                    <a:pt x="60" y="328"/>
                  </a:lnTo>
                  <a:lnTo>
                    <a:pt x="63" y="307"/>
                  </a:lnTo>
                  <a:lnTo>
                    <a:pt x="66" y="301"/>
                  </a:lnTo>
                  <a:lnTo>
                    <a:pt x="73" y="298"/>
                  </a:lnTo>
                  <a:lnTo>
                    <a:pt x="73" y="292"/>
                  </a:lnTo>
                  <a:lnTo>
                    <a:pt x="92" y="265"/>
                  </a:lnTo>
                  <a:lnTo>
                    <a:pt x="88" y="250"/>
                  </a:lnTo>
                  <a:lnTo>
                    <a:pt x="92" y="238"/>
                  </a:lnTo>
                  <a:lnTo>
                    <a:pt x="98" y="232"/>
                  </a:lnTo>
                  <a:lnTo>
                    <a:pt x="66" y="227"/>
                  </a:lnTo>
                  <a:lnTo>
                    <a:pt x="58" y="219"/>
                  </a:lnTo>
                  <a:lnTo>
                    <a:pt x="51" y="199"/>
                  </a:lnTo>
                  <a:lnTo>
                    <a:pt x="42" y="192"/>
                  </a:lnTo>
                  <a:lnTo>
                    <a:pt x="34" y="178"/>
                  </a:lnTo>
                  <a:lnTo>
                    <a:pt x="29" y="136"/>
                  </a:lnTo>
                  <a:lnTo>
                    <a:pt x="18" y="123"/>
                  </a:lnTo>
                  <a:lnTo>
                    <a:pt x="7" y="116"/>
                  </a:lnTo>
                  <a:lnTo>
                    <a:pt x="7" y="49"/>
                  </a:lnTo>
                  <a:lnTo>
                    <a:pt x="0" y="27"/>
                  </a:lnTo>
                  <a:lnTo>
                    <a:pt x="12" y="21"/>
                  </a:lnTo>
                  <a:lnTo>
                    <a:pt x="20" y="0"/>
                  </a:lnTo>
                  <a:lnTo>
                    <a:pt x="59" y="52"/>
                  </a:lnTo>
                  <a:lnTo>
                    <a:pt x="115" y="55"/>
                  </a:lnTo>
                  <a:lnTo>
                    <a:pt x="131" y="31"/>
                  </a:lnTo>
                  <a:lnTo>
                    <a:pt x="148" y="15"/>
                  </a:lnTo>
                  <a:lnTo>
                    <a:pt x="170" y="10"/>
                  </a:lnTo>
                  <a:lnTo>
                    <a:pt x="185" y="19"/>
                  </a:lnTo>
                  <a:lnTo>
                    <a:pt x="183" y="30"/>
                  </a:lnTo>
                  <a:lnTo>
                    <a:pt x="190" y="46"/>
                  </a:lnTo>
                  <a:lnTo>
                    <a:pt x="177" y="55"/>
                  </a:lnTo>
                  <a:lnTo>
                    <a:pt x="174" y="59"/>
                  </a:lnTo>
                  <a:lnTo>
                    <a:pt x="183" y="63"/>
                  </a:lnTo>
                  <a:lnTo>
                    <a:pt x="188" y="68"/>
                  </a:lnTo>
                  <a:lnTo>
                    <a:pt x="194" y="71"/>
                  </a:lnTo>
                  <a:lnTo>
                    <a:pt x="200" y="76"/>
                  </a:lnTo>
                  <a:lnTo>
                    <a:pt x="212" y="79"/>
                  </a:lnTo>
                  <a:lnTo>
                    <a:pt x="215" y="77"/>
                  </a:lnTo>
                  <a:lnTo>
                    <a:pt x="226" y="130"/>
                  </a:lnTo>
                  <a:lnTo>
                    <a:pt x="236" y="137"/>
                  </a:lnTo>
                  <a:lnTo>
                    <a:pt x="254" y="142"/>
                  </a:lnTo>
                  <a:lnTo>
                    <a:pt x="274" y="142"/>
                  </a:lnTo>
                  <a:lnTo>
                    <a:pt x="280" y="147"/>
                  </a:lnTo>
                  <a:lnTo>
                    <a:pt x="287" y="160"/>
                  </a:lnTo>
                  <a:lnTo>
                    <a:pt x="315" y="179"/>
                  </a:lnTo>
                  <a:lnTo>
                    <a:pt x="354" y="189"/>
                  </a:lnTo>
                  <a:lnTo>
                    <a:pt x="434" y="168"/>
                  </a:lnTo>
                  <a:lnTo>
                    <a:pt x="431" y="171"/>
                  </a:lnTo>
                  <a:lnTo>
                    <a:pt x="420" y="174"/>
                  </a:lnTo>
                  <a:lnTo>
                    <a:pt x="434" y="175"/>
                  </a:lnTo>
                  <a:lnTo>
                    <a:pt x="454" y="172"/>
                  </a:lnTo>
                  <a:lnTo>
                    <a:pt x="453" y="156"/>
                  </a:lnTo>
                  <a:lnTo>
                    <a:pt x="447" y="138"/>
                  </a:lnTo>
                  <a:lnTo>
                    <a:pt x="473" y="135"/>
                  </a:lnTo>
                  <a:lnTo>
                    <a:pt x="514" y="101"/>
                  </a:lnTo>
                  <a:lnTo>
                    <a:pt x="536" y="98"/>
                  </a:lnTo>
                  <a:lnTo>
                    <a:pt x="546" y="101"/>
                  </a:lnTo>
                  <a:lnTo>
                    <a:pt x="555" y="101"/>
                  </a:lnTo>
                  <a:lnTo>
                    <a:pt x="560" y="96"/>
                  </a:lnTo>
                  <a:lnTo>
                    <a:pt x="561" y="90"/>
                  </a:lnTo>
                  <a:lnTo>
                    <a:pt x="591" y="89"/>
                  </a:lnTo>
                  <a:lnTo>
                    <a:pt x="611" y="108"/>
                  </a:lnTo>
                  <a:lnTo>
                    <a:pt x="663" y="128"/>
                  </a:lnTo>
                  <a:lnTo>
                    <a:pt x="673" y="125"/>
                  </a:lnTo>
                  <a:lnTo>
                    <a:pt x="684" y="128"/>
                  </a:lnTo>
                  <a:lnTo>
                    <a:pt x="692" y="132"/>
                  </a:lnTo>
                  <a:lnTo>
                    <a:pt x="701" y="142"/>
                  </a:lnTo>
                  <a:lnTo>
                    <a:pt x="704" y="154"/>
                  </a:lnTo>
                  <a:lnTo>
                    <a:pt x="756" y="188"/>
                  </a:lnTo>
                  <a:lnTo>
                    <a:pt x="778" y="188"/>
                  </a:lnTo>
                  <a:lnTo>
                    <a:pt x="782" y="192"/>
                  </a:lnTo>
                  <a:lnTo>
                    <a:pt x="782" y="223"/>
                  </a:lnTo>
                  <a:lnTo>
                    <a:pt x="784" y="231"/>
                  </a:lnTo>
                  <a:lnTo>
                    <a:pt x="777" y="287"/>
                  </a:lnTo>
                  <a:lnTo>
                    <a:pt x="766" y="304"/>
                  </a:lnTo>
                  <a:lnTo>
                    <a:pt x="766" y="317"/>
                  </a:lnTo>
                  <a:lnTo>
                    <a:pt x="748" y="324"/>
                  </a:lnTo>
                  <a:lnTo>
                    <a:pt x="748" y="349"/>
                  </a:lnTo>
                  <a:lnTo>
                    <a:pt x="759" y="353"/>
                  </a:lnTo>
                  <a:lnTo>
                    <a:pt x="760" y="362"/>
                  </a:lnTo>
                  <a:lnTo>
                    <a:pt x="751" y="392"/>
                  </a:lnTo>
                  <a:lnTo>
                    <a:pt x="758" y="416"/>
                  </a:lnTo>
                  <a:lnTo>
                    <a:pt x="759" y="456"/>
                  </a:lnTo>
                  <a:lnTo>
                    <a:pt x="768" y="464"/>
                  </a:lnTo>
                  <a:lnTo>
                    <a:pt x="788" y="469"/>
                  </a:lnTo>
                  <a:lnTo>
                    <a:pt x="796" y="476"/>
                  </a:lnTo>
                  <a:lnTo>
                    <a:pt x="802" y="490"/>
                  </a:lnTo>
                  <a:lnTo>
                    <a:pt x="802" y="502"/>
                  </a:lnTo>
                  <a:lnTo>
                    <a:pt x="764" y="565"/>
                  </a:lnTo>
                  <a:lnTo>
                    <a:pt x="782" y="583"/>
                  </a:lnTo>
                  <a:lnTo>
                    <a:pt x="800" y="618"/>
                  </a:lnTo>
                  <a:lnTo>
                    <a:pt x="823" y="635"/>
                  </a:lnTo>
                  <a:lnTo>
                    <a:pt x="846" y="641"/>
                  </a:lnTo>
                  <a:lnTo>
                    <a:pt x="851" y="647"/>
                  </a:lnTo>
                  <a:lnTo>
                    <a:pt x="855" y="693"/>
                  </a:lnTo>
                  <a:lnTo>
                    <a:pt x="871" y="696"/>
                  </a:lnTo>
                  <a:lnTo>
                    <a:pt x="876" y="700"/>
                  </a:lnTo>
                  <a:lnTo>
                    <a:pt x="877" y="708"/>
                  </a:lnTo>
                  <a:lnTo>
                    <a:pt x="874" y="713"/>
                  </a:lnTo>
                  <a:lnTo>
                    <a:pt x="863" y="725"/>
                  </a:lnTo>
                  <a:lnTo>
                    <a:pt x="828" y="735"/>
                  </a:lnTo>
                  <a:lnTo>
                    <a:pt x="811" y="753"/>
                  </a:lnTo>
                  <a:lnTo>
                    <a:pt x="800" y="80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" name="Freeform 84"/>
            <p:cNvSpPr>
              <a:spLocks/>
            </p:cNvSpPr>
            <p:nvPr/>
          </p:nvSpPr>
          <p:spPr bwMode="auto">
            <a:xfrm>
              <a:off x="4614114" y="1672142"/>
              <a:ext cx="615397" cy="502803"/>
            </a:xfrm>
            <a:custGeom>
              <a:avLst/>
              <a:gdLst>
                <a:gd name="T0" fmla="*/ 4 w 512"/>
                <a:gd name="T1" fmla="*/ 17 h 505"/>
                <a:gd name="T2" fmla="*/ 1 w 512"/>
                <a:gd name="T3" fmla="*/ 13 h 505"/>
                <a:gd name="T4" fmla="*/ 0 w 512"/>
                <a:gd name="T5" fmla="*/ 10 h 505"/>
                <a:gd name="T6" fmla="*/ 1 w 512"/>
                <a:gd name="T7" fmla="*/ 9 h 505"/>
                <a:gd name="T8" fmla="*/ 2 w 512"/>
                <a:gd name="T9" fmla="*/ 9 h 505"/>
                <a:gd name="T10" fmla="*/ 1 w 512"/>
                <a:gd name="T11" fmla="*/ 2 h 505"/>
                <a:gd name="T12" fmla="*/ 2 w 512"/>
                <a:gd name="T13" fmla="*/ 1 h 505"/>
                <a:gd name="T14" fmla="*/ 4 w 512"/>
                <a:gd name="T15" fmla="*/ 0 h 505"/>
                <a:gd name="T16" fmla="*/ 5 w 512"/>
                <a:gd name="T17" fmla="*/ 1 h 505"/>
                <a:gd name="T18" fmla="*/ 18 w 512"/>
                <a:gd name="T19" fmla="*/ 1 h 505"/>
                <a:gd name="T20" fmla="*/ 25 w 512"/>
                <a:gd name="T21" fmla="*/ 3 h 505"/>
                <a:gd name="T22" fmla="*/ 30 w 512"/>
                <a:gd name="T23" fmla="*/ 4 h 505"/>
                <a:gd name="T24" fmla="*/ 44 w 512"/>
                <a:gd name="T25" fmla="*/ 2 h 505"/>
                <a:gd name="T26" fmla="*/ 48 w 512"/>
                <a:gd name="T27" fmla="*/ 1 h 505"/>
                <a:gd name="T28" fmla="*/ 46 w 512"/>
                <a:gd name="T29" fmla="*/ 2 h 505"/>
                <a:gd name="T30" fmla="*/ 49 w 512"/>
                <a:gd name="T31" fmla="*/ 2 h 505"/>
                <a:gd name="T32" fmla="*/ 50 w 512"/>
                <a:gd name="T33" fmla="*/ 1 h 505"/>
                <a:gd name="T34" fmla="*/ 56 w 512"/>
                <a:gd name="T35" fmla="*/ 1 h 505"/>
                <a:gd name="T36" fmla="*/ 57 w 512"/>
                <a:gd name="T37" fmla="*/ 1 h 505"/>
                <a:gd name="T38" fmla="*/ 58 w 512"/>
                <a:gd name="T39" fmla="*/ 2 h 505"/>
                <a:gd name="T40" fmla="*/ 59 w 512"/>
                <a:gd name="T41" fmla="*/ 3 h 505"/>
                <a:gd name="T42" fmla="*/ 62 w 512"/>
                <a:gd name="T43" fmla="*/ 4 h 505"/>
                <a:gd name="T44" fmla="*/ 65 w 512"/>
                <a:gd name="T45" fmla="*/ 3 h 505"/>
                <a:gd name="T46" fmla="*/ 66 w 512"/>
                <a:gd name="T47" fmla="*/ 4 h 505"/>
                <a:gd name="T48" fmla="*/ 74 w 512"/>
                <a:gd name="T49" fmla="*/ 2 h 505"/>
                <a:gd name="T50" fmla="*/ 76 w 512"/>
                <a:gd name="T51" fmla="*/ 22 h 505"/>
                <a:gd name="T52" fmla="*/ 76 w 512"/>
                <a:gd name="T53" fmla="*/ 24 h 505"/>
                <a:gd name="T54" fmla="*/ 75 w 512"/>
                <a:gd name="T55" fmla="*/ 25 h 505"/>
                <a:gd name="T56" fmla="*/ 67 w 512"/>
                <a:gd name="T57" fmla="*/ 19 h 505"/>
                <a:gd name="T58" fmla="*/ 63 w 512"/>
                <a:gd name="T59" fmla="*/ 13 h 505"/>
                <a:gd name="T60" fmla="*/ 62 w 512"/>
                <a:gd name="T61" fmla="*/ 11 h 505"/>
                <a:gd name="T62" fmla="*/ 62 w 512"/>
                <a:gd name="T63" fmla="*/ 10 h 505"/>
                <a:gd name="T64" fmla="*/ 62 w 512"/>
                <a:gd name="T65" fmla="*/ 11 h 505"/>
                <a:gd name="T66" fmla="*/ 60 w 512"/>
                <a:gd name="T67" fmla="*/ 13 h 505"/>
                <a:gd name="T68" fmla="*/ 62 w 512"/>
                <a:gd name="T69" fmla="*/ 14 h 505"/>
                <a:gd name="T70" fmla="*/ 63 w 512"/>
                <a:gd name="T71" fmla="*/ 17 h 505"/>
                <a:gd name="T72" fmla="*/ 69 w 512"/>
                <a:gd name="T73" fmla="*/ 23 h 505"/>
                <a:gd name="T74" fmla="*/ 70 w 512"/>
                <a:gd name="T75" fmla="*/ 26 h 505"/>
                <a:gd name="T76" fmla="*/ 86 w 512"/>
                <a:gd name="T77" fmla="*/ 47 h 505"/>
                <a:gd name="T78" fmla="*/ 87 w 512"/>
                <a:gd name="T79" fmla="*/ 48 h 505"/>
                <a:gd name="T80" fmla="*/ 85 w 512"/>
                <a:gd name="T81" fmla="*/ 48 h 505"/>
                <a:gd name="T82" fmla="*/ 85 w 512"/>
                <a:gd name="T83" fmla="*/ 48 h 505"/>
                <a:gd name="T84" fmla="*/ 85 w 512"/>
                <a:gd name="T85" fmla="*/ 52 h 505"/>
                <a:gd name="T86" fmla="*/ 83 w 512"/>
                <a:gd name="T87" fmla="*/ 55 h 505"/>
                <a:gd name="T88" fmla="*/ 79 w 512"/>
                <a:gd name="T89" fmla="*/ 57 h 505"/>
                <a:gd name="T90" fmla="*/ 73 w 512"/>
                <a:gd name="T91" fmla="*/ 61 h 505"/>
                <a:gd name="T92" fmla="*/ 67 w 512"/>
                <a:gd name="T93" fmla="*/ 60 h 505"/>
                <a:gd name="T94" fmla="*/ 54 w 512"/>
                <a:gd name="T95" fmla="*/ 58 h 505"/>
                <a:gd name="T96" fmla="*/ 54 w 512"/>
                <a:gd name="T97" fmla="*/ 58 h 505"/>
                <a:gd name="T98" fmla="*/ 52 w 512"/>
                <a:gd name="T99" fmla="*/ 60 h 505"/>
                <a:gd name="T100" fmla="*/ 4 w 512"/>
                <a:gd name="T101" fmla="*/ 56 h 5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12"/>
                <a:gd name="T154" fmla="*/ 0 h 505"/>
                <a:gd name="T155" fmla="*/ 512 w 512"/>
                <a:gd name="T156" fmla="*/ 505 h 5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12" h="505">
                  <a:moveTo>
                    <a:pt x="22" y="462"/>
                  </a:moveTo>
                  <a:lnTo>
                    <a:pt x="22" y="138"/>
                  </a:lnTo>
                  <a:lnTo>
                    <a:pt x="7" y="122"/>
                  </a:lnTo>
                  <a:lnTo>
                    <a:pt x="9" y="112"/>
                  </a:lnTo>
                  <a:lnTo>
                    <a:pt x="2" y="101"/>
                  </a:lnTo>
                  <a:lnTo>
                    <a:pt x="0" y="83"/>
                  </a:lnTo>
                  <a:lnTo>
                    <a:pt x="1" y="80"/>
                  </a:lnTo>
                  <a:lnTo>
                    <a:pt x="4" y="76"/>
                  </a:lnTo>
                  <a:lnTo>
                    <a:pt x="11" y="72"/>
                  </a:lnTo>
                  <a:lnTo>
                    <a:pt x="12" y="71"/>
                  </a:lnTo>
                  <a:lnTo>
                    <a:pt x="9" y="26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13" y="9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5" y="5"/>
                  </a:lnTo>
                  <a:lnTo>
                    <a:pt x="30" y="7"/>
                  </a:lnTo>
                  <a:lnTo>
                    <a:pt x="57" y="3"/>
                  </a:lnTo>
                  <a:lnTo>
                    <a:pt x="103" y="10"/>
                  </a:lnTo>
                  <a:lnTo>
                    <a:pt x="129" y="23"/>
                  </a:lnTo>
                  <a:lnTo>
                    <a:pt x="149" y="26"/>
                  </a:lnTo>
                  <a:lnTo>
                    <a:pt x="156" y="31"/>
                  </a:lnTo>
                  <a:lnTo>
                    <a:pt x="179" y="33"/>
                  </a:lnTo>
                  <a:lnTo>
                    <a:pt x="200" y="44"/>
                  </a:lnTo>
                  <a:lnTo>
                    <a:pt x="261" y="12"/>
                  </a:lnTo>
                  <a:lnTo>
                    <a:pt x="282" y="8"/>
                  </a:lnTo>
                  <a:lnTo>
                    <a:pt x="282" y="10"/>
                  </a:lnTo>
                  <a:lnTo>
                    <a:pt x="271" y="14"/>
                  </a:lnTo>
                  <a:lnTo>
                    <a:pt x="269" y="17"/>
                  </a:lnTo>
                  <a:lnTo>
                    <a:pt x="271" y="18"/>
                  </a:lnTo>
                  <a:lnTo>
                    <a:pt x="288" y="14"/>
                  </a:lnTo>
                  <a:lnTo>
                    <a:pt x="292" y="12"/>
                  </a:lnTo>
                  <a:lnTo>
                    <a:pt x="296" y="7"/>
                  </a:lnTo>
                  <a:lnTo>
                    <a:pt x="302" y="9"/>
                  </a:lnTo>
                  <a:lnTo>
                    <a:pt x="327" y="10"/>
                  </a:lnTo>
                  <a:lnTo>
                    <a:pt x="335" y="6"/>
                  </a:lnTo>
                  <a:lnTo>
                    <a:pt x="336" y="8"/>
                  </a:lnTo>
                  <a:lnTo>
                    <a:pt x="338" y="12"/>
                  </a:lnTo>
                  <a:lnTo>
                    <a:pt x="342" y="14"/>
                  </a:lnTo>
                  <a:lnTo>
                    <a:pt x="345" y="18"/>
                  </a:lnTo>
                  <a:lnTo>
                    <a:pt x="349" y="21"/>
                  </a:lnTo>
                  <a:lnTo>
                    <a:pt x="356" y="24"/>
                  </a:lnTo>
                  <a:lnTo>
                    <a:pt x="364" y="33"/>
                  </a:lnTo>
                  <a:lnTo>
                    <a:pt x="381" y="33"/>
                  </a:lnTo>
                  <a:lnTo>
                    <a:pt x="384" y="30"/>
                  </a:lnTo>
                  <a:lnTo>
                    <a:pt x="388" y="29"/>
                  </a:lnTo>
                  <a:lnTo>
                    <a:pt x="391" y="35"/>
                  </a:lnTo>
                  <a:lnTo>
                    <a:pt x="411" y="31"/>
                  </a:lnTo>
                  <a:lnTo>
                    <a:pt x="435" y="18"/>
                  </a:lnTo>
                  <a:lnTo>
                    <a:pt x="469" y="121"/>
                  </a:lnTo>
                  <a:lnTo>
                    <a:pt x="451" y="184"/>
                  </a:lnTo>
                  <a:lnTo>
                    <a:pt x="451" y="190"/>
                  </a:lnTo>
                  <a:lnTo>
                    <a:pt x="450" y="196"/>
                  </a:lnTo>
                  <a:lnTo>
                    <a:pt x="447" y="199"/>
                  </a:lnTo>
                  <a:lnTo>
                    <a:pt x="441" y="203"/>
                  </a:lnTo>
                  <a:lnTo>
                    <a:pt x="433" y="202"/>
                  </a:lnTo>
                  <a:lnTo>
                    <a:pt x="397" y="158"/>
                  </a:lnTo>
                  <a:lnTo>
                    <a:pt x="396" y="147"/>
                  </a:lnTo>
                  <a:lnTo>
                    <a:pt x="373" y="113"/>
                  </a:lnTo>
                  <a:lnTo>
                    <a:pt x="370" y="96"/>
                  </a:lnTo>
                  <a:lnTo>
                    <a:pt x="367" y="91"/>
                  </a:lnTo>
                  <a:lnTo>
                    <a:pt x="366" y="88"/>
                  </a:lnTo>
                  <a:lnTo>
                    <a:pt x="365" y="87"/>
                  </a:lnTo>
                  <a:lnTo>
                    <a:pt x="361" y="90"/>
                  </a:lnTo>
                  <a:lnTo>
                    <a:pt x="363" y="94"/>
                  </a:lnTo>
                  <a:lnTo>
                    <a:pt x="359" y="100"/>
                  </a:lnTo>
                  <a:lnTo>
                    <a:pt x="358" y="109"/>
                  </a:lnTo>
                  <a:lnTo>
                    <a:pt x="359" y="113"/>
                  </a:lnTo>
                  <a:lnTo>
                    <a:pt x="366" y="120"/>
                  </a:lnTo>
                  <a:lnTo>
                    <a:pt x="369" y="129"/>
                  </a:lnTo>
                  <a:lnTo>
                    <a:pt x="369" y="140"/>
                  </a:lnTo>
                  <a:lnTo>
                    <a:pt x="384" y="170"/>
                  </a:lnTo>
                  <a:lnTo>
                    <a:pt x="404" y="192"/>
                  </a:lnTo>
                  <a:lnTo>
                    <a:pt x="408" y="194"/>
                  </a:lnTo>
                  <a:lnTo>
                    <a:pt x="411" y="214"/>
                  </a:lnTo>
                  <a:lnTo>
                    <a:pt x="484" y="372"/>
                  </a:lnTo>
                  <a:lnTo>
                    <a:pt x="506" y="393"/>
                  </a:lnTo>
                  <a:lnTo>
                    <a:pt x="509" y="394"/>
                  </a:lnTo>
                  <a:lnTo>
                    <a:pt x="512" y="398"/>
                  </a:lnTo>
                  <a:lnTo>
                    <a:pt x="512" y="400"/>
                  </a:lnTo>
                  <a:lnTo>
                    <a:pt x="500" y="398"/>
                  </a:lnTo>
                  <a:lnTo>
                    <a:pt x="498" y="399"/>
                  </a:lnTo>
                  <a:lnTo>
                    <a:pt x="497" y="400"/>
                  </a:lnTo>
                  <a:lnTo>
                    <a:pt x="500" y="408"/>
                  </a:lnTo>
                  <a:lnTo>
                    <a:pt x="501" y="429"/>
                  </a:lnTo>
                  <a:lnTo>
                    <a:pt x="505" y="440"/>
                  </a:lnTo>
                  <a:lnTo>
                    <a:pt x="486" y="456"/>
                  </a:lnTo>
                  <a:lnTo>
                    <a:pt x="475" y="451"/>
                  </a:lnTo>
                  <a:lnTo>
                    <a:pt x="464" y="477"/>
                  </a:lnTo>
                  <a:lnTo>
                    <a:pt x="440" y="483"/>
                  </a:lnTo>
                  <a:lnTo>
                    <a:pt x="433" y="504"/>
                  </a:lnTo>
                  <a:lnTo>
                    <a:pt x="412" y="505"/>
                  </a:lnTo>
                  <a:lnTo>
                    <a:pt x="395" y="495"/>
                  </a:lnTo>
                  <a:lnTo>
                    <a:pt x="315" y="494"/>
                  </a:lnTo>
                  <a:lnTo>
                    <a:pt x="319" y="485"/>
                  </a:lnTo>
                  <a:lnTo>
                    <a:pt x="317" y="485"/>
                  </a:lnTo>
                  <a:lnTo>
                    <a:pt x="315" y="483"/>
                  </a:lnTo>
                  <a:lnTo>
                    <a:pt x="313" y="483"/>
                  </a:lnTo>
                  <a:lnTo>
                    <a:pt x="305" y="494"/>
                  </a:lnTo>
                  <a:lnTo>
                    <a:pt x="22" y="494"/>
                  </a:lnTo>
                  <a:lnTo>
                    <a:pt x="22" y="46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" name="Freeform 85"/>
            <p:cNvSpPr>
              <a:spLocks/>
            </p:cNvSpPr>
            <p:nvPr/>
          </p:nvSpPr>
          <p:spPr bwMode="auto">
            <a:xfrm>
              <a:off x="4614114" y="1672142"/>
              <a:ext cx="615397" cy="502803"/>
            </a:xfrm>
            <a:custGeom>
              <a:avLst/>
              <a:gdLst>
                <a:gd name="T0" fmla="*/ 4 w 512"/>
                <a:gd name="T1" fmla="*/ 17 h 505"/>
                <a:gd name="T2" fmla="*/ 1 w 512"/>
                <a:gd name="T3" fmla="*/ 13 h 505"/>
                <a:gd name="T4" fmla="*/ 0 w 512"/>
                <a:gd name="T5" fmla="*/ 10 h 505"/>
                <a:gd name="T6" fmla="*/ 1 w 512"/>
                <a:gd name="T7" fmla="*/ 9 h 505"/>
                <a:gd name="T8" fmla="*/ 2 w 512"/>
                <a:gd name="T9" fmla="*/ 9 h 505"/>
                <a:gd name="T10" fmla="*/ 1 w 512"/>
                <a:gd name="T11" fmla="*/ 2 h 505"/>
                <a:gd name="T12" fmla="*/ 2 w 512"/>
                <a:gd name="T13" fmla="*/ 1 h 505"/>
                <a:gd name="T14" fmla="*/ 4 w 512"/>
                <a:gd name="T15" fmla="*/ 0 h 505"/>
                <a:gd name="T16" fmla="*/ 5 w 512"/>
                <a:gd name="T17" fmla="*/ 1 h 505"/>
                <a:gd name="T18" fmla="*/ 18 w 512"/>
                <a:gd name="T19" fmla="*/ 1 h 505"/>
                <a:gd name="T20" fmla="*/ 25 w 512"/>
                <a:gd name="T21" fmla="*/ 3 h 505"/>
                <a:gd name="T22" fmla="*/ 30 w 512"/>
                <a:gd name="T23" fmla="*/ 4 h 505"/>
                <a:gd name="T24" fmla="*/ 44 w 512"/>
                <a:gd name="T25" fmla="*/ 2 h 505"/>
                <a:gd name="T26" fmla="*/ 48 w 512"/>
                <a:gd name="T27" fmla="*/ 1 h 505"/>
                <a:gd name="T28" fmla="*/ 46 w 512"/>
                <a:gd name="T29" fmla="*/ 2 h 505"/>
                <a:gd name="T30" fmla="*/ 49 w 512"/>
                <a:gd name="T31" fmla="*/ 2 h 505"/>
                <a:gd name="T32" fmla="*/ 50 w 512"/>
                <a:gd name="T33" fmla="*/ 1 h 505"/>
                <a:gd name="T34" fmla="*/ 56 w 512"/>
                <a:gd name="T35" fmla="*/ 1 h 505"/>
                <a:gd name="T36" fmla="*/ 57 w 512"/>
                <a:gd name="T37" fmla="*/ 1 h 505"/>
                <a:gd name="T38" fmla="*/ 58 w 512"/>
                <a:gd name="T39" fmla="*/ 2 h 505"/>
                <a:gd name="T40" fmla="*/ 59 w 512"/>
                <a:gd name="T41" fmla="*/ 3 h 505"/>
                <a:gd name="T42" fmla="*/ 62 w 512"/>
                <a:gd name="T43" fmla="*/ 4 h 505"/>
                <a:gd name="T44" fmla="*/ 65 w 512"/>
                <a:gd name="T45" fmla="*/ 3 h 505"/>
                <a:gd name="T46" fmla="*/ 66 w 512"/>
                <a:gd name="T47" fmla="*/ 4 h 505"/>
                <a:gd name="T48" fmla="*/ 74 w 512"/>
                <a:gd name="T49" fmla="*/ 2 h 505"/>
                <a:gd name="T50" fmla="*/ 76 w 512"/>
                <a:gd name="T51" fmla="*/ 22 h 505"/>
                <a:gd name="T52" fmla="*/ 76 w 512"/>
                <a:gd name="T53" fmla="*/ 24 h 505"/>
                <a:gd name="T54" fmla="*/ 75 w 512"/>
                <a:gd name="T55" fmla="*/ 25 h 505"/>
                <a:gd name="T56" fmla="*/ 67 w 512"/>
                <a:gd name="T57" fmla="*/ 19 h 505"/>
                <a:gd name="T58" fmla="*/ 63 w 512"/>
                <a:gd name="T59" fmla="*/ 13 h 505"/>
                <a:gd name="T60" fmla="*/ 62 w 512"/>
                <a:gd name="T61" fmla="*/ 11 h 505"/>
                <a:gd name="T62" fmla="*/ 62 w 512"/>
                <a:gd name="T63" fmla="*/ 10 h 505"/>
                <a:gd name="T64" fmla="*/ 62 w 512"/>
                <a:gd name="T65" fmla="*/ 11 h 505"/>
                <a:gd name="T66" fmla="*/ 60 w 512"/>
                <a:gd name="T67" fmla="*/ 13 h 505"/>
                <a:gd name="T68" fmla="*/ 62 w 512"/>
                <a:gd name="T69" fmla="*/ 14 h 505"/>
                <a:gd name="T70" fmla="*/ 63 w 512"/>
                <a:gd name="T71" fmla="*/ 17 h 505"/>
                <a:gd name="T72" fmla="*/ 69 w 512"/>
                <a:gd name="T73" fmla="*/ 23 h 505"/>
                <a:gd name="T74" fmla="*/ 70 w 512"/>
                <a:gd name="T75" fmla="*/ 26 h 505"/>
                <a:gd name="T76" fmla="*/ 86 w 512"/>
                <a:gd name="T77" fmla="*/ 47 h 505"/>
                <a:gd name="T78" fmla="*/ 87 w 512"/>
                <a:gd name="T79" fmla="*/ 48 h 505"/>
                <a:gd name="T80" fmla="*/ 85 w 512"/>
                <a:gd name="T81" fmla="*/ 48 h 505"/>
                <a:gd name="T82" fmla="*/ 85 w 512"/>
                <a:gd name="T83" fmla="*/ 48 h 505"/>
                <a:gd name="T84" fmla="*/ 85 w 512"/>
                <a:gd name="T85" fmla="*/ 52 h 505"/>
                <a:gd name="T86" fmla="*/ 83 w 512"/>
                <a:gd name="T87" fmla="*/ 55 h 505"/>
                <a:gd name="T88" fmla="*/ 79 w 512"/>
                <a:gd name="T89" fmla="*/ 57 h 505"/>
                <a:gd name="T90" fmla="*/ 73 w 512"/>
                <a:gd name="T91" fmla="*/ 61 h 505"/>
                <a:gd name="T92" fmla="*/ 67 w 512"/>
                <a:gd name="T93" fmla="*/ 60 h 505"/>
                <a:gd name="T94" fmla="*/ 54 w 512"/>
                <a:gd name="T95" fmla="*/ 58 h 505"/>
                <a:gd name="T96" fmla="*/ 54 w 512"/>
                <a:gd name="T97" fmla="*/ 58 h 505"/>
                <a:gd name="T98" fmla="*/ 52 w 512"/>
                <a:gd name="T99" fmla="*/ 60 h 505"/>
                <a:gd name="T100" fmla="*/ 4 w 512"/>
                <a:gd name="T101" fmla="*/ 56 h 5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12"/>
                <a:gd name="T154" fmla="*/ 0 h 505"/>
                <a:gd name="T155" fmla="*/ 512 w 512"/>
                <a:gd name="T156" fmla="*/ 505 h 5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12" h="505">
                  <a:moveTo>
                    <a:pt x="22" y="462"/>
                  </a:moveTo>
                  <a:lnTo>
                    <a:pt x="22" y="138"/>
                  </a:lnTo>
                  <a:lnTo>
                    <a:pt x="7" y="122"/>
                  </a:lnTo>
                  <a:lnTo>
                    <a:pt x="9" y="112"/>
                  </a:lnTo>
                  <a:lnTo>
                    <a:pt x="2" y="101"/>
                  </a:lnTo>
                  <a:lnTo>
                    <a:pt x="0" y="83"/>
                  </a:lnTo>
                  <a:lnTo>
                    <a:pt x="1" y="80"/>
                  </a:lnTo>
                  <a:lnTo>
                    <a:pt x="4" y="76"/>
                  </a:lnTo>
                  <a:lnTo>
                    <a:pt x="11" y="72"/>
                  </a:lnTo>
                  <a:lnTo>
                    <a:pt x="12" y="71"/>
                  </a:lnTo>
                  <a:lnTo>
                    <a:pt x="9" y="26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13" y="9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5" y="5"/>
                  </a:lnTo>
                  <a:lnTo>
                    <a:pt x="30" y="7"/>
                  </a:lnTo>
                  <a:lnTo>
                    <a:pt x="57" y="3"/>
                  </a:lnTo>
                  <a:lnTo>
                    <a:pt x="103" y="10"/>
                  </a:lnTo>
                  <a:lnTo>
                    <a:pt x="129" y="23"/>
                  </a:lnTo>
                  <a:lnTo>
                    <a:pt x="149" y="26"/>
                  </a:lnTo>
                  <a:lnTo>
                    <a:pt x="156" y="31"/>
                  </a:lnTo>
                  <a:lnTo>
                    <a:pt x="179" y="33"/>
                  </a:lnTo>
                  <a:lnTo>
                    <a:pt x="200" y="44"/>
                  </a:lnTo>
                  <a:lnTo>
                    <a:pt x="261" y="12"/>
                  </a:lnTo>
                  <a:lnTo>
                    <a:pt x="282" y="8"/>
                  </a:lnTo>
                  <a:lnTo>
                    <a:pt x="282" y="10"/>
                  </a:lnTo>
                  <a:lnTo>
                    <a:pt x="271" y="14"/>
                  </a:lnTo>
                  <a:lnTo>
                    <a:pt x="269" y="17"/>
                  </a:lnTo>
                  <a:lnTo>
                    <a:pt x="271" y="18"/>
                  </a:lnTo>
                  <a:lnTo>
                    <a:pt x="288" y="14"/>
                  </a:lnTo>
                  <a:lnTo>
                    <a:pt x="292" y="12"/>
                  </a:lnTo>
                  <a:lnTo>
                    <a:pt x="296" y="7"/>
                  </a:lnTo>
                  <a:lnTo>
                    <a:pt x="302" y="9"/>
                  </a:lnTo>
                  <a:lnTo>
                    <a:pt x="327" y="10"/>
                  </a:lnTo>
                  <a:lnTo>
                    <a:pt x="335" y="6"/>
                  </a:lnTo>
                  <a:lnTo>
                    <a:pt x="336" y="8"/>
                  </a:lnTo>
                  <a:lnTo>
                    <a:pt x="338" y="12"/>
                  </a:lnTo>
                  <a:lnTo>
                    <a:pt x="342" y="14"/>
                  </a:lnTo>
                  <a:lnTo>
                    <a:pt x="345" y="18"/>
                  </a:lnTo>
                  <a:lnTo>
                    <a:pt x="349" y="21"/>
                  </a:lnTo>
                  <a:lnTo>
                    <a:pt x="356" y="24"/>
                  </a:lnTo>
                  <a:lnTo>
                    <a:pt x="364" y="33"/>
                  </a:lnTo>
                  <a:lnTo>
                    <a:pt x="381" y="33"/>
                  </a:lnTo>
                  <a:lnTo>
                    <a:pt x="384" y="30"/>
                  </a:lnTo>
                  <a:lnTo>
                    <a:pt x="388" y="29"/>
                  </a:lnTo>
                  <a:lnTo>
                    <a:pt x="391" y="35"/>
                  </a:lnTo>
                  <a:lnTo>
                    <a:pt x="411" y="31"/>
                  </a:lnTo>
                  <a:lnTo>
                    <a:pt x="435" y="18"/>
                  </a:lnTo>
                  <a:lnTo>
                    <a:pt x="469" y="121"/>
                  </a:lnTo>
                  <a:lnTo>
                    <a:pt x="451" y="184"/>
                  </a:lnTo>
                  <a:lnTo>
                    <a:pt x="451" y="190"/>
                  </a:lnTo>
                  <a:lnTo>
                    <a:pt x="450" y="196"/>
                  </a:lnTo>
                  <a:lnTo>
                    <a:pt x="447" y="199"/>
                  </a:lnTo>
                  <a:lnTo>
                    <a:pt x="441" y="203"/>
                  </a:lnTo>
                  <a:lnTo>
                    <a:pt x="433" y="202"/>
                  </a:lnTo>
                  <a:lnTo>
                    <a:pt x="397" y="158"/>
                  </a:lnTo>
                  <a:lnTo>
                    <a:pt x="396" y="147"/>
                  </a:lnTo>
                  <a:lnTo>
                    <a:pt x="373" y="113"/>
                  </a:lnTo>
                  <a:lnTo>
                    <a:pt x="370" y="96"/>
                  </a:lnTo>
                  <a:lnTo>
                    <a:pt x="367" y="91"/>
                  </a:lnTo>
                  <a:lnTo>
                    <a:pt x="366" y="88"/>
                  </a:lnTo>
                  <a:lnTo>
                    <a:pt x="365" y="87"/>
                  </a:lnTo>
                  <a:lnTo>
                    <a:pt x="361" y="90"/>
                  </a:lnTo>
                  <a:lnTo>
                    <a:pt x="363" y="94"/>
                  </a:lnTo>
                  <a:lnTo>
                    <a:pt x="359" y="100"/>
                  </a:lnTo>
                  <a:lnTo>
                    <a:pt x="358" y="109"/>
                  </a:lnTo>
                  <a:lnTo>
                    <a:pt x="359" y="113"/>
                  </a:lnTo>
                  <a:lnTo>
                    <a:pt x="366" y="120"/>
                  </a:lnTo>
                  <a:lnTo>
                    <a:pt x="369" y="129"/>
                  </a:lnTo>
                  <a:lnTo>
                    <a:pt x="369" y="140"/>
                  </a:lnTo>
                  <a:lnTo>
                    <a:pt x="384" y="170"/>
                  </a:lnTo>
                  <a:lnTo>
                    <a:pt x="404" y="192"/>
                  </a:lnTo>
                  <a:lnTo>
                    <a:pt x="408" y="194"/>
                  </a:lnTo>
                  <a:lnTo>
                    <a:pt x="411" y="214"/>
                  </a:lnTo>
                  <a:lnTo>
                    <a:pt x="484" y="372"/>
                  </a:lnTo>
                  <a:lnTo>
                    <a:pt x="506" y="393"/>
                  </a:lnTo>
                  <a:lnTo>
                    <a:pt x="509" y="394"/>
                  </a:lnTo>
                  <a:lnTo>
                    <a:pt x="512" y="398"/>
                  </a:lnTo>
                  <a:lnTo>
                    <a:pt x="512" y="400"/>
                  </a:lnTo>
                  <a:lnTo>
                    <a:pt x="500" y="398"/>
                  </a:lnTo>
                  <a:lnTo>
                    <a:pt x="498" y="399"/>
                  </a:lnTo>
                  <a:lnTo>
                    <a:pt x="497" y="400"/>
                  </a:lnTo>
                  <a:lnTo>
                    <a:pt x="500" y="408"/>
                  </a:lnTo>
                  <a:lnTo>
                    <a:pt x="501" y="429"/>
                  </a:lnTo>
                  <a:lnTo>
                    <a:pt x="505" y="440"/>
                  </a:lnTo>
                  <a:lnTo>
                    <a:pt x="486" y="456"/>
                  </a:lnTo>
                  <a:lnTo>
                    <a:pt x="475" y="451"/>
                  </a:lnTo>
                  <a:lnTo>
                    <a:pt x="464" y="477"/>
                  </a:lnTo>
                  <a:lnTo>
                    <a:pt x="440" y="483"/>
                  </a:lnTo>
                  <a:lnTo>
                    <a:pt x="433" y="504"/>
                  </a:lnTo>
                  <a:lnTo>
                    <a:pt x="412" y="505"/>
                  </a:lnTo>
                  <a:lnTo>
                    <a:pt x="395" y="495"/>
                  </a:lnTo>
                  <a:lnTo>
                    <a:pt x="315" y="494"/>
                  </a:lnTo>
                  <a:lnTo>
                    <a:pt x="319" y="485"/>
                  </a:lnTo>
                  <a:lnTo>
                    <a:pt x="317" y="485"/>
                  </a:lnTo>
                  <a:lnTo>
                    <a:pt x="315" y="483"/>
                  </a:lnTo>
                  <a:lnTo>
                    <a:pt x="313" y="483"/>
                  </a:lnTo>
                  <a:lnTo>
                    <a:pt x="305" y="494"/>
                  </a:lnTo>
                  <a:lnTo>
                    <a:pt x="22" y="494"/>
                  </a:lnTo>
                  <a:lnTo>
                    <a:pt x="22" y="46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9" name="Freeform 86"/>
            <p:cNvSpPr>
              <a:spLocks/>
            </p:cNvSpPr>
            <p:nvPr/>
          </p:nvSpPr>
          <p:spPr bwMode="auto">
            <a:xfrm>
              <a:off x="2796352" y="1369718"/>
              <a:ext cx="1115028" cy="940669"/>
            </a:xfrm>
            <a:custGeom>
              <a:avLst/>
              <a:gdLst>
                <a:gd name="T0" fmla="*/ 7 w 929"/>
                <a:gd name="T1" fmla="*/ 51 h 943"/>
                <a:gd name="T2" fmla="*/ 11 w 929"/>
                <a:gd name="T3" fmla="*/ 49 h 943"/>
                <a:gd name="T4" fmla="*/ 14 w 929"/>
                <a:gd name="T5" fmla="*/ 49 h 943"/>
                <a:gd name="T6" fmla="*/ 16 w 929"/>
                <a:gd name="T7" fmla="*/ 48 h 943"/>
                <a:gd name="T8" fmla="*/ 25 w 929"/>
                <a:gd name="T9" fmla="*/ 47 h 943"/>
                <a:gd name="T10" fmla="*/ 28 w 929"/>
                <a:gd name="T11" fmla="*/ 44 h 943"/>
                <a:gd name="T12" fmla="*/ 35 w 929"/>
                <a:gd name="T13" fmla="*/ 41 h 943"/>
                <a:gd name="T14" fmla="*/ 38 w 929"/>
                <a:gd name="T15" fmla="*/ 40 h 943"/>
                <a:gd name="T16" fmla="*/ 37 w 929"/>
                <a:gd name="T17" fmla="*/ 40 h 943"/>
                <a:gd name="T18" fmla="*/ 37 w 929"/>
                <a:gd name="T19" fmla="*/ 38 h 943"/>
                <a:gd name="T20" fmla="*/ 38 w 929"/>
                <a:gd name="T21" fmla="*/ 36 h 943"/>
                <a:gd name="T22" fmla="*/ 44 w 929"/>
                <a:gd name="T23" fmla="*/ 35 h 943"/>
                <a:gd name="T24" fmla="*/ 44 w 929"/>
                <a:gd name="T25" fmla="*/ 33 h 943"/>
                <a:gd name="T26" fmla="*/ 52 w 929"/>
                <a:gd name="T27" fmla="*/ 33 h 943"/>
                <a:gd name="T28" fmla="*/ 57 w 929"/>
                <a:gd name="T29" fmla="*/ 33 h 943"/>
                <a:gd name="T30" fmla="*/ 58 w 929"/>
                <a:gd name="T31" fmla="*/ 31 h 943"/>
                <a:gd name="T32" fmla="*/ 55 w 929"/>
                <a:gd name="T33" fmla="*/ 28 h 943"/>
                <a:gd name="T34" fmla="*/ 55 w 929"/>
                <a:gd name="T35" fmla="*/ 25 h 943"/>
                <a:gd name="T36" fmla="*/ 54 w 929"/>
                <a:gd name="T37" fmla="*/ 21 h 943"/>
                <a:gd name="T38" fmla="*/ 53 w 929"/>
                <a:gd name="T39" fmla="*/ 17 h 943"/>
                <a:gd name="T40" fmla="*/ 53 w 929"/>
                <a:gd name="T41" fmla="*/ 16 h 943"/>
                <a:gd name="T42" fmla="*/ 51 w 929"/>
                <a:gd name="T43" fmla="*/ 15 h 943"/>
                <a:gd name="T44" fmla="*/ 59 w 929"/>
                <a:gd name="T45" fmla="*/ 10 h 943"/>
                <a:gd name="T46" fmla="*/ 66 w 929"/>
                <a:gd name="T47" fmla="*/ 9 h 943"/>
                <a:gd name="T48" fmla="*/ 72 w 929"/>
                <a:gd name="T49" fmla="*/ 5 h 943"/>
                <a:gd name="T50" fmla="*/ 91 w 929"/>
                <a:gd name="T51" fmla="*/ 2 h 943"/>
                <a:gd name="T52" fmla="*/ 97 w 929"/>
                <a:gd name="T53" fmla="*/ 2 h 943"/>
                <a:gd name="T54" fmla="*/ 114 w 929"/>
                <a:gd name="T55" fmla="*/ 1 h 943"/>
                <a:gd name="T56" fmla="*/ 120 w 929"/>
                <a:gd name="T57" fmla="*/ 2 h 943"/>
                <a:gd name="T58" fmla="*/ 126 w 929"/>
                <a:gd name="T59" fmla="*/ 2 h 943"/>
                <a:gd name="T60" fmla="*/ 133 w 929"/>
                <a:gd name="T61" fmla="*/ 1 h 943"/>
                <a:gd name="T62" fmla="*/ 131 w 929"/>
                <a:gd name="T63" fmla="*/ 4 h 943"/>
                <a:gd name="T64" fmla="*/ 129 w 929"/>
                <a:gd name="T65" fmla="*/ 17 h 943"/>
                <a:gd name="T66" fmla="*/ 125 w 929"/>
                <a:gd name="T67" fmla="*/ 20 h 943"/>
                <a:gd name="T68" fmla="*/ 124 w 929"/>
                <a:gd name="T69" fmla="*/ 26 h 943"/>
                <a:gd name="T70" fmla="*/ 129 w 929"/>
                <a:gd name="T71" fmla="*/ 31 h 943"/>
                <a:gd name="T72" fmla="*/ 138 w 929"/>
                <a:gd name="T73" fmla="*/ 46 h 943"/>
                <a:gd name="T74" fmla="*/ 141 w 929"/>
                <a:gd name="T75" fmla="*/ 69 h 943"/>
                <a:gd name="T76" fmla="*/ 142 w 929"/>
                <a:gd name="T77" fmla="*/ 76 h 943"/>
                <a:gd name="T78" fmla="*/ 153 w 929"/>
                <a:gd name="T79" fmla="*/ 82 h 943"/>
                <a:gd name="T80" fmla="*/ 93 w 929"/>
                <a:gd name="T81" fmla="*/ 115 h 943"/>
                <a:gd name="T82" fmla="*/ 90 w 929"/>
                <a:gd name="T83" fmla="*/ 112 h 943"/>
                <a:gd name="T84" fmla="*/ 91 w 929"/>
                <a:gd name="T85" fmla="*/ 111 h 943"/>
                <a:gd name="T86" fmla="*/ 91 w 929"/>
                <a:gd name="T87" fmla="*/ 110 h 943"/>
                <a:gd name="T88" fmla="*/ 89 w 929"/>
                <a:gd name="T89" fmla="*/ 109 h 943"/>
                <a:gd name="T90" fmla="*/ 85 w 929"/>
                <a:gd name="T91" fmla="*/ 108 h 943"/>
                <a:gd name="T92" fmla="*/ 82 w 929"/>
                <a:gd name="T93" fmla="*/ 106 h 943"/>
                <a:gd name="T94" fmla="*/ 79 w 929"/>
                <a:gd name="T95" fmla="*/ 105 h 943"/>
                <a:gd name="T96" fmla="*/ 74 w 929"/>
                <a:gd name="T97" fmla="*/ 103 h 943"/>
                <a:gd name="T98" fmla="*/ 28 w 929"/>
                <a:gd name="T99" fmla="*/ 78 h 94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9"/>
                <a:gd name="T151" fmla="*/ 0 h 943"/>
                <a:gd name="T152" fmla="*/ 929 w 929"/>
                <a:gd name="T153" fmla="*/ 943 h 94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9" h="943">
                  <a:moveTo>
                    <a:pt x="169" y="646"/>
                  </a:moveTo>
                  <a:lnTo>
                    <a:pt x="0" y="536"/>
                  </a:lnTo>
                  <a:lnTo>
                    <a:pt x="0" y="450"/>
                  </a:lnTo>
                  <a:lnTo>
                    <a:pt x="38" y="422"/>
                  </a:lnTo>
                  <a:lnTo>
                    <a:pt x="48" y="421"/>
                  </a:lnTo>
                  <a:lnTo>
                    <a:pt x="55" y="417"/>
                  </a:lnTo>
                  <a:lnTo>
                    <a:pt x="61" y="414"/>
                  </a:lnTo>
                  <a:lnTo>
                    <a:pt x="65" y="409"/>
                  </a:lnTo>
                  <a:lnTo>
                    <a:pt x="69" y="406"/>
                  </a:lnTo>
                  <a:lnTo>
                    <a:pt x="75" y="407"/>
                  </a:lnTo>
                  <a:lnTo>
                    <a:pt x="80" y="406"/>
                  </a:lnTo>
                  <a:lnTo>
                    <a:pt x="84" y="408"/>
                  </a:lnTo>
                  <a:lnTo>
                    <a:pt x="92" y="408"/>
                  </a:lnTo>
                  <a:lnTo>
                    <a:pt x="94" y="407"/>
                  </a:lnTo>
                  <a:lnTo>
                    <a:pt x="94" y="399"/>
                  </a:lnTo>
                  <a:lnTo>
                    <a:pt x="95" y="396"/>
                  </a:lnTo>
                  <a:lnTo>
                    <a:pt x="109" y="397"/>
                  </a:lnTo>
                  <a:lnTo>
                    <a:pt x="113" y="395"/>
                  </a:lnTo>
                  <a:lnTo>
                    <a:pt x="134" y="393"/>
                  </a:lnTo>
                  <a:lnTo>
                    <a:pt x="148" y="387"/>
                  </a:lnTo>
                  <a:lnTo>
                    <a:pt x="158" y="379"/>
                  </a:lnTo>
                  <a:lnTo>
                    <a:pt x="161" y="375"/>
                  </a:lnTo>
                  <a:lnTo>
                    <a:pt x="161" y="372"/>
                  </a:lnTo>
                  <a:lnTo>
                    <a:pt x="164" y="365"/>
                  </a:lnTo>
                  <a:lnTo>
                    <a:pt x="172" y="359"/>
                  </a:lnTo>
                  <a:lnTo>
                    <a:pt x="184" y="354"/>
                  </a:lnTo>
                  <a:lnTo>
                    <a:pt x="189" y="354"/>
                  </a:lnTo>
                  <a:lnTo>
                    <a:pt x="210" y="341"/>
                  </a:lnTo>
                  <a:lnTo>
                    <a:pt x="228" y="336"/>
                  </a:lnTo>
                  <a:lnTo>
                    <a:pt x="230" y="333"/>
                  </a:lnTo>
                  <a:lnTo>
                    <a:pt x="229" y="331"/>
                  </a:lnTo>
                  <a:lnTo>
                    <a:pt x="225" y="328"/>
                  </a:lnTo>
                  <a:lnTo>
                    <a:pt x="224" y="326"/>
                  </a:lnTo>
                  <a:lnTo>
                    <a:pt x="222" y="325"/>
                  </a:lnTo>
                  <a:lnTo>
                    <a:pt x="221" y="327"/>
                  </a:lnTo>
                  <a:lnTo>
                    <a:pt x="219" y="326"/>
                  </a:lnTo>
                  <a:lnTo>
                    <a:pt x="220" y="318"/>
                  </a:lnTo>
                  <a:lnTo>
                    <a:pt x="224" y="314"/>
                  </a:lnTo>
                  <a:lnTo>
                    <a:pt x="223" y="312"/>
                  </a:lnTo>
                  <a:lnTo>
                    <a:pt x="219" y="312"/>
                  </a:lnTo>
                  <a:lnTo>
                    <a:pt x="218" y="310"/>
                  </a:lnTo>
                  <a:lnTo>
                    <a:pt x="218" y="303"/>
                  </a:lnTo>
                  <a:lnTo>
                    <a:pt x="220" y="299"/>
                  </a:lnTo>
                  <a:lnTo>
                    <a:pt x="223" y="296"/>
                  </a:lnTo>
                  <a:lnTo>
                    <a:pt x="228" y="296"/>
                  </a:lnTo>
                  <a:lnTo>
                    <a:pt x="233" y="298"/>
                  </a:lnTo>
                  <a:lnTo>
                    <a:pt x="258" y="291"/>
                  </a:lnTo>
                  <a:lnTo>
                    <a:pt x="259" y="289"/>
                  </a:lnTo>
                  <a:lnTo>
                    <a:pt x="260" y="284"/>
                  </a:lnTo>
                  <a:lnTo>
                    <a:pt x="259" y="279"/>
                  </a:lnTo>
                  <a:lnTo>
                    <a:pt x="261" y="275"/>
                  </a:lnTo>
                  <a:lnTo>
                    <a:pt x="263" y="275"/>
                  </a:lnTo>
                  <a:lnTo>
                    <a:pt x="269" y="277"/>
                  </a:lnTo>
                  <a:lnTo>
                    <a:pt x="272" y="276"/>
                  </a:lnTo>
                  <a:lnTo>
                    <a:pt x="275" y="274"/>
                  </a:lnTo>
                  <a:lnTo>
                    <a:pt x="309" y="271"/>
                  </a:lnTo>
                  <a:lnTo>
                    <a:pt x="314" y="269"/>
                  </a:lnTo>
                  <a:lnTo>
                    <a:pt x="333" y="271"/>
                  </a:lnTo>
                  <a:lnTo>
                    <a:pt x="338" y="274"/>
                  </a:lnTo>
                  <a:lnTo>
                    <a:pt x="341" y="274"/>
                  </a:lnTo>
                  <a:lnTo>
                    <a:pt x="341" y="271"/>
                  </a:lnTo>
                  <a:lnTo>
                    <a:pt x="339" y="267"/>
                  </a:lnTo>
                  <a:lnTo>
                    <a:pt x="339" y="261"/>
                  </a:lnTo>
                  <a:lnTo>
                    <a:pt x="344" y="255"/>
                  </a:lnTo>
                  <a:lnTo>
                    <a:pt x="348" y="254"/>
                  </a:lnTo>
                  <a:lnTo>
                    <a:pt x="348" y="253"/>
                  </a:lnTo>
                  <a:lnTo>
                    <a:pt x="333" y="240"/>
                  </a:lnTo>
                  <a:lnTo>
                    <a:pt x="328" y="229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5" y="207"/>
                  </a:lnTo>
                  <a:lnTo>
                    <a:pt x="326" y="203"/>
                  </a:lnTo>
                  <a:lnTo>
                    <a:pt x="325" y="195"/>
                  </a:lnTo>
                  <a:lnTo>
                    <a:pt x="320" y="189"/>
                  </a:lnTo>
                  <a:lnTo>
                    <a:pt x="322" y="186"/>
                  </a:lnTo>
                  <a:lnTo>
                    <a:pt x="323" y="171"/>
                  </a:lnTo>
                  <a:lnTo>
                    <a:pt x="319" y="155"/>
                  </a:lnTo>
                  <a:lnTo>
                    <a:pt x="321" y="150"/>
                  </a:lnTo>
                  <a:lnTo>
                    <a:pt x="317" y="141"/>
                  </a:lnTo>
                  <a:lnTo>
                    <a:pt x="318" y="140"/>
                  </a:lnTo>
                  <a:lnTo>
                    <a:pt x="319" y="139"/>
                  </a:lnTo>
                  <a:lnTo>
                    <a:pt x="320" y="137"/>
                  </a:lnTo>
                  <a:lnTo>
                    <a:pt x="318" y="135"/>
                  </a:lnTo>
                  <a:lnTo>
                    <a:pt x="315" y="133"/>
                  </a:lnTo>
                  <a:lnTo>
                    <a:pt x="312" y="130"/>
                  </a:lnTo>
                  <a:lnTo>
                    <a:pt x="309" y="127"/>
                  </a:lnTo>
                  <a:lnTo>
                    <a:pt x="305" y="123"/>
                  </a:lnTo>
                  <a:lnTo>
                    <a:pt x="302" y="120"/>
                  </a:lnTo>
                  <a:lnTo>
                    <a:pt x="303" y="115"/>
                  </a:lnTo>
                  <a:lnTo>
                    <a:pt x="309" y="115"/>
                  </a:lnTo>
                  <a:lnTo>
                    <a:pt x="333" y="102"/>
                  </a:lnTo>
                  <a:lnTo>
                    <a:pt x="348" y="83"/>
                  </a:lnTo>
                  <a:lnTo>
                    <a:pt x="357" y="76"/>
                  </a:lnTo>
                  <a:lnTo>
                    <a:pt x="370" y="76"/>
                  </a:lnTo>
                  <a:lnTo>
                    <a:pt x="381" y="69"/>
                  </a:lnTo>
                  <a:lnTo>
                    <a:pt x="389" y="73"/>
                  </a:lnTo>
                  <a:lnTo>
                    <a:pt x="398" y="69"/>
                  </a:lnTo>
                  <a:lnTo>
                    <a:pt x="410" y="54"/>
                  </a:lnTo>
                  <a:lnTo>
                    <a:pt x="422" y="50"/>
                  </a:lnTo>
                  <a:lnTo>
                    <a:pt x="430" y="42"/>
                  </a:lnTo>
                  <a:lnTo>
                    <a:pt x="463" y="31"/>
                  </a:lnTo>
                  <a:lnTo>
                    <a:pt x="518" y="28"/>
                  </a:lnTo>
                  <a:lnTo>
                    <a:pt x="533" y="17"/>
                  </a:lnTo>
                  <a:lnTo>
                    <a:pt x="540" y="19"/>
                  </a:lnTo>
                  <a:lnTo>
                    <a:pt x="550" y="18"/>
                  </a:lnTo>
                  <a:lnTo>
                    <a:pt x="554" y="20"/>
                  </a:lnTo>
                  <a:lnTo>
                    <a:pt x="561" y="18"/>
                  </a:lnTo>
                  <a:lnTo>
                    <a:pt x="575" y="11"/>
                  </a:lnTo>
                  <a:lnTo>
                    <a:pt x="621" y="13"/>
                  </a:lnTo>
                  <a:lnTo>
                    <a:pt x="628" y="21"/>
                  </a:lnTo>
                  <a:lnTo>
                    <a:pt x="638" y="23"/>
                  </a:lnTo>
                  <a:lnTo>
                    <a:pt x="678" y="10"/>
                  </a:lnTo>
                  <a:lnTo>
                    <a:pt x="684" y="0"/>
                  </a:lnTo>
                  <a:lnTo>
                    <a:pt x="702" y="8"/>
                  </a:lnTo>
                  <a:lnTo>
                    <a:pt x="706" y="8"/>
                  </a:lnTo>
                  <a:lnTo>
                    <a:pt x="714" y="11"/>
                  </a:lnTo>
                  <a:lnTo>
                    <a:pt x="723" y="7"/>
                  </a:lnTo>
                  <a:lnTo>
                    <a:pt x="727" y="1"/>
                  </a:lnTo>
                  <a:lnTo>
                    <a:pt x="745" y="7"/>
                  </a:lnTo>
                  <a:lnTo>
                    <a:pt x="752" y="13"/>
                  </a:lnTo>
                  <a:lnTo>
                    <a:pt x="763" y="11"/>
                  </a:lnTo>
                  <a:lnTo>
                    <a:pt x="769" y="8"/>
                  </a:lnTo>
                  <a:lnTo>
                    <a:pt x="781" y="10"/>
                  </a:lnTo>
                  <a:lnTo>
                    <a:pt x="791" y="8"/>
                  </a:lnTo>
                  <a:lnTo>
                    <a:pt x="790" y="13"/>
                  </a:lnTo>
                  <a:lnTo>
                    <a:pt x="773" y="29"/>
                  </a:lnTo>
                  <a:lnTo>
                    <a:pt x="771" y="33"/>
                  </a:lnTo>
                  <a:lnTo>
                    <a:pt x="777" y="35"/>
                  </a:lnTo>
                  <a:lnTo>
                    <a:pt x="778" y="38"/>
                  </a:lnTo>
                  <a:lnTo>
                    <a:pt x="775" y="99"/>
                  </a:lnTo>
                  <a:lnTo>
                    <a:pt x="779" y="105"/>
                  </a:lnTo>
                  <a:lnTo>
                    <a:pt x="770" y="141"/>
                  </a:lnTo>
                  <a:lnTo>
                    <a:pt x="753" y="153"/>
                  </a:lnTo>
                  <a:lnTo>
                    <a:pt x="751" y="161"/>
                  </a:lnTo>
                  <a:lnTo>
                    <a:pt x="744" y="165"/>
                  </a:lnTo>
                  <a:lnTo>
                    <a:pt x="741" y="169"/>
                  </a:lnTo>
                  <a:lnTo>
                    <a:pt x="740" y="171"/>
                  </a:lnTo>
                  <a:lnTo>
                    <a:pt x="731" y="178"/>
                  </a:lnTo>
                  <a:lnTo>
                    <a:pt x="729" y="178"/>
                  </a:lnTo>
                  <a:lnTo>
                    <a:pt x="740" y="215"/>
                  </a:lnTo>
                  <a:lnTo>
                    <a:pt x="756" y="221"/>
                  </a:lnTo>
                  <a:lnTo>
                    <a:pt x="760" y="226"/>
                  </a:lnTo>
                  <a:lnTo>
                    <a:pt x="767" y="243"/>
                  </a:lnTo>
                  <a:lnTo>
                    <a:pt x="767" y="258"/>
                  </a:lnTo>
                  <a:lnTo>
                    <a:pt x="803" y="279"/>
                  </a:lnTo>
                  <a:lnTo>
                    <a:pt x="805" y="279"/>
                  </a:lnTo>
                  <a:lnTo>
                    <a:pt x="821" y="374"/>
                  </a:lnTo>
                  <a:lnTo>
                    <a:pt x="821" y="376"/>
                  </a:lnTo>
                  <a:lnTo>
                    <a:pt x="813" y="382"/>
                  </a:lnTo>
                  <a:lnTo>
                    <a:pt x="812" y="395"/>
                  </a:lnTo>
                  <a:lnTo>
                    <a:pt x="831" y="425"/>
                  </a:lnTo>
                  <a:lnTo>
                    <a:pt x="834" y="572"/>
                  </a:lnTo>
                  <a:lnTo>
                    <a:pt x="818" y="580"/>
                  </a:lnTo>
                  <a:lnTo>
                    <a:pt x="816" y="587"/>
                  </a:lnTo>
                  <a:lnTo>
                    <a:pt x="820" y="598"/>
                  </a:lnTo>
                  <a:lnTo>
                    <a:pt x="844" y="630"/>
                  </a:lnTo>
                  <a:lnTo>
                    <a:pt x="847" y="656"/>
                  </a:lnTo>
                  <a:lnTo>
                    <a:pt x="860" y="669"/>
                  </a:lnTo>
                  <a:lnTo>
                    <a:pt x="884" y="669"/>
                  </a:lnTo>
                  <a:lnTo>
                    <a:pt x="909" y="680"/>
                  </a:lnTo>
                  <a:lnTo>
                    <a:pt x="928" y="717"/>
                  </a:lnTo>
                  <a:lnTo>
                    <a:pt x="929" y="722"/>
                  </a:lnTo>
                  <a:lnTo>
                    <a:pt x="652" y="917"/>
                  </a:lnTo>
                  <a:lnTo>
                    <a:pt x="553" y="943"/>
                  </a:lnTo>
                  <a:lnTo>
                    <a:pt x="543" y="942"/>
                  </a:lnTo>
                  <a:lnTo>
                    <a:pt x="537" y="935"/>
                  </a:lnTo>
                  <a:lnTo>
                    <a:pt x="537" y="932"/>
                  </a:lnTo>
                  <a:lnTo>
                    <a:pt x="539" y="927"/>
                  </a:lnTo>
                  <a:lnTo>
                    <a:pt x="538" y="922"/>
                  </a:lnTo>
                  <a:lnTo>
                    <a:pt x="539" y="920"/>
                  </a:lnTo>
                  <a:lnTo>
                    <a:pt x="541" y="919"/>
                  </a:lnTo>
                  <a:lnTo>
                    <a:pt x="541" y="917"/>
                  </a:lnTo>
                  <a:lnTo>
                    <a:pt x="539" y="913"/>
                  </a:lnTo>
                  <a:lnTo>
                    <a:pt x="539" y="909"/>
                  </a:lnTo>
                  <a:lnTo>
                    <a:pt x="541" y="907"/>
                  </a:lnTo>
                  <a:lnTo>
                    <a:pt x="540" y="903"/>
                  </a:lnTo>
                  <a:lnTo>
                    <a:pt x="539" y="902"/>
                  </a:lnTo>
                  <a:lnTo>
                    <a:pt x="538" y="900"/>
                  </a:lnTo>
                  <a:lnTo>
                    <a:pt x="534" y="898"/>
                  </a:lnTo>
                  <a:lnTo>
                    <a:pt x="526" y="896"/>
                  </a:lnTo>
                  <a:lnTo>
                    <a:pt x="519" y="891"/>
                  </a:lnTo>
                  <a:lnTo>
                    <a:pt x="516" y="891"/>
                  </a:lnTo>
                  <a:lnTo>
                    <a:pt x="513" y="890"/>
                  </a:lnTo>
                  <a:lnTo>
                    <a:pt x="503" y="890"/>
                  </a:lnTo>
                  <a:lnTo>
                    <a:pt x="500" y="888"/>
                  </a:lnTo>
                  <a:lnTo>
                    <a:pt x="497" y="880"/>
                  </a:lnTo>
                  <a:lnTo>
                    <a:pt x="495" y="879"/>
                  </a:lnTo>
                  <a:lnTo>
                    <a:pt x="488" y="880"/>
                  </a:lnTo>
                  <a:lnTo>
                    <a:pt x="480" y="879"/>
                  </a:lnTo>
                  <a:lnTo>
                    <a:pt x="469" y="871"/>
                  </a:lnTo>
                  <a:lnTo>
                    <a:pt x="468" y="868"/>
                  </a:lnTo>
                  <a:lnTo>
                    <a:pt x="467" y="863"/>
                  </a:lnTo>
                  <a:lnTo>
                    <a:pt x="456" y="857"/>
                  </a:lnTo>
                  <a:lnTo>
                    <a:pt x="451" y="856"/>
                  </a:lnTo>
                  <a:lnTo>
                    <a:pt x="445" y="852"/>
                  </a:lnTo>
                  <a:lnTo>
                    <a:pt x="444" y="848"/>
                  </a:lnTo>
                  <a:lnTo>
                    <a:pt x="446" y="842"/>
                  </a:lnTo>
                  <a:lnTo>
                    <a:pt x="442" y="838"/>
                  </a:lnTo>
                  <a:lnTo>
                    <a:pt x="442" y="835"/>
                  </a:lnTo>
                  <a:lnTo>
                    <a:pt x="169" y="64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0" name="Freeform 87"/>
            <p:cNvSpPr>
              <a:spLocks/>
            </p:cNvSpPr>
            <p:nvPr/>
          </p:nvSpPr>
          <p:spPr bwMode="auto">
            <a:xfrm>
              <a:off x="2796352" y="1369718"/>
              <a:ext cx="1115028" cy="940669"/>
            </a:xfrm>
            <a:custGeom>
              <a:avLst/>
              <a:gdLst>
                <a:gd name="T0" fmla="*/ 0 w 929"/>
                <a:gd name="T1" fmla="*/ 55 h 943"/>
                <a:gd name="T2" fmla="*/ 11 w 929"/>
                <a:gd name="T3" fmla="*/ 51 h 943"/>
                <a:gd name="T4" fmla="*/ 13 w 929"/>
                <a:gd name="T5" fmla="*/ 49 h 943"/>
                <a:gd name="T6" fmla="*/ 16 w 929"/>
                <a:gd name="T7" fmla="*/ 48 h 943"/>
                <a:gd name="T8" fmla="*/ 22 w 929"/>
                <a:gd name="T9" fmla="*/ 48 h 943"/>
                <a:gd name="T10" fmla="*/ 27 w 929"/>
                <a:gd name="T11" fmla="*/ 45 h 943"/>
                <a:gd name="T12" fmla="*/ 32 w 929"/>
                <a:gd name="T13" fmla="*/ 43 h 943"/>
                <a:gd name="T14" fmla="*/ 39 w 929"/>
                <a:gd name="T15" fmla="*/ 40 h 943"/>
                <a:gd name="T16" fmla="*/ 37 w 929"/>
                <a:gd name="T17" fmla="*/ 40 h 943"/>
                <a:gd name="T18" fmla="*/ 38 w 929"/>
                <a:gd name="T19" fmla="*/ 38 h 943"/>
                <a:gd name="T20" fmla="*/ 37 w 929"/>
                <a:gd name="T21" fmla="*/ 36 h 943"/>
                <a:gd name="T22" fmla="*/ 43 w 929"/>
                <a:gd name="T23" fmla="*/ 35 h 943"/>
                <a:gd name="T24" fmla="*/ 44 w 929"/>
                <a:gd name="T25" fmla="*/ 33 h 943"/>
                <a:gd name="T26" fmla="*/ 46 w 929"/>
                <a:gd name="T27" fmla="*/ 33 h 943"/>
                <a:gd name="T28" fmla="*/ 57 w 929"/>
                <a:gd name="T29" fmla="*/ 33 h 943"/>
                <a:gd name="T30" fmla="*/ 57 w 929"/>
                <a:gd name="T31" fmla="*/ 32 h 943"/>
                <a:gd name="T32" fmla="*/ 56 w 929"/>
                <a:gd name="T33" fmla="*/ 29 h 943"/>
                <a:gd name="T34" fmla="*/ 55 w 929"/>
                <a:gd name="T35" fmla="*/ 25 h 943"/>
                <a:gd name="T36" fmla="*/ 54 w 929"/>
                <a:gd name="T37" fmla="*/ 23 h 943"/>
                <a:gd name="T38" fmla="*/ 53 w 929"/>
                <a:gd name="T39" fmla="*/ 17 h 943"/>
                <a:gd name="T40" fmla="*/ 53 w 929"/>
                <a:gd name="T41" fmla="*/ 16 h 943"/>
                <a:gd name="T42" fmla="*/ 51 w 929"/>
                <a:gd name="T43" fmla="*/ 15 h 943"/>
                <a:gd name="T44" fmla="*/ 52 w 929"/>
                <a:gd name="T45" fmla="*/ 14 h 943"/>
                <a:gd name="T46" fmla="*/ 62 w 929"/>
                <a:gd name="T47" fmla="*/ 9 h 943"/>
                <a:gd name="T48" fmla="*/ 69 w 929"/>
                <a:gd name="T49" fmla="*/ 6 h 943"/>
                <a:gd name="T50" fmla="*/ 87 w 929"/>
                <a:gd name="T51" fmla="*/ 3 h 943"/>
                <a:gd name="T52" fmla="*/ 93 w 929"/>
                <a:gd name="T53" fmla="*/ 3 h 943"/>
                <a:gd name="T54" fmla="*/ 106 w 929"/>
                <a:gd name="T55" fmla="*/ 3 h 943"/>
                <a:gd name="T56" fmla="*/ 118 w 929"/>
                <a:gd name="T57" fmla="*/ 1 h 943"/>
                <a:gd name="T58" fmla="*/ 122 w 929"/>
                <a:gd name="T59" fmla="*/ 1 h 943"/>
                <a:gd name="T60" fmla="*/ 129 w 929"/>
                <a:gd name="T61" fmla="*/ 1 h 943"/>
                <a:gd name="T62" fmla="*/ 130 w 929"/>
                <a:gd name="T63" fmla="*/ 3 h 943"/>
                <a:gd name="T64" fmla="*/ 130 w 929"/>
                <a:gd name="T65" fmla="*/ 12 h 943"/>
                <a:gd name="T66" fmla="*/ 126 w 929"/>
                <a:gd name="T67" fmla="*/ 20 h 943"/>
                <a:gd name="T68" fmla="*/ 123 w 929"/>
                <a:gd name="T69" fmla="*/ 22 h 943"/>
                <a:gd name="T70" fmla="*/ 128 w 929"/>
                <a:gd name="T71" fmla="*/ 27 h 943"/>
                <a:gd name="T72" fmla="*/ 135 w 929"/>
                <a:gd name="T73" fmla="*/ 34 h 943"/>
                <a:gd name="T74" fmla="*/ 137 w 929"/>
                <a:gd name="T75" fmla="*/ 48 h 943"/>
                <a:gd name="T76" fmla="*/ 137 w 929"/>
                <a:gd name="T77" fmla="*/ 71 h 943"/>
                <a:gd name="T78" fmla="*/ 145 w 929"/>
                <a:gd name="T79" fmla="*/ 81 h 943"/>
                <a:gd name="T80" fmla="*/ 156 w 929"/>
                <a:gd name="T81" fmla="*/ 88 h 943"/>
                <a:gd name="T82" fmla="*/ 90 w 929"/>
                <a:gd name="T83" fmla="*/ 113 h 943"/>
                <a:gd name="T84" fmla="*/ 90 w 929"/>
                <a:gd name="T85" fmla="*/ 112 h 943"/>
                <a:gd name="T86" fmla="*/ 90 w 929"/>
                <a:gd name="T87" fmla="*/ 110 h 943"/>
                <a:gd name="T88" fmla="*/ 90 w 929"/>
                <a:gd name="T89" fmla="*/ 109 h 943"/>
                <a:gd name="T90" fmla="*/ 87 w 929"/>
                <a:gd name="T91" fmla="*/ 108 h 943"/>
                <a:gd name="T92" fmla="*/ 83 w 929"/>
                <a:gd name="T93" fmla="*/ 106 h 943"/>
                <a:gd name="T94" fmla="*/ 79 w 929"/>
                <a:gd name="T95" fmla="*/ 106 h 943"/>
                <a:gd name="T96" fmla="*/ 76 w 929"/>
                <a:gd name="T97" fmla="*/ 104 h 943"/>
                <a:gd name="T98" fmla="*/ 74 w 929"/>
                <a:gd name="T99" fmla="*/ 102 h 94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9"/>
                <a:gd name="T151" fmla="*/ 0 h 943"/>
                <a:gd name="T152" fmla="*/ 929 w 929"/>
                <a:gd name="T153" fmla="*/ 943 h 94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9" h="943">
                  <a:moveTo>
                    <a:pt x="169" y="646"/>
                  </a:moveTo>
                  <a:lnTo>
                    <a:pt x="169" y="646"/>
                  </a:lnTo>
                  <a:lnTo>
                    <a:pt x="0" y="536"/>
                  </a:lnTo>
                  <a:lnTo>
                    <a:pt x="0" y="450"/>
                  </a:lnTo>
                  <a:lnTo>
                    <a:pt x="38" y="422"/>
                  </a:lnTo>
                  <a:lnTo>
                    <a:pt x="48" y="421"/>
                  </a:lnTo>
                  <a:lnTo>
                    <a:pt x="55" y="417"/>
                  </a:lnTo>
                  <a:lnTo>
                    <a:pt x="61" y="414"/>
                  </a:lnTo>
                  <a:lnTo>
                    <a:pt x="65" y="409"/>
                  </a:lnTo>
                  <a:lnTo>
                    <a:pt x="69" y="406"/>
                  </a:lnTo>
                  <a:lnTo>
                    <a:pt x="75" y="407"/>
                  </a:lnTo>
                  <a:lnTo>
                    <a:pt x="80" y="406"/>
                  </a:lnTo>
                  <a:lnTo>
                    <a:pt x="84" y="408"/>
                  </a:lnTo>
                  <a:lnTo>
                    <a:pt x="92" y="408"/>
                  </a:lnTo>
                  <a:lnTo>
                    <a:pt x="94" y="407"/>
                  </a:lnTo>
                  <a:lnTo>
                    <a:pt x="94" y="399"/>
                  </a:lnTo>
                  <a:lnTo>
                    <a:pt x="95" y="396"/>
                  </a:lnTo>
                  <a:lnTo>
                    <a:pt x="109" y="397"/>
                  </a:lnTo>
                  <a:lnTo>
                    <a:pt x="113" y="395"/>
                  </a:lnTo>
                  <a:lnTo>
                    <a:pt x="134" y="393"/>
                  </a:lnTo>
                  <a:lnTo>
                    <a:pt x="148" y="387"/>
                  </a:lnTo>
                  <a:lnTo>
                    <a:pt x="158" y="379"/>
                  </a:lnTo>
                  <a:lnTo>
                    <a:pt x="161" y="375"/>
                  </a:lnTo>
                  <a:lnTo>
                    <a:pt x="161" y="372"/>
                  </a:lnTo>
                  <a:lnTo>
                    <a:pt x="164" y="365"/>
                  </a:lnTo>
                  <a:lnTo>
                    <a:pt x="172" y="359"/>
                  </a:lnTo>
                  <a:lnTo>
                    <a:pt x="184" y="354"/>
                  </a:lnTo>
                  <a:lnTo>
                    <a:pt x="189" y="354"/>
                  </a:lnTo>
                  <a:lnTo>
                    <a:pt x="210" y="341"/>
                  </a:lnTo>
                  <a:lnTo>
                    <a:pt x="228" y="336"/>
                  </a:lnTo>
                  <a:lnTo>
                    <a:pt x="230" y="333"/>
                  </a:lnTo>
                  <a:lnTo>
                    <a:pt x="229" y="331"/>
                  </a:lnTo>
                  <a:lnTo>
                    <a:pt x="225" y="328"/>
                  </a:lnTo>
                  <a:lnTo>
                    <a:pt x="224" y="326"/>
                  </a:lnTo>
                  <a:lnTo>
                    <a:pt x="222" y="325"/>
                  </a:lnTo>
                  <a:lnTo>
                    <a:pt x="221" y="327"/>
                  </a:lnTo>
                  <a:lnTo>
                    <a:pt x="219" y="326"/>
                  </a:lnTo>
                  <a:lnTo>
                    <a:pt x="220" y="318"/>
                  </a:lnTo>
                  <a:lnTo>
                    <a:pt x="224" y="314"/>
                  </a:lnTo>
                  <a:lnTo>
                    <a:pt x="223" y="312"/>
                  </a:lnTo>
                  <a:lnTo>
                    <a:pt x="219" y="312"/>
                  </a:lnTo>
                  <a:lnTo>
                    <a:pt x="218" y="310"/>
                  </a:lnTo>
                  <a:lnTo>
                    <a:pt x="218" y="303"/>
                  </a:lnTo>
                  <a:lnTo>
                    <a:pt x="220" y="299"/>
                  </a:lnTo>
                  <a:lnTo>
                    <a:pt x="223" y="296"/>
                  </a:lnTo>
                  <a:lnTo>
                    <a:pt x="228" y="296"/>
                  </a:lnTo>
                  <a:lnTo>
                    <a:pt x="233" y="298"/>
                  </a:lnTo>
                  <a:lnTo>
                    <a:pt x="258" y="291"/>
                  </a:lnTo>
                  <a:lnTo>
                    <a:pt x="259" y="289"/>
                  </a:lnTo>
                  <a:lnTo>
                    <a:pt x="260" y="284"/>
                  </a:lnTo>
                  <a:lnTo>
                    <a:pt x="259" y="279"/>
                  </a:lnTo>
                  <a:lnTo>
                    <a:pt x="261" y="275"/>
                  </a:lnTo>
                  <a:lnTo>
                    <a:pt x="263" y="275"/>
                  </a:lnTo>
                  <a:lnTo>
                    <a:pt x="269" y="277"/>
                  </a:lnTo>
                  <a:lnTo>
                    <a:pt x="272" y="276"/>
                  </a:lnTo>
                  <a:lnTo>
                    <a:pt x="275" y="274"/>
                  </a:lnTo>
                  <a:lnTo>
                    <a:pt x="309" y="271"/>
                  </a:lnTo>
                  <a:lnTo>
                    <a:pt x="314" y="269"/>
                  </a:lnTo>
                  <a:lnTo>
                    <a:pt x="333" y="271"/>
                  </a:lnTo>
                  <a:lnTo>
                    <a:pt x="338" y="274"/>
                  </a:lnTo>
                  <a:lnTo>
                    <a:pt x="341" y="274"/>
                  </a:lnTo>
                  <a:lnTo>
                    <a:pt x="341" y="271"/>
                  </a:lnTo>
                  <a:lnTo>
                    <a:pt x="339" y="267"/>
                  </a:lnTo>
                  <a:lnTo>
                    <a:pt x="339" y="261"/>
                  </a:lnTo>
                  <a:lnTo>
                    <a:pt x="344" y="255"/>
                  </a:lnTo>
                  <a:lnTo>
                    <a:pt x="348" y="254"/>
                  </a:lnTo>
                  <a:lnTo>
                    <a:pt x="348" y="253"/>
                  </a:lnTo>
                  <a:lnTo>
                    <a:pt x="333" y="240"/>
                  </a:lnTo>
                  <a:lnTo>
                    <a:pt x="328" y="229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5" y="207"/>
                  </a:lnTo>
                  <a:lnTo>
                    <a:pt x="326" y="203"/>
                  </a:lnTo>
                  <a:lnTo>
                    <a:pt x="325" y="195"/>
                  </a:lnTo>
                  <a:lnTo>
                    <a:pt x="320" y="189"/>
                  </a:lnTo>
                  <a:lnTo>
                    <a:pt x="322" y="186"/>
                  </a:lnTo>
                  <a:lnTo>
                    <a:pt x="323" y="171"/>
                  </a:lnTo>
                  <a:lnTo>
                    <a:pt x="319" y="155"/>
                  </a:lnTo>
                  <a:lnTo>
                    <a:pt x="321" y="150"/>
                  </a:lnTo>
                  <a:lnTo>
                    <a:pt x="317" y="141"/>
                  </a:lnTo>
                  <a:lnTo>
                    <a:pt x="318" y="140"/>
                  </a:lnTo>
                  <a:lnTo>
                    <a:pt x="319" y="139"/>
                  </a:lnTo>
                  <a:lnTo>
                    <a:pt x="320" y="137"/>
                  </a:lnTo>
                  <a:lnTo>
                    <a:pt x="318" y="135"/>
                  </a:lnTo>
                  <a:lnTo>
                    <a:pt x="315" y="133"/>
                  </a:lnTo>
                  <a:lnTo>
                    <a:pt x="312" y="130"/>
                  </a:lnTo>
                  <a:lnTo>
                    <a:pt x="309" y="127"/>
                  </a:lnTo>
                  <a:lnTo>
                    <a:pt x="305" y="123"/>
                  </a:lnTo>
                  <a:lnTo>
                    <a:pt x="302" y="120"/>
                  </a:lnTo>
                  <a:lnTo>
                    <a:pt x="303" y="115"/>
                  </a:lnTo>
                  <a:lnTo>
                    <a:pt x="309" y="115"/>
                  </a:lnTo>
                  <a:lnTo>
                    <a:pt x="333" y="102"/>
                  </a:lnTo>
                  <a:lnTo>
                    <a:pt x="348" y="83"/>
                  </a:lnTo>
                  <a:lnTo>
                    <a:pt x="357" y="76"/>
                  </a:lnTo>
                  <a:lnTo>
                    <a:pt x="370" y="76"/>
                  </a:lnTo>
                  <a:lnTo>
                    <a:pt x="381" y="69"/>
                  </a:lnTo>
                  <a:lnTo>
                    <a:pt x="389" y="73"/>
                  </a:lnTo>
                  <a:lnTo>
                    <a:pt x="398" y="69"/>
                  </a:lnTo>
                  <a:lnTo>
                    <a:pt x="410" y="54"/>
                  </a:lnTo>
                  <a:lnTo>
                    <a:pt x="422" y="50"/>
                  </a:lnTo>
                  <a:lnTo>
                    <a:pt x="430" y="42"/>
                  </a:lnTo>
                  <a:lnTo>
                    <a:pt x="463" y="31"/>
                  </a:lnTo>
                  <a:lnTo>
                    <a:pt x="518" y="28"/>
                  </a:lnTo>
                  <a:lnTo>
                    <a:pt x="533" y="17"/>
                  </a:lnTo>
                  <a:lnTo>
                    <a:pt x="540" y="19"/>
                  </a:lnTo>
                  <a:lnTo>
                    <a:pt x="550" y="18"/>
                  </a:lnTo>
                  <a:lnTo>
                    <a:pt x="554" y="20"/>
                  </a:lnTo>
                  <a:lnTo>
                    <a:pt x="561" y="18"/>
                  </a:lnTo>
                  <a:lnTo>
                    <a:pt x="575" y="11"/>
                  </a:lnTo>
                  <a:lnTo>
                    <a:pt x="621" y="13"/>
                  </a:lnTo>
                  <a:lnTo>
                    <a:pt x="628" y="21"/>
                  </a:lnTo>
                  <a:lnTo>
                    <a:pt x="638" y="23"/>
                  </a:lnTo>
                  <a:lnTo>
                    <a:pt x="678" y="10"/>
                  </a:lnTo>
                  <a:lnTo>
                    <a:pt x="684" y="0"/>
                  </a:lnTo>
                  <a:lnTo>
                    <a:pt x="702" y="8"/>
                  </a:lnTo>
                  <a:lnTo>
                    <a:pt x="706" y="8"/>
                  </a:lnTo>
                  <a:lnTo>
                    <a:pt x="714" y="11"/>
                  </a:lnTo>
                  <a:lnTo>
                    <a:pt x="723" y="7"/>
                  </a:lnTo>
                  <a:lnTo>
                    <a:pt x="727" y="1"/>
                  </a:lnTo>
                  <a:lnTo>
                    <a:pt x="745" y="7"/>
                  </a:lnTo>
                  <a:lnTo>
                    <a:pt x="752" y="13"/>
                  </a:lnTo>
                  <a:lnTo>
                    <a:pt x="763" y="11"/>
                  </a:lnTo>
                  <a:lnTo>
                    <a:pt x="769" y="8"/>
                  </a:lnTo>
                  <a:lnTo>
                    <a:pt x="781" y="10"/>
                  </a:lnTo>
                  <a:lnTo>
                    <a:pt x="791" y="8"/>
                  </a:lnTo>
                  <a:lnTo>
                    <a:pt x="790" y="13"/>
                  </a:lnTo>
                  <a:lnTo>
                    <a:pt x="773" y="29"/>
                  </a:lnTo>
                  <a:lnTo>
                    <a:pt x="771" y="33"/>
                  </a:lnTo>
                  <a:lnTo>
                    <a:pt x="777" y="35"/>
                  </a:lnTo>
                  <a:lnTo>
                    <a:pt x="778" y="38"/>
                  </a:lnTo>
                  <a:lnTo>
                    <a:pt x="775" y="99"/>
                  </a:lnTo>
                  <a:lnTo>
                    <a:pt x="779" y="105"/>
                  </a:lnTo>
                  <a:lnTo>
                    <a:pt x="770" y="141"/>
                  </a:lnTo>
                  <a:lnTo>
                    <a:pt x="753" y="153"/>
                  </a:lnTo>
                  <a:lnTo>
                    <a:pt x="751" y="161"/>
                  </a:lnTo>
                  <a:lnTo>
                    <a:pt x="744" y="165"/>
                  </a:lnTo>
                  <a:lnTo>
                    <a:pt x="741" y="169"/>
                  </a:lnTo>
                  <a:lnTo>
                    <a:pt x="740" y="171"/>
                  </a:lnTo>
                  <a:lnTo>
                    <a:pt x="731" y="178"/>
                  </a:lnTo>
                  <a:lnTo>
                    <a:pt x="729" y="178"/>
                  </a:lnTo>
                  <a:lnTo>
                    <a:pt x="740" y="215"/>
                  </a:lnTo>
                  <a:lnTo>
                    <a:pt x="756" y="221"/>
                  </a:lnTo>
                  <a:lnTo>
                    <a:pt x="760" y="226"/>
                  </a:lnTo>
                  <a:lnTo>
                    <a:pt x="767" y="243"/>
                  </a:lnTo>
                  <a:lnTo>
                    <a:pt x="767" y="258"/>
                  </a:lnTo>
                  <a:lnTo>
                    <a:pt x="803" y="279"/>
                  </a:lnTo>
                  <a:lnTo>
                    <a:pt x="805" y="279"/>
                  </a:lnTo>
                  <a:lnTo>
                    <a:pt x="821" y="374"/>
                  </a:lnTo>
                  <a:lnTo>
                    <a:pt x="821" y="376"/>
                  </a:lnTo>
                  <a:lnTo>
                    <a:pt x="813" y="382"/>
                  </a:lnTo>
                  <a:lnTo>
                    <a:pt x="812" y="395"/>
                  </a:lnTo>
                  <a:lnTo>
                    <a:pt x="831" y="425"/>
                  </a:lnTo>
                  <a:lnTo>
                    <a:pt x="834" y="572"/>
                  </a:lnTo>
                  <a:lnTo>
                    <a:pt x="818" y="580"/>
                  </a:lnTo>
                  <a:lnTo>
                    <a:pt x="816" y="587"/>
                  </a:lnTo>
                  <a:lnTo>
                    <a:pt x="820" y="598"/>
                  </a:lnTo>
                  <a:lnTo>
                    <a:pt x="844" y="630"/>
                  </a:lnTo>
                  <a:lnTo>
                    <a:pt x="847" y="656"/>
                  </a:lnTo>
                  <a:lnTo>
                    <a:pt x="860" y="669"/>
                  </a:lnTo>
                  <a:lnTo>
                    <a:pt x="884" y="669"/>
                  </a:lnTo>
                  <a:lnTo>
                    <a:pt x="909" y="680"/>
                  </a:lnTo>
                  <a:lnTo>
                    <a:pt x="928" y="717"/>
                  </a:lnTo>
                  <a:lnTo>
                    <a:pt x="929" y="722"/>
                  </a:lnTo>
                  <a:lnTo>
                    <a:pt x="652" y="917"/>
                  </a:lnTo>
                  <a:lnTo>
                    <a:pt x="553" y="943"/>
                  </a:lnTo>
                  <a:lnTo>
                    <a:pt x="543" y="942"/>
                  </a:lnTo>
                  <a:lnTo>
                    <a:pt x="537" y="935"/>
                  </a:lnTo>
                  <a:lnTo>
                    <a:pt x="537" y="932"/>
                  </a:lnTo>
                  <a:lnTo>
                    <a:pt x="539" y="927"/>
                  </a:lnTo>
                  <a:lnTo>
                    <a:pt x="538" y="922"/>
                  </a:lnTo>
                  <a:lnTo>
                    <a:pt x="539" y="920"/>
                  </a:lnTo>
                  <a:lnTo>
                    <a:pt x="541" y="919"/>
                  </a:lnTo>
                  <a:lnTo>
                    <a:pt x="541" y="917"/>
                  </a:lnTo>
                  <a:lnTo>
                    <a:pt x="539" y="913"/>
                  </a:lnTo>
                  <a:lnTo>
                    <a:pt x="539" y="909"/>
                  </a:lnTo>
                  <a:lnTo>
                    <a:pt x="541" y="907"/>
                  </a:lnTo>
                  <a:lnTo>
                    <a:pt x="540" y="903"/>
                  </a:lnTo>
                  <a:lnTo>
                    <a:pt x="539" y="902"/>
                  </a:lnTo>
                  <a:lnTo>
                    <a:pt x="538" y="900"/>
                  </a:lnTo>
                  <a:lnTo>
                    <a:pt x="534" y="898"/>
                  </a:lnTo>
                  <a:lnTo>
                    <a:pt x="526" y="896"/>
                  </a:lnTo>
                  <a:lnTo>
                    <a:pt x="519" y="891"/>
                  </a:lnTo>
                  <a:lnTo>
                    <a:pt x="516" y="891"/>
                  </a:lnTo>
                  <a:lnTo>
                    <a:pt x="513" y="890"/>
                  </a:lnTo>
                  <a:lnTo>
                    <a:pt x="503" y="890"/>
                  </a:lnTo>
                  <a:lnTo>
                    <a:pt x="500" y="888"/>
                  </a:lnTo>
                  <a:lnTo>
                    <a:pt x="497" y="880"/>
                  </a:lnTo>
                  <a:lnTo>
                    <a:pt x="495" y="879"/>
                  </a:lnTo>
                  <a:lnTo>
                    <a:pt x="488" y="880"/>
                  </a:lnTo>
                  <a:lnTo>
                    <a:pt x="480" y="879"/>
                  </a:lnTo>
                  <a:lnTo>
                    <a:pt x="469" y="871"/>
                  </a:lnTo>
                  <a:lnTo>
                    <a:pt x="468" y="868"/>
                  </a:lnTo>
                  <a:lnTo>
                    <a:pt x="467" y="863"/>
                  </a:lnTo>
                  <a:lnTo>
                    <a:pt x="456" y="857"/>
                  </a:lnTo>
                  <a:lnTo>
                    <a:pt x="451" y="856"/>
                  </a:lnTo>
                  <a:lnTo>
                    <a:pt x="445" y="852"/>
                  </a:lnTo>
                  <a:lnTo>
                    <a:pt x="444" y="848"/>
                  </a:lnTo>
                  <a:lnTo>
                    <a:pt x="446" y="842"/>
                  </a:lnTo>
                  <a:lnTo>
                    <a:pt x="442" y="838"/>
                  </a:lnTo>
                  <a:lnTo>
                    <a:pt x="442" y="835"/>
                  </a:lnTo>
                  <a:lnTo>
                    <a:pt x="169" y="64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1" name="Freeform 88"/>
            <p:cNvSpPr>
              <a:spLocks/>
            </p:cNvSpPr>
            <p:nvPr/>
          </p:nvSpPr>
          <p:spPr bwMode="auto">
            <a:xfrm>
              <a:off x="4900487" y="3000581"/>
              <a:ext cx="286373" cy="248618"/>
            </a:xfrm>
            <a:custGeom>
              <a:avLst/>
              <a:gdLst>
                <a:gd name="T0" fmla="*/ 31 w 241"/>
                <a:gd name="T1" fmla="*/ 1 h 252"/>
                <a:gd name="T2" fmla="*/ 31 w 241"/>
                <a:gd name="T3" fmla="*/ 0 h 252"/>
                <a:gd name="T4" fmla="*/ 31 w 241"/>
                <a:gd name="T5" fmla="*/ 1 h 252"/>
                <a:gd name="T6" fmla="*/ 27 w 241"/>
                <a:gd name="T7" fmla="*/ 2 h 252"/>
                <a:gd name="T8" fmla="*/ 17 w 241"/>
                <a:gd name="T9" fmla="*/ 3 h 252"/>
                <a:gd name="T10" fmla="*/ 16 w 241"/>
                <a:gd name="T11" fmla="*/ 2 h 252"/>
                <a:gd name="T12" fmla="*/ 15 w 241"/>
                <a:gd name="T13" fmla="*/ 2 h 252"/>
                <a:gd name="T14" fmla="*/ 13 w 241"/>
                <a:gd name="T15" fmla="*/ 3 h 252"/>
                <a:gd name="T16" fmla="*/ 12 w 241"/>
                <a:gd name="T17" fmla="*/ 2 h 252"/>
                <a:gd name="T18" fmla="*/ 10 w 241"/>
                <a:gd name="T19" fmla="*/ 2 h 252"/>
                <a:gd name="T20" fmla="*/ 9 w 241"/>
                <a:gd name="T21" fmla="*/ 3 h 252"/>
                <a:gd name="T22" fmla="*/ 8 w 241"/>
                <a:gd name="T23" fmla="*/ 8 h 252"/>
                <a:gd name="T24" fmla="*/ 9 w 241"/>
                <a:gd name="T25" fmla="*/ 9 h 252"/>
                <a:gd name="T26" fmla="*/ 10 w 241"/>
                <a:gd name="T27" fmla="*/ 10 h 252"/>
                <a:gd name="T28" fmla="*/ 11 w 241"/>
                <a:gd name="T29" fmla="*/ 10 h 252"/>
                <a:gd name="T30" fmla="*/ 11 w 241"/>
                <a:gd name="T31" fmla="*/ 10 h 252"/>
                <a:gd name="T32" fmla="*/ 12 w 241"/>
                <a:gd name="T33" fmla="*/ 11 h 252"/>
                <a:gd name="T34" fmla="*/ 11 w 241"/>
                <a:gd name="T35" fmla="*/ 12 h 252"/>
                <a:gd name="T36" fmla="*/ 9 w 241"/>
                <a:gd name="T37" fmla="*/ 13 h 252"/>
                <a:gd name="T38" fmla="*/ 8 w 241"/>
                <a:gd name="T39" fmla="*/ 14 h 252"/>
                <a:gd name="T40" fmla="*/ 2 w 241"/>
                <a:gd name="T41" fmla="*/ 19 h 252"/>
                <a:gd name="T42" fmla="*/ 0 w 241"/>
                <a:gd name="T43" fmla="*/ 29 h 252"/>
                <a:gd name="T44" fmla="*/ 1 w 241"/>
                <a:gd name="T45" fmla="*/ 29 h 252"/>
                <a:gd name="T46" fmla="*/ 1 w 241"/>
                <a:gd name="T47" fmla="*/ 29 h 252"/>
                <a:gd name="T48" fmla="*/ 3 w 241"/>
                <a:gd name="T49" fmla="*/ 29 h 252"/>
                <a:gd name="T50" fmla="*/ 4 w 241"/>
                <a:gd name="T51" fmla="*/ 28 h 252"/>
                <a:gd name="T52" fmla="*/ 4 w 241"/>
                <a:gd name="T53" fmla="*/ 28 h 252"/>
                <a:gd name="T54" fmla="*/ 5 w 241"/>
                <a:gd name="T55" fmla="*/ 28 h 252"/>
                <a:gd name="T56" fmla="*/ 5 w 241"/>
                <a:gd name="T57" fmla="*/ 27 h 252"/>
                <a:gd name="T58" fmla="*/ 9 w 241"/>
                <a:gd name="T59" fmla="*/ 28 h 252"/>
                <a:gd name="T60" fmla="*/ 9 w 241"/>
                <a:gd name="T61" fmla="*/ 27 h 252"/>
                <a:gd name="T62" fmla="*/ 9 w 241"/>
                <a:gd name="T63" fmla="*/ 27 h 252"/>
                <a:gd name="T64" fmla="*/ 16 w 241"/>
                <a:gd name="T65" fmla="*/ 27 h 252"/>
                <a:gd name="T66" fmla="*/ 15 w 241"/>
                <a:gd name="T67" fmla="*/ 27 h 252"/>
                <a:gd name="T68" fmla="*/ 17 w 241"/>
                <a:gd name="T69" fmla="*/ 24 h 252"/>
                <a:gd name="T70" fmla="*/ 16 w 241"/>
                <a:gd name="T71" fmla="*/ 23 h 252"/>
                <a:gd name="T72" fmla="*/ 16 w 241"/>
                <a:gd name="T73" fmla="*/ 23 h 252"/>
                <a:gd name="T74" fmla="*/ 19 w 241"/>
                <a:gd name="T75" fmla="*/ 22 h 252"/>
                <a:gd name="T76" fmla="*/ 20 w 241"/>
                <a:gd name="T77" fmla="*/ 21 h 252"/>
                <a:gd name="T78" fmla="*/ 20 w 241"/>
                <a:gd name="T79" fmla="*/ 22 h 252"/>
                <a:gd name="T80" fmla="*/ 21 w 241"/>
                <a:gd name="T81" fmla="*/ 21 h 252"/>
                <a:gd name="T82" fmla="*/ 22 w 241"/>
                <a:gd name="T83" fmla="*/ 21 h 252"/>
                <a:gd name="T84" fmla="*/ 23 w 241"/>
                <a:gd name="T85" fmla="*/ 21 h 252"/>
                <a:gd name="T86" fmla="*/ 23 w 241"/>
                <a:gd name="T87" fmla="*/ 21 h 252"/>
                <a:gd name="T88" fmla="*/ 25 w 241"/>
                <a:gd name="T89" fmla="*/ 22 h 252"/>
                <a:gd name="T90" fmla="*/ 26 w 241"/>
                <a:gd name="T91" fmla="*/ 20 h 252"/>
                <a:gd name="T92" fmla="*/ 29 w 241"/>
                <a:gd name="T93" fmla="*/ 21 h 252"/>
                <a:gd name="T94" fmla="*/ 30 w 241"/>
                <a:gd name="T95" fmla="*/ 21 h 252"/>
                <a:gd name="T96" fmla="*/ 31 w 241"/>
                <a:gd name="T97" fmla="*/ 21 h 252"/>
                <a:gd name="T98" fmla="*/ 39 w 241"/>
                <a:gd name="T99" fmla="*/ 14 h 252"/>
                <a:gd name="T100" fmla="*/ 39 w 241"/>
                <a:gd name="T101" fmla="*/ 8 h 252"/>
                <a:gd name="T102" fmla="*/ 39 w 241"/>
                <a:gd name="T103" fmla="*/ 7 h 252"/>
                <a:gd name="T104" fmla="*/ 38 w 241"/>
                <a:gd name="T105" fmla="*/ 6 h 252"/>
                <a:gd name="T106" fmla="*/ 36 w 241"/>
                <a:gd name="T107" fmla="*/ 6 h 252"/>
                <a:gd name="T108" fmla="*/ 36 w 241"/>
                <a:gd name="T109" fmla="*/ 5 h 252"/>
                <a:gd name="T110" fmla="*/ 35 w 241"/>
                <a:gd name="T111" fmla="*/ 2 h 252"/>
                <a:gd name="T112" fmla="*/ 35 w 241"/>
                <a:gd name="T113" fmla="*/ 2 h 252"/>
                <a:gd name="T114" fmla="*/ 34 w 241"/>
                <a:gd name="T115" fmla="*/ 2 h 252"/>
                <a:gd name="T116" fmla="*/ 34 w 241"/>
                <a:gd name="T117" fmla="*/ 1 h 252"/>
                <a:gd name="T118" fmla="*/ 34 w 241"/>
                <a:gd name="T119" fmla="*/ 1 h 252"/>
                <a:gd name="T120" fmla="*/ 32 w 241"/>
                <a:gd name="T121" fmla="*/ 1 h 252"/>
                <a:gd name="T122" fmla="*/ 32 w 241"/>
                <a:gd name="T123" fmla="*/ 1 h 252"/>
                <a:gd name="T124" fmla="*/ 31 w 241"/>
                <a:gd name="T125" fmla="*/ 1 h 2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1"/>
                <a:gd name="T190" fmla="*/ 0 h 252"/>
                <a:gd name="T191" fmla="*/ 241 w 241"/>
                <a:gd name="T192" fmla="*/ 252 h 2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1" h="252">
                  <a:moveTo>
                    <a:pt x="193" y="3"/>
                  </a:moveTo>
                  <a:lnTo>
                    <a:pt x="193" y="0"/>
                  </a:lnTo>
                  <a:lnTo>
                    <a:pt x="193" y="2"/>
                  </a:lnTo>
                  <a:lnTo>
                    <a:pt x="172" y="16"/>
                  </a:lnTo>
                  <a:lnTo>
                    <a:pt x="106" y="25"/>
                  </a:lnTo>
                  <a:lnTo>
                    <a:pt x="100" y="18"/>
                  </a:lnTo>
                  <a:lnTo>
                    <a:pt x="90" y="18"/>
                  </a:lnTo>
                  <a:lnTo>
                    <a:pt x="82" y="21"/>
                  </a:lnTo>
                  <a:lnTo>
                    <a:pt x="73" y="18"/>
                  </a:lnTo>
                  <a:lnTo>
                    <a:pt x="61" y="18"/>
                  </a:lnTo>
                  <a:lnTo>
                    <a:pt x="55" y="23"/>
                  </a:lnTo>
                  <a:lnTo>
                    <a:pt x="51" y="67"/>
                  </a:lnTo>
                  <a:lnTo>
                    <a:pt x="53" y="75"/>
                  </a:lnTo>
                  <a:lnTo>
                    <a:pt x="62" y="81"/>
                  </a:lnTo>
                  <a:lnTo>
                    <a:pt x="68" y="83"/>
                  </a:lnTo>
                  <a:lnTo>
                    <a:pt x="70" y="88"/>
                  </a:lnTo>
                  <a:lnTo>
                    <a:pt x="72" y="94"/>
                  </a:lnTo>
                  <a:lnTo>
                    <a:pt x="67" y="101"/>
                  </a:lnTo>
                  <a:lnTo>
                    <a:pt x="56" y="112"/>
                  </a:lnTo>
                  <a:lnTo>
                    <a:pt x="47" y="117"/>
                  </a:lnTo>
                  <a:lnTo>
                    <a:pt x="14" y="160"/>
                  </a:lnTo>
                  <a:lnTo>
                    <a:pt x="0" y="248"/>
                  </a:lnTo>
                  <a:lnTo>
                    <a:pt x="3" y="250"/>
                  </a:lnTo>
                  <a:lnTo>
                    <a:pt x="9" y="252"/>
                  </a:lnTo>
                  <a:lnTo>
                    <a:pt x="16" y="251"/>
                  </a:lnTo>
                  <a:lnTo>
                    <a:pt x="21" y="241"/>
                  </a:lnTo>
                  <a:lnTo>
                    <a:pt x="24" y="239"/>
                  </a:lnTo>
                  <a:lnTo>
                    <a:pt x="30" y="237"/>
                  </a:lnTo>
                  <a:lnTo>
                    <a:pt x="34" y="234"/>
                  </a:lnTo>
                  <a:lnTo>
                    <a:pt x="53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96" y="233"/>
                  </a:lnTo>
                  <a:lnTo>
                    <a:pt x="92" y="228"/>
                  </a:lnTo>
                  <a:lnTo>
                    <a:pt x="102" y="205"/>
                  </a:lnTo>
                  <a:lnTo>
                    <a:pt x="100" y="200"/>
                  </a:lnTo>
                  <a:lnTo>
                    <a:pt x="101" y="196"/>
                  </a:lnTo>
                  <a:lnTo>
                    <a:pt x="118" y="191"/>
                  </a:lnTo>
                  <a:lnTo>
                    <a:pt x="122" y="185"/>
                  </a:lnTo>
                  <a:lnTo>
                    <a:pt x="127" y="187"/>
                  </a:lnTo>
                  <a:lnTo>
                    <a:pt x="131" y="185"/>
                  </a:lnTo>
                  <a:lnTo>
                    <a:pt x="133" y="180"/>
                  </a:lnTo>
                  <a:lnTo>
                    <a:pt x="138" y="183"/>
                  </a:lnTo>
                  <a:lnTo>
                    <a:pt x="146" y="184"/>
                  </a:lnTo>
                  <a:lnTo>
                    <a:pt x="153" y="187"/>
                  </a:lnTo>
                  <a:lnTo>
                    <a:pt x="162" y="173"/>
                  </a:lnTo>
                  <a:lnTo>
                    <a:pt x="180" y="180"/>
                  </a:lnTo>
                  <a:lnTo>
                    <a:pt x="186" y="178"/>
                  </a:lnTo>
                  <a:lnTo>
                    <a:pt x="193" y="180"/>
                  </a:lnTo>
                  <a:lnTo>
                    <a:pt x="239" y="120"/>
                  </a:lnTo>
                  <a:lnTo>
                    <a:pt x="241" y="68"/>
                  </a:lnTo>
                  <a:lnTo>
                    <a:pt x="239" y="63"/>
                  </a:lnTo>
                  <a:lnTo>
                    <a:pt x="233" y="56"/>
                  </a:lnTo>
                  <a:lnTo>
                    <a:pt x="223" y="50"/>
                  </a:lnTo>
                  <a:lnTo>
                    <a:pt x="219" y="46"/>
                  </a:lnTo>
                  <a:lnTo>
                    <a:pt x="213" y="18"/>
                  </a:lnTo>
                  <a:lnTo>
                    <a:pt x="211" y="16"/>
                  </a:lnTo>
                  <a:lnTo>
                    <a:pt x="210" y="15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197" y="6"/>
                  </a:lnTo>
                  <a:lnTo>
                    <a:pt x="196" y="4"/>
                  </a:lnTo>
                  <a:lnTo>
                    <a:pt x="193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2" name="Freeform 89"/>
            <p:cNvSpPr>
              <a:spLocks/>
            </p:cNvSpPr>
            <p:nvPr/>
          </p:nvSpPr>
          <p:spPr bwMode="auto">
            <a:xfrm>
              <a:off x="4900487" y="3000581"/>
              <a:ext cx="286373" cy="248618"/>
            </a:xfrm>
            <a:custGeom>
              <a:avLst/>
              <a:gdLst>
                <a:gd name="T0" fmla="*/ 31 w 241"/>
                <a:gd name="T1" fmla="*/ 1 h 252"/>
                <a:gd name="T2" fmla="*/ 31 w 241"/>
                <a:gd name="T3" fmla="*/ 0 h 252"/>
                <a:gd name="T4" fmla="*/ 31 w 241"/>
                <a:gd name="T5" fmla="*/ 1 h 252"/>
                <a:gd name="T6" fmla="*/ 27 w 241"/>
                <a:gd name="T7" fmla="*/ 2 h 252"/>
                <a:gd name="T8" fmla="*/ 17 w 241"/>
                <a:gd name="T9" fmla="*/ 3 h 252"/>
                <a:gd name="T10" fmla="*/ 16 w 241"/>
                <a:gd name="T11" fmla="*/ 2 h 252"/>
                <a:gd name="T12" fmla="*/ 15 w 241"/>
                <a:gd name="T13" fmla="*/ 2 h 252"/>
                <a:gd name="T14" fmla="*/ 13 w 241"/>
                <a:gd name="T15" fmla="*/ 3 h 252"/>
                <a:gd name="T16" fmla="*/ 12 w 241"/>
                <a:gd name="T17" fmla="*/ 2 h 252"/>
                <a:gd name="T18" fmla="*/ 10 w 241"/>
                <a:gd name="T19" fmla="*/ 2 h 252"/>
                <a:gd name="T20" fmla="*/ 9 w 241"/>
                <a:gd name="T21" fmla="*/ 3 h 252"/>
                <a:gd name="T22" fmla="*/ 8 w 241"/>
                <a:gd name="T23" fmla="*/ 8 h 252"/>
                <a:gd name="T24" fmla="*/ 9 w 241"/>
                <a:gd name="T25" fmla="*/ 9 h 252"/>
                <a:gd name="T26" fmla="*/ 10 w 241"/>
                <a:gd name="T27" fmla="*/ 10 h 252"/>
                <a:gd name="T28" fmla="*/ 11 w 241"/>
                <a:gd name="T29" fmla="*/ 10 h 252"/>
                <a:gd name="T30" fmla="*/ 11 w 241"/>
                <a:gd name="T31" fmla="*/ 10 h 252"/>
                <a:gd name="T32" fmla="*/ 12 w 241"/>
                <a:gd name="T33" fmla="*/ 11 h 252"/>
                <a:gd name="T34" fmla="*/ 11 w 241"/>
                <a:gd name="T35" fmla="*/ 12 h 252"/>
                <a:gd name="T36" fmla="*/ 9 w 241"/>
                <a:gd name="T37" fmla="*/ 13 h 252"/>
                <a:gd name="T38" fmla="*/ 8 w 241"/>
                <a:gd name="T39" fmla="*/ 14 h 252"/>
                <a:gd name="T40" fmla="*/ 2 w 241"/>
                <a:gd name="T41" fmla="*/ 19 h 252"/>
                <a:gd name="T42" fmla="*/ 0 w 241"/>
                <a:gd name="T43" fmla="*/ 29 h 252"/>
                <a:gd name="T44" fmla="*/ 1 w 241"/>
                <a:gd name="T45" fmla="*/ 29 h 252"/>
                <a:gd name="T46" fmla="*/ 1 w 241"/>
                <a:gd name="T47" fmla="*/ 29 h 252"/>
                <a:gd name="T48" fmla="*/ 3 w 241"/>
                <a:gd name="T49" fmla="*/ 29 h 252"/>
                <a:gd name="T50" fmla="*/ 4 w 241"/>
                <a:gd name="T51" fmla="*/ 28 h 252"/>
                <a:gd name="T52" fmla="*/ 4 w 241"/>
                <a:gd name="T53" fmla="*/ 28 h 252"/>
                <a:gd name="T54" fmla="*/ 5 w 241"/>
                <a:gd name="T55" fmla="*/ 28 h 252"/>
                <a:gd name="T56" fmla="*/ 5 w 241"/>
                <a:gd name="T57" fmla="*/ 27 h 252"/>
                <a:gd name="T58" fmla="*/ 9 w 241"/>
                <a:gd name="T59" fmla="*/ 28 h 252"/>
                <a:gd name="T60" fmla="*/ 9 w 241"/>
                <a:gd name="T61" fmla="*/ 27 h 252"/>
                <a:gd name="T62" fmla="*/ 9 w 241"/>
                <a:gd name="T63" fmla="*/ 27 h 252"/>
                <a:gd name="T64" fmla="*/ 16 w 241"/>
                <a:gd name="T65" fmla="*/ 27 h 252"/>
                <a:gd name="T66" fmla="*/ 15 w 241"/>
                <a:gd name="T67" fmla="*/ 27 h 252"/>
                <a:gd name="T68" fmla="*/ 17 w 241"/>
                <a:gd name="T69" fmla="*/ 24 h 252"/>
                <a:gd name="T70" fmla="*/ 16 w 241"/>
                <a:gd name="T71" fmla="*/ 23 h 252"/>
                <a:gd name="T72" fmla="*/ 16 w 241"/>
                <a:gd name="T73" fmla="*/ 23 h 252"/>
                <a:gd name="T74" fmla="*/ 19 w 241"/>
                <a:gd name="T75" fmla="*/ 22 h 252"/>
                <a:gd name="T76" fmla="*/ 20 w 241"/>
                <a:gd name="T77" fmla="*/ 21 h 252"/>
                <a:gd name="T78" fmla="*/ 20 w 241"/>
                <a:gd name="T79" fmla="*/ 22 h 252"/>
                <a:gd name="T80" fmla="*/ 21 w 241"/>
                <a:gd name="T81" fmla="*/ 21 h 252"/>
                <a:gd name="T82" fmla="*/ 22 w 241"/>
                <a:gd name="T83" fmla="*/ 21 h 252"/>
                <a:gd name="T84" fmla="*/ 23 w 241"/>
                <a:gd name="T85" fmla="*/ 21 h 252"/>
                <a:gd name="T86" fmla="*/ 23 w 241"/>
                <a:gd name="T87" fmla="*/ 21 h 252"/>
                <a:gd name="T88" fmla="*/ 25 w 241"/>
                <a:gd name="T89" fmla="*/ 22 h 252"/>
                <a:gd name="T90" fmla="*/ 26 w 241"/>
                <a:gd name="T91" fmla="*/ 20 h 252"/>
                <a:gd name="T92" fmla="*/ 29 w 241"/>
                <a:gd name="T93" fmla="*/ 21 h 252"/>
                <a:gd name="T94" fmla="*/ 30 w 241"/>
                <a:gd name="T95" fmla="*/ 21 h 252"/>
                <a:gd name="T96" fmla="*/ 31 w 241"/>
                <a:gd name="T97" fmla="*/ 21 h 252"/>
                <a:gd name="T98" fmla="*/ 39 w 241"/>
                <a:gd name="T99" fmla="*/ 14 h 252"/>
                <a:gd name="T100" fmla="*/ 39 w 241"/>
                <a:gd name="T101" fmla="*/ 8 h 252"/>
                <a:gd name="T102" fmla="*/ 39 w 241"/>
                <a:gd name="T103" fmla="*/ 7 h 252"/>
                <a:gd name="T104" fmla="*/ 38 w 241"/>
                <a:gd name="T105" fmla="*/ 6 h 252"/>
                <a:gd name="T106" fmla="*/ 36 w 241"/>
                <a:gd name="T107" fmla="*/ 6 h 252"/>
                <a:gd name="T108" fmla="*/ 36 w 241"/>
                <a:gd name="T109" fmla="*/ 5 h 252"/>
                <a:gd name="T110" fmla="*/ 35 w 241"/>
                <a:gd name="T111" fmla="*/ 2 h 252"/>
                <a:gd name="T112" fmla="*/ 35 w 241"/>
                <a:gd name="T113" fmla="*/ 2 h 252"/>
                <a:gd name="T114" fmla="*/ 34 w 241"/>
                <a:gd name="T115" fmla="*/ 2 h 252"/>
                <a:gd name="T116" fmla="*/ 34 w 241"/>
                <a:gd name="T117" fmla="*/ 1 h 252"/>
                <a:gd name="T118" fmla="*/ 34 w 241"/>
                <a:gd name="T119" fmla="*/ 1 h 252"/>
                <a:gd name="T120" fmla="*/ 32 w 241"/>
                <a:gd name="T121" fmla="*/ 1 h 252"/>
                <a:gd name="T122" fmla="*/ 32 w 241"/>
                <a:gd name="T123" fmla="*/ 1 h 252"/>
                <a:gd name="T124" fmla="*/ 31 w 241"/>
                <a:gd name="T125" fmla="*/ 1 h 2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1"/>
                <a:gd name="T190" fmla="*/ 0 h 252"/>
                <a:gd name="T191" fmla="*/ 241 w 241"/>
                <a:gd name="T192" fmla="*/ 252 h 2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1" h="252">
                  <a:moveTo>
                    <a:pt x="193" y="3"/>
                  </a:moveTo>
                  <a:lnTo>
                    <a:pt x="193" y="0"/>
                  </a:lnTo>
                  <a:lnTo>
                    <a:pt x="193" y="2"/>
                  </a:lnTo>
                  <a:lnTo>
                    <a:pt x="172" y="16"/>
                  </a:lnTo>
                  <a:lnTo>
                    <a:pt x="106" y="25"/>
                  </a:lnTo>
                  <a:lnTo>
                    <a:pt x="100" y="18"/>
                  </a:lnTo>
                  <a:lnTo>
                    <a:pt x="90" y="18"/>
                  </a:lnTo>
                  <a:lnTo>
                    <a:pt x="82" y="21"/>
                  </a:lnTo>
                  <a:lnTo>
                    <a:pt x="73" y="18"/>
                  </a:lnTo>
                  <a:lnTo>
                    <a:pt x="61" y="18"/>
                  </a:lnTo>
                  <a:lnTo>
                    <a:pt x="55" y="23"/>
                  </a:lnTo>
                  <a:lnTo>
                    <a:pt x="51" y="67"/>
                  </a:lnTo>
                  <a:lnTo>
                    <a:pt x="53" y="75"/>
                  </a:lnTo>
                  <a:lnTo>
                    <a:pt x="62" y="81"/>
                  </a:lnTo>
                  <a:lnTo>
                    <a:pt x="68" y="83"/>
                  </a:lnTo>
                  <a:lnTo>
                    <a:pt x="70" y="88"/>
                  </a:lnTo>
                  <a:lnTo>
                    <a:pt x="72" y="94"/>
                  </a:lnTo>
                  <a:lnTo>
                    <a:pt x="67" y="101"/>
                  </a:lnTo>
                  <a:lnTo>
                    <a:pt x="56" y="112"/>
                  </a:lnTo>
                  <a:lnTo>
                    <a:pt x="47" y="117"/>
                  </a:lnTo>
                  <a:lnTo>
                    <a:pt x="14" y="160"/>
                  </a:lnTo>
                  <a:lnTo>
                    <a:pt x="0" y="248"/>
                  </a:lnTo>
                  <a:lnTo>
                    <a:pt x="3" y="250"/>
                  </a:lnTo>
                  <a:lnTo>
                    <a:pt x="9" y="252"/>
                  </a:lnTo>
                  <a:lnTo>
                    <a:pt x="16" y="251"/>
                  </a:lnTo>
                  <a:lnTo>
                    <a:pt x="21" y="241"/>
                  </a:lnTo>
                  <a:lnTo>
                    <a:pt x="24" y="239"/>
                  </a:lnTo>
                  <a:lnTo>
                    <a:pt x="30" y="237"/>
                  </a:lnTo>
                  <a:lnTo>
                    <a:pt x="34" y="234"/>
                  </a:lnTo>
                  <a:lnTo>
                    <a:pt x="53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96" y="233"/>
                  </a:lnTo>
                  <a:lnTo>
                    <a:pt x="92" y="228"/>
                  </a:lnTo>
                  <a:lnTo>
                    <a:pt x="102" y="205"/>
                  </a:lnTo>
                  <a:lnTo>
                    <a:pt x="100" y="200"/>
                  </a:lnTo>
                  <a:lnTo>
                    <a:pt x="101" y="196"/>
                  </a:lnTo>
                  <a:lnTo>
                    <a:pt x="118" y="191"/>
                  </a:lnTo>
                  <a:lnTo>
                    <a:pt x="122" y="185"/>
                  </a:lnTo>
                  <a:lnTo>
                    <a:pt x="127" y="187"/>
                  </a:lnTo>
                  <a:lnTo>
                    <a:pt x="131" y="185"/>
                  </a:lnTo>
                  <a:lnTo>
                    <a:pt x="133" y="180"/>
                  </a:lnTo>
                  <a:lnTo>
                    <a:pt x="138" y="183"/>
                  </a:lnTo>
                  <a:lnTo>
                    <a:pt x="146" y="184"/>
                  </a:lnTo>
                  <a:lnTo>
                    <a:pt x="153" y="187"/>
                  </a:lnTo>
                  <a:lnTo>
                    <a:pt x="162" y="173"/>
                  </a:lnTo>
                  <a:lnTo>
                    <a:pt x="180" y="180"/>
                  </a:lnTo>
                  <a:lnTo>
                    <a:pt x="186" y="178"/>
                  </a:lnTo>
                  <a:lnTo>
                    <a:pt x="193" y="180"/>
                  </a:lnTo>
                  <a:lnTo>
                    <a:pt x="239" y="120"/>
                  </a:lnTo>
                  <a:lnTo>
                    <a:pt x="241" y="68"/>
                  </a:lnTo>
                  <a:lnTo>
                    <a:pt x="239" y="63"/>
                  </a:lnTo>
                  <a:lnTo>
                    <a:pt x="233" y="56"/>
                  </a:lnTo>
                  <a:lnTo>
                    <a:pt x="223" y="50"/>
                  </a:lnTo>
                  <a:lnTo>
                    <a:pt x="219" y="46"/>
                  </a:lnTo>
                  <a:lnTo>
                    <a:pt x="213" y="18"/>
                  </a:lnTo>
                  <a:lnTo>
                    <a:pt x="211" y="16"/>
                  </a:lnTo>
                  <a:lnTo>
                    <a:pt x="210" y="15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197" y="6"/>
                  </a:lnTo>
                  <a:lnTo>
                    <a:pt x="196" y="4"/>
                  </a:lnTo>
                  <a:lnTo>
                    <a:pt x="193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3" name="Freeform 90"/>
            <p:cNvSpPr>
              <a:spLocks/>
            </p:cNvSpPr>
            <p:nvPr/>
          </p:nvSpPr>
          <p:spPr bwMode="auto">
            <a:xfrm>
              <a:off x="6119096" y="2020950"/>
              <a:ext cx="430576" cy="402614"/>
            </a:xfrm>
            <a:custGeom>
              <a:avLst/>
              <a:gdLst>
                <a:gd name="T0" fmla="*/ 29 w 356"/>
                <a:gd name="T1" fmla="*/ 1 h 405"/>
                <a:gd name="T2" fmla="*/ 29 w 356"/>
                <a:gd name="T3" fmla="*/ 4 h 405"/>
                <a:gd name="T4" fmla="*/ 31 w 356"/>
                <a:gd name="T5" fmla="*/ 4 h 405"/>
                <a:gd name="T6" fmla="*/ 29 w 356"/>
                <a:gd name="T7" fmla="*/ 5 h 405"/>
                <a:gd name="T8" fmla="*/ 29 w 356"/>
                <a:gd name="T9" fmla="*/ 17 h 405"/>
                <a:gd name="T10" fmla="*/ 0 w 356"/>
                <a:gd name="T11" fmla="*/ 35 h 405"/>
                <a:gd name="T12" fmla="*/ 17 w 356"/>
                <a:gd name="T13" fmla="*/ 46 h 405"/>
                <a:gd name="T14" fmla="*/ 23 w 356"/>
                <a:gd name="T15" fmla="*/ 47 h 405"/>
                <a:gd name="T16" fmla="*/ 25 w 356"/>
                <a:gd name="T17" fmla="*/ 46 h 405"/>
                <a:gd name="T18" fmla="*/ 26 w 356"/>
                <a:gd name="T19" fmla="*/ 43 h 405"/>
                <a:gd name="T20" fmla="*/ 32 w 356"/>
                <a:gd name="T21" fmla="*/ 41 h 405"/>
                <a:gd name="T22" fmla="*/ 35 w 356"/>
                <a:gd name="T23" fmla="*/ 41 h 405"/>
                <a:gd name="T24" fmla="*/ 36 w 356"/>
                <a:gd name="T25" fmla="*/ 38 h 405"/>
                <a:gd name="T26" fmla="*/ 39 w 356"/>
                <a:gd name="T27" fmla="*/ 35 h 405"/>
                <a:gd name="T28" fmla="*/ 40 w 356"/>
                <a:gd name="T29" fmla="*/ 35 h 405"/>
                <a:gd name="T30" fmla="*/ 44 w 356"/>
                <a:gd name="T31" fmla="*/ 35 h 405"/>
                <a:gd name="T32" fmla="*/ 46 w 356"/>
                <a:gd name="T33" fmla="*/ 34 h 405"/>
                <a:gd name="T34" fmla="*/ 45 w 356"/>
                <a:gd name="T35" fmla="*/ 33 h 405"/>
                <a:gd name="T36" fmla="*/ 45 w 356"/>
                <a:gd name="T37" fmla="*/ 29 h 405"/>
                <a:gd name="T38" fmla="*/ 48 w 356"/>
                <a:gd name="T39" fmla="*/ 26 h 405"/>
                <a:gd name="T40" fmla="*/ 49 w 356"/>
                <a:gd name="T41" fmla="*/ 26 h 405"/>
                <a:gd name="T42" fmla="*/ 50 w 356"/>
                <a:gd name="T43" fmla="*/ 26 h 405"/>
                <a:gd name="T44" fmla="*/ 51 w 356"/>
                <a:gd name="T45" fmla="*/ 26 h 405"/>
                <a:gd name="T46" fmla="*/ 57 w 356"/>
                <a:gd name="T47" fmla="*/ 21 h 405"/>
                <a:gd name="T48" fmla="*/ 61 w 356"/>
                <a:gd name="T49" fmla="*/ 14 h 405"/>
                <a:gd name="T50" fmla="*/ 60 w 356"/>
                <a:gd name="T51" fmla="*/ 14 h 405"/>
                <a:gd name="T52" fmla="*/ 58 w 356"/>
                <a:gd name="T53" fmla="*/ 13 h 405"/>
                <a:gd name="T54" fmla="*/ 57 w 356"/>
                <a:gd name="T55" fmla="*/ 11 h 405"/>
                <a:gd name="T56" fmla="*/ 55 w 356"/>
                <a:gd name="T57" fmla="*/ 10 h 405"/>
                <a:gd name="T58" fmla="*/ 51 w 356"/>
                <a:gd name="T59" fmla="*/ 8 h 405"/>
                <a:gd name="T60" fmla="*/ 48 w 356"/>
                <a:gd name="T61" fmla="*/ 7 h 405"/>
                <a:gd name="T62" fmla="*/ 41 w 356"/>
                <a:gd name="T63" fmla="*/ 5 h 405"/>
                <a:gd name="T64" fmla="*/ 38 w 356"/>
                <a:gd name="T65" fmla="*/ 4 h 405"/>
                <a:gd name="T66" fmla="*/ 36 w 356"/>
                <a:gd name="T67" fmla="*/ 2 h 405"/>
                <a:gd name="T68" fmla="*/ 34 w 356"/>
                <a:gd name="T69" fmla="*/ 0 h 40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6"/>
                <a:gd name="T106" fmla="*/ 0 h 405"/>
                <a:gd name="T107" fmla="*/ 356 w 356"/>
                <a:gd name="T108" fmla="*/ 405 h 40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6" h="405">
                  <a:moveTo>
                    <a:pt x="197" y="0"/>
                  </a:moveTo>
                  <a:lnTo>
                    <a:pt x="169" y="1"/>
                  </a:lnTo>
                  <a:lnTo>
                    <a:pt x="175" y="28"/>
                  </a:lnTo>
                  <a:lnTo>
                    <a:pt x="171" y="32"/>
                  </a:lnTo>
                  <a:lnTo>
                    <a:pt x="175" y="34"/>
                  </a:lnTo>
                  <a:lnTo>
                    <a:pt x="178" y="33"/>
                  </a:lnTo>
                  <a:lnTo>
                    <a:pt x="176" y="44"/>
                  </a:lnTo>
                  <a:lnTo>
                    <a:pt x="164" y="45"/>
                  </a:lnTo>
                  <a:lnTo>
                    <a:pt x="146" y="109"/>
                  </a:lnTo>
                  <a:lnTo>
                    <a:pt x="169" y="144"/>
                  </a:lnTo>
                  <a:lnTo>
                    <a:pt x="137" y="242"/>
                  </a:lnTo>
                  <a:lnTo>
                    <a:pt x="0" y="289"/>
                  </a:lnTo>
                  <a:lnTo>
                    <a:pt x="47" y="405"/>
                  </a:lnTo>
                  <a:lnTo>
                    <a:pt x="97" y="386"/>
                  </a:lnTo>
                  <a:lnTo>
                    <a:pt x="126" y="387"/>
                  </a:lnTo>
                  <a:lnTo>
                    <a:pt x="129" y="388"/>
                  </a:lnTo>
                  <a:lnTo>
                    <a:pt x="134" y="389"/>
                  </a:lnTo>
                  <a:lnTo>
                    <a:pt x="143" y="382"/>
                  </a:lnTo>
                  <a:lnTo>
                    <a:pt x="150" y="372"/>
                  </a:lnTo>
                  <a:lnTo>
                    <a:pt x="150" y="361"/>
                  </a:lnTo>
                  <a:lnTo>
                    <a:pt x="163" y="347"/>
                  </a:lnTo>
                  <a:lnTo>
                    <a:pt x="187" y="342"/>
                  </a:lnTo>
                  <a:lnTo>
                    <a:pt x="195" y="342"/>
                  </a:lnTo>
                  <a:lnTo>
                    <a:pt x="201" y="339"/>
                  </a:lnTo>
                  <a:lnTo>
                    <a:pt x="208" y="331"/>
                  </a:lnTo>
                  <a:lnTo>
                    <a:pt x="212" y="311"/>
                  </a:lnTo>
                  <a:lnTo>
                    <a:pt x="219" y="303"/>
                  </a:lnTo>
                  <a:lnTo>
                    <a:pt x="225" y="298"/>
                  </a:lnTo>
                  <a:lnTo>
                    <a:pt x="232" y="296"/>
                  </a:lnTo>
                  <a:lnTo>
                    <a:pt x="235" y="291"/>
                  </a:lnTo>
                  <a:lnTo>
                    <a:pt x="240" y="292"/>
                  </a:lnTo>
                  <a:lnTo>
                    <a:pt x="257" y="290"/>
                  </a:lnTo>
                  <a:lnTo>
                    <a:pt x="264" y="287"/>
                  </a:lnTo>
                  <a:lnTo>
                    <a:pt x="266" y="283"/>
                  </a:lnTo>
                  <a:lnTo>
                    <a:pt x="263" y="275"/>
                  </a:lnTo>
                  <a:lnTo>
                    <a:pt x="262" y="273"/>
                  </a:lnTo>
                  <a:lnTo>
                    <a:pt x="261" y="254"/>
                  </a:lnTo>
                  <a:lnTo>
                    <a:pt x="262" y="246"/>
                  </a:lnTo>
                  <a:lnTo>
                    <a:pt x="262" y="239"/>
                  </a:lnTo>
                  <a:lnTo>
                    <a:pt x="279" y="216"/>
                  </a:lnTo>
                  <a:lnTo>
                    <a:pt x="283" y="213"/>
                  </a:lnTo>
                  <a:lnTo>
                    <a:pt x="285" y="215"/>
                  </a:lnTo>
                  <a:lnTo>
                    <a:pt x="287" y="219"/>
                  </a:lnTo>
                  <a:lnTo>
                    <a:pt x="289" y="221"/>
                  </a:lnTo>
                  <a:lnTo>
                    <a:pt x="294" y="221"/>
                  </a:lnTo>
                  <a:lnTo>
                    <a:pt x="296" y="220"/>
                  </a:lnTo>
                  <a:lnTo>
                    <a:pt x="320" y="182"/>
                  </a:lnTo>
                  <a:lnTo>
                    <a:pt x="331" y="173"/>
                  </a:lnTo>
                  <a:lnTo>
                    <a:pt x="351" y="141"/>
                  </a:lnTo>
                  <a:lnTo>
                    <a:pt x="356" y="121"/>
                  </a:lnTo>
                  <a:lnTo>
                    <a:pt x="353" y="118"/>
                  </a:lnTo>
                  <a:lnTo>
                    <a:pt x="350" y="116"/>
                  </a:lnTo>
                  <a:lnTo>
                    <a:pt x="349" y="113"/>
                  </a:lnTo>
                  <a:lnTo>
                    <a:pt x="338" y="111"/>
                  </a:lnTo>
                  <a:lnTo>
                    <a:pt x="330" y="105"/>
                  </a:lnTo>
                  <a:lnTo>
                    <a:pt x="327" y="94"/>
                  </a:lnTo>
                  <a:lnTo>
                    <a:pt x="319" y="88"/>
                  </a:lnTo>
                  <a:lnTo>
                    <a:pt x="318" y="83"/>
                  </a:lnTo>
                  <a:lnTo>
                    <a:pt x="305" y="67"/>
                  </a:lnTo>
                  <a:lnTo>
                    <a:pt x="296" y="62"/>
                  </a:lnTo>
                  <a:lnTo>
                    <a:pt x="290" y="62"/>
                  </a:lnTo>
                  <a:lnTo>
                    <a:pt x="277" y="56"/>
                  </a:lnTo>
                  <a:lnTo>
                    <a:pt x="263" y="55"/>
                  </a:lnTo>
                  <a:lnTo>
                    <a:pt x="238" y="45"/>
                  </a:lnTo>
                  <a:lnTo>
                    <a:pt x="229" y="37"/>
                  </a:lnTo>
                  <a:lnTo>
                    <a:pt x="222" y="34"/>
                  </a:lnTo>
                  <a:lnTo>
                    <a:pt x="209" y="20"/>
                  </a:lnTo>
                  <a:lnTo>
                    <a:pt x="208" y="18"/>
                  </a:lnTo>
                  <a:lnTo>
                    <a:pt x="201" y="12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4" name="Freeform 91"/>
            <p:cNvSpPr>
              <a:spLocks/>
            </p:cNvSpPr>
            <p:nvPr/>
          </p:nvSpPr>
          <p:spPr bwMode="auto">
            <a:xfrm>
              <a:off x="6119096" y="2020950"/>
              <a:ext cx="430576" cy="402614"/>
            </a:xfrm>
            <a:custGeom>
              <a:avLst/>
              <a:gdLst>
                <a:gd name="T0" fmla="*/ 29 w 356"/>
                <a:gd name="T1" fmla="*/ 1 h 405"/>
                <a:gd name="T2" fmla="*/ 29 w 356"/>
                <a:gd name="T3" fmla="*/ 4 h 405"/>
                <a:gd name="T4" fmla="*/ 31 w 356"/>
                <a:gd name="T5" fmla="*/ 4 h 405"/>
                <a:gd name="T6" fmla="*/ 29 w 356"/>
                <a:gd name="T7" fmla="*/ 5 h 405"/>
                <a:gd name="T8" fmla="*/ 29 w 356"/>
                <a:gd name="T9" fmla="*/ 17 h 405"/>
                <a:gd name="T10" fmla="*/ 0 w 356"/>
                <a:gd name="T11" fmla="*/ 35 h 405"/>
                <a:gd name="T12" fmla="*/ 17 w 356"/>
                <a:gd name="T13" fmla="*/ 46 h 405"/>
                <a:gd name="T14" fmla="*/ 23 w 356"/>
                <a:gd name="T15" fmla="*/ 47 h 405"/>
                <a:gd name="T16" fmla="*/ 25 w 356"/>
                <a:gd name="T17" fmla="*/ 46 h 405"/>
                <a:gd name="T18" fmla="*/ 26 w 356"/>
                <a:gd name="T19" fmla="*/ 43 h 405"/>
                <a:gd name="T20" fmla="*/ 32 w 356"/>
                <a:gd name="T21" fmla="*/ 41 h 405"/>
                <a:gd name="T22" fmla="*/ 35 w 356"/>
                <a:gd name="T23" fmla="*/ 41 h 405"/>
                <a:gd name="T24" fmla="*/ 36 w 356"/>
                <a:gd name="T25" fmla="*/ 38 h 405"/>
                <a:gd name="T26" fmla="*/ 39 w 356"/>
                <a:gd name="T27" fmla="*/ 35 h 405"/>
                <a:gd name="T28" fmla="*/ 40 w 356"/>
                <a:gd name="T29" fmla="*/ 35 h 405"/>
                <a:gd name="T30" fmla="*/ 44 w 356"/>
                <a:gd name="T31" fmla="*/ 35 h 405"/>
                <a:gd name="T32" fmla="*/ 46 w 356"/>
                <a:gd name="T33" fmla="*/ 34 h 405"/>
                <a:gd name="T34" fmla="*/ 45 w 356"/>
                <a:gd name="T35" fmla="*/ 33 h 405"/>
                <a:gd name="T36" fmla="*/ 45 w 356"/>
                <a:gd name="T37" fmla="*/ 29 h 405"/>
                <a:gd name="T38" fmla="*/ 48 w 356"/>
                <a:gd name="T39" fmla="*/ 26 h 405"/>
                <a:gd name="T40" fmla="*/ 49 w 356"/>
                <a:gd name="T41" fmla="*/ 26 h 405"/>
                <a:gd name="T42" fmla="*/ 50 w 356"/>
                <a:gd name="T43" fmla="*/ 26 h 405"/>
                <a:gd name="T44" fmla="*/ 51 w 356"/>
                <a:gd name="T45" fmla="*/ 26 h 405"/>
                <a:gd name="T46" fmla="*/ 57 w 356"/>
                <a:gd name="T47" fmla="*/ 21 h 405"/>
                <a:gd name="T48" fmla="*/ 61 w 356"/>
                <a:gd name="T49" fmla="*/ 14 h 405"/>
                <a:gd name="T50" fmla="*/ 60 w 356"/>
                <a:gd name="T51" fmla="*/ 14 h 405"/>
                <a:gd name="T52" fmla="*/ 58 w 356"/>
                <a:gd name="T53" fmla="*/ 13 h 405"/>
                <a:gd name="T54" fmla="*/ 57 w 356"/>
                <a:gd name="T55" fmla="*/ 11 h 405"/>
                <a:gd name="T56" fmla="*/ 55 w 356"/>
                <a:gd name="T57" fmla="*/ 10 h 405"/>
                <a:gd name="T58" fmla="*/ 51 w 356"/>
                <a:gd name="T59" fmla="*/ 8 h 405"/>
                <a:gd name="T60" fmla="*/ 48 w 356"/>
                <a:gd name="T61" fmla="*/ 7 h 405"/>
                <a:gd name="T62" fmla="*/ 41 w 356"/>
                <a:gd name="T63" fmla="*/ 5 h 405"/>
                <a:gd name="T64" fmla="*/ 38 w 356"/>
                <a:gd name="T65" fmla="*/ 4 h 405"/>
                <a:gd name="T66" fmla="*/ 36 w 356"/>
                <a:gd name="T67" fmla="*/ 2 h 405"/>
                <a:gd name="T68" fmla="*/ 34 w 356"/>
                <a:gd name="T69" fmla="*/ 0 h 405"/>
                <a:gd name="T70" fmla="*/ 34 w 356"/>
                <a:gd name="T71" fmla="*/ 0 h 40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6"/>
                <a:gd name="T109" fmla="*/ 0 h 405"/>
                <a:gd name="T110" fmla="*/ 356 w 356"/>
                <a:gd name="T111" fmla="*/ 405 h 40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6" h="405">
                  <a:moveTo>
                    <a:pt x="197" y="0"/>
                  </a:moveTo>
                  <a:lnTo>
                    <a:pt x="169" y="1"/>
                  </a:lnTo>
                  <a:lnTo>
                    <a:pt x="175" y="28"/>
                  </a:lnTo>
                  <a:lnTo>
                    <a:pt x="171" y="32"/>
                  </a:lnTo>
                  <a:lnTo>
                    <a:pt x="175" y="34"/>
                  </a:lnTo>
                  <a:lnTo>
                    <a:pt x="178" y="33"/>
                  </a:lnTo>
                  <a:lnTo>
                    <a:pt x="176" y="44"/>
                  </a:lnTo>
                  <a:lnTo>
                    <a:pt x="164" y="45"/>
                  </a:lnTo>
                  <a:lnTo>
                    <a:pt x="146" y="109"/>
                  </a:lnTo>
                  <a:lnTo>
                    <a:pt x="169" y="144"/>
                  </a:lnTo>
                  <a:lnTo>
                    <a:pt x="137" y="242"/>
                  </a:lnTo>
                  <a:lnTo>
                    <a:pt x="0" y="289"/>
                  </a:lnTo>
                  <a:lnTo>
                    <a:pt x="47" y="405"/>
                  </a:lnTo>
                  <a:lnTo>
                    <a:pt x="97" y="386"/>
                  </a:lnTo>
                  <a:lnTo>
                    <a:pt x="126" y="387"/>
                  </a:lnTo>
                  <a:lnTo>
                    <a:pt x="129" y="388"/>
                  </a:lnTo>
                  <a:lnTo>
                    <a:pt x="134" y="389"/>
                  </a:lnTo>
                  <a:lnTo>
                    <a:pt x="143" y="382"/>
                  </a:lnTo>
                  <a:lnTo>
                    <a:pt x="150" y="372"/>
                  </a:lnTo>
                  <a:lnTo>
                    <a:pt x="150" y="361"/>
                  </a:lnTo>
                  <a:lnTo>
                    <a:pt x="163" y="347"/>
                  </a:lnTo>
                  <a:lnTo>
                    <a:pt x="187" y="342"/>
                  </a:lnTo>
                  <a:lnTo>
                    <a:pt x="195" y="342"/>
                  </a:lnTo>
                  <a:lnTo>
                    <a:pt x="201" y="339"/>
                  </a:lnTo>
                  <a:lnTo>
                    <a:pt x="208" y="331"/>
                  </a:lnTo>
                  <a:lnTo>
                    <a:pt x="212" y="311"/>
                  </a:lnTo>
                  <a:lnTo>
                    <a:pt x="219" y="303"/>
                  </a:lnTo>
                  <a:lnTo>
                    <a:pt x="225" y="298"/>
                  </a:lnTo>
                  <a:lnTo>
                    <a:pt x="232" y="296"/>
                  </a:lnTo>
                  <a:lnTo>
                    <a:pt x="235" y="291"/>
                  </a:lnTo>
                  <a:lnTo>
                    <a:pt x="240" y="292"/>
                  </a:lnTo>
                  <a:lnTo>
                    <a:pt x="257" y="290"/>
                  </a:lnTo>
                  <a:lnTo>
                    <a:pt x="264" y="287"/>
                  </a:lnTo>
                  <a:lnTo>
                    <a:pt x="266" y="283"/>
                  </a:lnTo>
                  <a:lnTo>
                    <a:pt x="263" y="275"/>
                  </a:lnTo>
                  <a:lnTo>
                    <a:pt x="262" y="273"/>
                  </a:lnTo>
                  <a:lnTo>
                    <a:pt x="261" y="254"/>
                  </a:lnTo>
                  <a:lnTo>
                    <a:pt x="262" y="246"/>
                  </a:lnTo>
                  <a:lnTo>
                    <a:pt x="262" y="239"/>
                  </a:lnTo>
                  <a:lnTo>
                    <a:pt x="279" y="216"/>
                  </a:lnTo>
                  <a:lnTo>
                    <a:pt x="283" y="213"/>
                  </a:lnTo>
                  <a:lnTo>
                    <a:pt x="285" y="215"/>
                  </a:lnTo>
                  <a:lnTo>
                    <a:pt x="287" y="219"/>
                  </a:lnTo>
                  <a:lnTo>
                    <a:pt x="289" y="221"/>
                  </a:lnTo>
                  <a:lnTo>
                    <a:pt x="294" y="221"/>
                  </a:lnTo>
                  <a:lnTo>
                    <a:pt x="296" y="220"/>
                  </a:lnTo>
                  <a:lnTo>
                    <a:pt x="320" y="182"/>
                  </a:lnTo>
                  <a:lnTo>
                    <a:pt x="331" y="173"/>
                  </a:lnTo>
                  <a:lnTo>
                    <a:pt x="351" y="141"/>
                  </a:lnTo>
                  <a:lnTo>
                    <a:pt x="356" y="121"/>
                  </a:lnTo>
                  <a:lnTo>
                    <a:pt x="353" y="118"/>
                  </a:lnTo>
                  <a:lnTo>
                    <a:pt x="350" y="116"/>
                  </a:lnTo>
                  <a:lnTo>
                    <a:pt x="349" y="113"/>
                  </a:lnTo>
                  <a:lnTo>
                    <a:pt x="338" y="111"/>
                  </a:lnTo>
                  <a:lnTo>
                    <a:pt x="330" y="105"/>
                  </a:lnTo>
                  <a:lnTo>
                    <a:pt x="327" y="94"/>
                  </a:lnTo>
                  <a:lnTo>
                    <a:pt x="319" y="88"/>
                  </a:lnTo>
                  <a:lnTo>
                    <a:pt x="318" y="83"/>
                  </a:lnTo>
                  <a:lnTo>
                    <a:pt x="305" y="67"/>
                  </a:lnTo>
                  <a:lnTo>
                    <a:pt x="296" y="62"/>
                  </a:lnTo>
                  <a:lnTo>
                    <a:pt x="290" y="62"/>
                  </a:lnTo>
                  <a:lnTo>
                    <a:pt x="277" y="56"/>
                  </a:lnTo>
                  <a:lnTo>
                    <a:pt x="263" y="55"/>
                  </a:lnTo>
                  <a:lnTo>
                    <a:pt x="238" y="45"/>
                  </a:lnTo>
                  <a:lnTo>
                    <a:pt x="229" y="37"/>
                  </a:lnTo>
                  <a:lnTo>
                    <a:pt x="222" y="34"/>
                  </a:lnTo>
                  <a:lnTo>
                    <a:pt x="209" y="20"/>
                  </a:lnTo>
                  <a:lnTo>
                    <a:pt x="208" y="18"/>
                  </a:lnTo>
                  <a:lnTo>
                    <a:pt x="201" y="12"/>
                  </a:lnTo>
                  <a:lnTo>
                    <a:pt x="197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5" name="Freeform 92"/>
            <p:cNvSpPr>
              <a:spLocks/>
            </p:cNvSpPr>
            <p:nvPr/>
          </p:nvSpPr>
          <p:spPr bwMode="auto">
            <a:xfrm>
              <a:off x="3905287" y="3967225"/>
              <a:ext cx="735228" cy="599282"/>
            </a:xfrm>
            <a:custGeom>
              <a:avLst/>
              <a:gdLst>
                <a:gd name="T0" fmla="*/ 17 w 614"/>
                <a:gd name="T1" fmla="*/ 3 h 603"/>
                <a:gd name="T2" fmla="*/ 13 w 614"/>
                <a:gd name="T3" fmla="*/ 1 h 603"/>
                <a:gd name="T4" fmla="*/ 8 w 614"/>
                <a:gd name="T5" fmla="*/ 0 h 603"/>
                <a:gd name="T6" fmla="*/ 5 w 614"/>
                <a:gd name="T7" fmla="*/ 2 h 603"/>
                <a:gd name="T8" fmla="*/ 3 w 614"/>
                <a:gd name="T9" fmla="*/ 1 h 603"/>
                <a:gd name="T10" fmla="*/ 0 w 614"/>
                <a:gd name="T11" fmla="*/ 5 h 603"/>
                <a:gd name="T12" fmla="*/ 1 w 614"/>
                <a:gd name="T13" fmla="*/ 7 h 603"/>
                <a:gd name="T14" fmla="*/ 4 w 614"/>
                <a:gd name="T15" fmla="*/ 11 h 603"/>
                <a:gd name="T16" fmla="*/ 17 w 614"/>
                <a:gd name="T17" fmla="*/ 27 h 603"/>
                <a:gd name="T18" fmla="*/ 21 w 614"/>
                <a:gd name="T19" fmla="*/ 43 h 603"/>
                <a:gd name="T20" fmla="*/ 24 w 614"/>
                <a:gd name="T21" fmla="*/ 52 h 603"/>
                <a:gd name="T22" fmla="*/ 25 w 614"/>
                <a:gd name="T23" fmla="*/ 55 h 603"/>
                <a:gd name="T24" fmla="*/ 36 w 614"/>
                <a:gd name="T25" fmla="*/ 70 h 603"/>
                <a:gd name="T26" fmla="*/ 37 w 614"/>
                <a:gd name="T27" fmla="*/ 70 h 603"/>
                <a:gd name="T28" fmla="*/ 38 w 614"/>
                <a:gd name="T29" fmla="*/ 70 h 603"/>
                <a:gd name="T30" fmla="*/ 41 w 614"/>
                <a:gd name="T31" fmla="*/ 67 h 603"/>
                <a:gd name="T32" fmla="*/ 45 w 614"/>
                <a:gd name="T33" fmla="*/ 71 h 603"/>
                <a:gd name="T34" fmla="*/ 49 w 614"/>
                <a:gd name="T35" fmla="*/ 72 h 603"/>
                <a:gd name="T36" fmla="*/ 57 w 614"/>
                <a:gd name="T37" fmla="*/ 72 h 603"/>
                <a:gd name="T38" fmla="*/ 62 w 614"/>
                <a:gd name="T39" fmla="*/ 69 h 603"/>
                <a:gd name="T40" fmla="*/ 71 w 614"/>
                <a:gd name="T41" fmla="*/ 29 h 603"/>
                <a:gd name="T42" fmla="*/ 71 w 614"/>
                <a:gd name="T43" fmla="*/ 9 h 603"/>
                <a:gd name="T44" fmla="*/ 90 w 614"/>
                <a:gd name="T45" fmla="*/ 7 h 603"/>
                <a:gd name="T46" fmla="*/ 91 w 614"/>
                <a:gd name="T47" fmla="*/ 10 h 603"/>
                <a:gd name="T48" fmla="*/ 96 w 614"/>
                <a:gd name="T49" fmla="*/ 7 h 603"/>
                <a:gd name="T50" fmla="*/ 100 w 614"/>
                <a:gd name="T51" fmla="*/ 5 h 603"/>
                <a:gd name="T52" fmla="*/ 102 w 614"/>
                <a:gd name="T53" fmla="*/ 5 h 603"/>
                <a:gd name="T54" fmla="*/ 100 w 614"/>
                <a:gd name="T55" fmla="*/ 3 h 603"/>
                <a:gd name="T56" fmla="*/ 96 w 614"/>
                <a:gd name="T57" fmla="*/ 3 h 603"/>
                <a:gd name="T58" fmla="*/ 88 w 614"/>
                <a:gd name="T59" fmla="*/ 4 h 603"/>
                <a:gd name="T60" fmla="*/ 74 w 614"/>
                <a:gd name="T61" fmla="*/ 6 h 603"/>
                <a:gd name="T62" fmla="*/ 53 w 614"/>
                <a:gd name="T63" fmla="*/ 4 h 603"/>
                <a:gd name="T64" fmla="*/ 48 w 614"/>
                <a:gd name="T65" fmla="*/ 3 h 6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14"/>
                <a:gd name="T100" fmla="*/ 0 h 603"/>
                <a:gd name="T101" fmla="*/ 614 w 614"/>
                <a:gd name="T102" fmla="*/ 603 h 6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14" h="603">
                  <a:moveTo>
                    <a:pt x="289" y="21"/>
                  </a:moveTo>
                  <a:lnTo>
                    <a:pt x="102" y="23"/>
                  </a:lnTo>
                  <a:lnTo>
                    <a:pt x="90" y="12"/>
                  </a:lnTo>
                  <a:lnTo>
                    <a:pt x="80" y="8"/>
                  </a:lnTo>
                  <a:lnTo>
                    <a:pt x="76" y="1"/>
                  </a:lnTo>
                  <a:lnTo>
                    <a:pt x="48" y="0"/>
                  </a:lnTo>
                  <a:lnTo>
                    <a:pt x="41" y="3"/>
                  </a:lnTo>
                  <a:lnTo>
                    <a:pt x="32" y="11"/>
                  </a:lnTo>
                  <a:lnTo>
                    <a:pt x="26" y="13"/>
                  </a:lnTo>
                  <a:lnTo>
                    <a:pt x="18" y="8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2" y="61"/>
                  </a:lnTo>
                  <a:lnTo>
                    <a:pt x="15" y="85"/>
                  </a:lnTo>
                  <a:lnTo>
                    <a:pt x="22" y="90"/>
                  </a:lnTo>
                  <a:lnTo>
                    <a:pt x="98" y="227"/>
                  </a:lnTo>
                  <a:lnTo>
                    <a:pt x="98" y="232"/>
                  </a:lnTo>
                  <a:lnTo>
                    <a:pt x="124" y="276"/>
                  </a:lnTo>
                  <a:lnTo>
                    <a:pt x="128" y="362"/>
                  </a:lnTo>
                  <a:lnTo>
                    <a:pt x="143" y="397"/>
                  </a:lnTo>
                  <a:lnTo>
                    <a:pt x="143" y="435"/>
                  </a:lnTo>
                  <a:lnTo>
                    <a:pt x="151" y="455"/>
                  </a:lnTo>
                  <a:lnTo>
                    <a:pt x="149" y="463"/>
                  </a:lnTo>
                  <a:lnTo>
                    <a:pt x="162" y="519"/>
                  </a:lnTo>
                  <a:lnTo>
                    <a:pt x="214" y="582"/>
                  </a:lnTo>
                  <a:lnTo>
                    <a:pt x="217" y="582"/>
                  </a:lnTo>
                  <a:lnTo>
                    <a:pt x="219" y="584"/>
                  </a:lnTo>
                  <a:lnTo>
                    <a:pt x="225" y="584"/>
                  </a:lnTo>
                  <a:lnTo>
                    <a:pt x="228" y="582"/>
                  </a:lnTo>
                  <a:lnTo>
                    <a:pt x="237" y="566"/>
                  </a:lnTo>
                  <a:lnTo>
                    <a:pt x="247" y="565"/>
                  </a:lnTo>
                  <a:lnTo>
                    <a:pt x="269" y="580"/>
                  </a:lnTo>
                  <a:lnTo>
                    <a:pt x="269" y="590"/>
                  </a:lnTo>
                  <a:lnTo>
                    <a:pt x="278" y="602"/>
                  </a:lnTo>
                  <a:lnTo>
                    <a:pt x="292" y="603"/>
                  </a:lnTo>
                  <a:lnTo>
                    <a:pt x="304" y="599"/>
                  </a:lnTo>
                  <a:lnTo>
                    <a:pt x="338" y="602"/>
                  </a:lnTo>
                  <a:lnTo>
                    <a:pt x="363" y="581"/>
                  </a:lnTo>
                  <a:lnTo>
                    <a:pt x="376" y="576"/>
                  </a:lnTo>
                  <a:lnTo>
                    <a:pt x="376" y="246"/>
                  </a:lnTo>
                  <a:lnTo>
                    <a:pt x="423" y="246"/>
                  </a:lnTo>
                  <a:lnTo>
                    <a:pt x="423" y="75"/>
                  </a:lnTo>
                  <a:lnTo>
                    <a:pt x="427" y="71"/>
                  </a:lnTo>
                  <a:lnTo>
                    <a:pt x="528" y="58"/>
                  </a:lnTo>
                  <a:lnTo>
                    <a:pt x="537" y="61"/>
                  </a:lnTo>
                  <a:lnTo>
                    <a:pt x="542" y="70"/>
                  </a:lnTo>
                  <a:lnTo>
                    <a:pt x="544" y="83"/>
                  </a:lnTo>
                  <a:lnTo>
                    <a:pt x="558" y="67"/>
                  </a:lnTo>
                  <a:lnTo>
                    <a:pt x="571" y="58"/>
                  </a:lnTo>
                  <a:lnTo>
                    <a:pt x="594" y="52"/>
                  </a:lnTo>
                  <a:lnTo>
                    <a:pt x="598" y="46"/>
                  </a:lnTo>
                  <a:lnTo>
                    <a:pt x="604" y="42"/>
                  </a:lnTo>
                  <a:lnTo>
                    <a:pt x="614" y="42"/>
                  </a:lnTo>
                  <a:lnTo>
                    <a:pt x="606" y="31"/>
                  </a:lnTo>
                  <a:lnTo>
                    <a:pt x="603" y="29"/>
                  </a:lnTo>
                  <a:lnTo>
                    <a:pt x="574" y="26"/>
                  </a:lnTo>
                  <a:lnTo>
                    <a:pt x="572" y="24"/>
                  </a:lnTo>
                  <a:lnTo>
                    <a:pt x="530" y="33"/>
                  </a:lnTo>
                  <a:lnTo>
                    <a:pt x="528" y="35"/>
                  </a:lnTo>
                  <a:lnTo>
                    <a:pt x="448" y="56"/>
                  </a:lnTo>
                  <a:lnTo>
                    <a:pt x="445" y="53"/>
                  </a:lnTo>
                  <a:lnTo>
                    <a:pt x="324" y="38"/>
                  </a:lnTo>
                  <a:lnTo>
                    <a:pt x="317" y="31"/>
                  </a:lnTo>
                  <a:lnTo>
                    <a:pt x="305" y="21"/>
                  </a:lnTo>
                  <a:lnTo>
                    <a:pt x="289" y="2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6" name="Freeform 93"/>
            <p:cNvSpPr>
              <a:spLocks/>
            </p:cNvSpPr>
            <p:nvPr/>
          </p:nvSpPr>
          <p:spPr bwMode="auto">
            <a:xfrm>
              <a:off x="3905287" y="3967225"/>
              <a:ext cx="735228" cy="599282"/>
            </a:xfrm>
            <a:custGeom>
              <a:avLst/>
              <a:gdLst>
                <a:gd name="T0" fmla="*/ 17 w 614"/>
                <a:gd name="T1" fmla="*/ 3 h 603"/>
                <a:gd name="T2" fmla="*/ 13 w 614"/>
                <a:gd name="T3" fmla="*/ 1 h 603"/>
                <a:gd name="T4" fmla="*/ 8 w 614"/>
                <a:gd name="T5" fmla="*/ 0 h 603"/>
                <a:gd name="T6" fmla="*/ 5 w 614"/>
                <a:gd name="T7" fmla="*/ 2 h 603"/>
                <a:gd name="T8" fmla="*/ 3 w 614"/>
                <a:gd name="T9" fmla="*/ 1 h 603"/>
                <a:gd name="T10" fmla="*/ 0 w 614"/>
                <a:gd name="T11" fmla="*/ 5 h 603"/>
                <a:gd name="T12" fmla="*/ 1 w 614"/>
                <a:gd name="T13" fmla="*/ 7 h 603"/>
                <a:gd name="T14" fmla="*/ 4 w 614"/>
                <a:gd name="T15" fmla="*/ 11 h 603"/>
                <a:gd name="T16" fmla="*/ 17 w 614"/>
                <a:gd name="T17" fmla="*/ 27 h 603"/>
                <a:gd name="T18" fmla="*/ 21 w 614"/>
                <a:gd name="T19" fmla="*/ 43 h 603"/>
                <a:gd name="T20" fmla="*/ 24 w 614"/>
                <a:gd name="T21" fmla="*/ 52 h 603"/>
                <a:gd name="T22" fmla="*/ 25 w 614"/>
                <a:gd name="T23" fmla="*/ 55 h 603"/>
                <a:gd name="T24" fmla="*/ 36 w 614"/>
                <a:gd name="T25" fmla="*/ 70 h 603"/>
                <a:gd name="T26" fmla="*/ 37 w 614"/>
                <a:gd name="T27" fmla="*/ 70 h 603"/>
                <a:gd name="T28" fmla="*/ 38 w 614"/>
                <a:gd name="T29" fmla="*/ 70 h 603"/>
                <a:gd name="T30" fmla="*/ 41 w 614"/>
                <a:gd name="T31" fmla="*/ 67 h 603"/>
                <a:gd name="T32" fmla="*/ 45 w 614"/>
                <a:gd name="T33" fmla="*/ 71 h 603"/>
                <a:gd name="T34" fmla="*/ 49 w 614"/>
                <a:gd name="T35" fmla="*/ 72 h 603"/>
                <a:gd name="T36" fmla="*/ 57 w 614"/>
                <a:gd name="T37" fmla="*/ 72 h 603"/>
                <a:gd name="T38" fmla="*/ 62 w 614"/>
                <a:gd name="T39" fmla="*/ 69 h 603"/>
                <a:gd name="T40" fmla="*/ 71 w 614"/>
                <a:gd name="T41" fmla="*/ 29 h 603"/>
                <a:gd name="T42" fmla="*/ 71 w 614"/>
                <a:gd name="T43" fmla="*/ 9 h 603"/>
                <a:gd name="T44" fmla="*/ 90 w 614"/>
                <a:gd name="T45" fmla="*/ 7 h 603"/>
                <a:gd name="T46" fmla="*/ 91 w 614"/>
                <a:gd name="T47" fmla="*/ 10 h 603"/>
                <a:gd name="T48" fmla="*/ 96 w 614"/>
                <a:gd name="T49" fmla="*/ 7 h 603"/>
                <a:gd name="T50" fmla="*/ 100 w 614"/>
                <a:gd name="T51" fmla="*/ 5 h 603"/>
                <a:gd name="T52" fmla="*/ 102 w 614"/>
                <a:gd name="T53" fmla="*/ 5 h 603"/>
                <a:gd name="T54" fmla="*/ 100 w 614"/>
                <a:gd name="T55" fmla="*/ 3 h 603"/>
                <a:gd name="T56" fmla="*/ 96 w 614"/>
                <a:gd name="T57" fmla="*/ 3 h 603"/>
                <a:gd name="T58" fmla="*/ 88 w 614"/>
                <a:gd name="T59" fmla="*/ 4 h 603"/>
                <a:gd name="T60" fmla="*/ 74 w 614"/>
                <a:gd name="T61" fmla="*/ 6 h 603"/>
                <a:gd name="T62" fmla="*/ 53 w 614"/>
                <a:gd name="T63" fmla="*/ 4 h 603"/>
                <a:gd name="T64" fmla="*/ 48 w 614"/>
                <a:gd name="T65" fmla="*/ 3 h 6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14"/>
                <a:gd name="T100" fmla="*/ 0 h 603"/>
                <a:gd name="T101" fmla="*/ 614 w 614"/>
                <a:gd name="T102" fmla="*/ 603 h 6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14" h="603">
                  <a:moveTo>
                    <a:pt x="289" y="21"/>
                  </a:moveTo>
                  <a:lnTo>
                    <a:pt x="102" y="23"/>
                  </a:lnTo>
                  <a:lnTo>
                    <a:pt x="90" y="12"/>
                  </a:lnTo>
                  <a:lnTo>
                    <a:pt x="80" y="8"/>
                  </a:lnTo>
                  <a:lnTo>
                    <a:pt x="76" y="1"/>
                  </a:lnTo>
                  <a:lnTo>
                    <a:pt x="48" y="0"/>
                  </a:lnTo>
                  <a:lnTo>
                    <a:pt x="41" y="3"/>
                  </a:lnTo>
                  <a:lnTo>
                    <a:pt x="32" y="11"/>
                  </a:lnTo>
                  <a:lnTo>
                    <a:pt x="26" y="13"/>
                  </a:lnTo>
                  <a:lnTo>
                    <a:pt x="18" y="8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2" y="61"/>
                  </a:lnTo>
                  <a:lnTo>
                    <a:pt x="15" y="85"/>
                  </a:lnTo>
                  <a:lnTo>
                    <a:pt x="22" y="90"/>
                  </a:lnTo>
                  <a:lnTo>
                    <a:pt x="98" y="227"/>
                  </a:lnTo>
                  <a:lnTo>
                    <a:pt x="98" y="232"/>
                  </a:lnTo>
                  <a:lnTo>
                    <a:pt x="124" y="276"/>
                  </a:lnTo>
                  <a:lnTo>
                    <a:pt x="128" y="362"/>
                  </a:lnTo>
                  <a:lnTo>
                    <a:pt x="143" y="397"/>
                  </a:lnTo>
                  <a:lnTo>
                    <a:pt x="143" y="435"/>
                  </a:lnTo>
                  <a:lnTo>
                    <a:pt x="151" y="455"/>
                  </a:lnTo>
                  <a:lnTo>
                    <a:pt x="149" y="463"/>
                  </a:lnTo>
                  <a:lnTo>
                    <a:pt x="162" y="519"/>
                  </a:lnTo>
                  <a:lnTo>
                    <a:pt x="214" y="582"/>
                  </a:lnTo>
                  <a:lnTo>
                    <a:pt x="217" y="582"/>
                  </a:lnTo>
                  <a:lnTo>
                    <a:pt x="219" y="584"/>
                  </a:lnTo>
                  <a:lnTo>
                    <a:pt x="225" y="584"/>
                  </a:lnTo>
                  <a:lnTo>
                    <a:pt x="228" y="582"/>
                  </a:lnTo>
                  <a:lnTo>
                    <a:pt x="237" y="566"/>
                  </a:lnTo>
                  <a:lnTo>
                    <a:pt x="247" y="565"/>
                  </a:lnTo>
                  <a:lnTo>
                    <a:pt x="269" y="580"/>
                  </a:lnTo>
                  <a:lnTo>
                    <a:pt x="269" y="590"/>
                  </a:lnTo>
                  <a:lnTo>
                    <a:pt x="278" y="602"/>
                  </a:lnTo>
                  <a:lnTo>
                    <a:pt x="292" y="603"/>
                  </a:lnTo>
                  <a:lnTo>
                    <a:pt x="304" y="599"/>
                  </a:lnTo>
                  <a:lnTo>
                    <a:pt x="338" y="602"/>
                  </a:lnTo>
                  <a:lnTo>
                    <a:pt x="363" y="581"/>
                  </a:lnTo>
                  <a:lnTo>
                    <a:pt x="376" y="576"/>
                  </a:lnTo>
                  <a:lnTo>
                    <a:pt x="376" y="246"/>
                  </a:lnTo>
                  <a:lnTo>
                    <a:pt x="423" y="246"/>
                  </a:lnTo>
                  <a:lnTo>
                    <a:pt x="423" y="75"/>
                  </a:lnTo>
                  <a:lnTo>
                    <a:pt x="427" y="71"/>
                  </a:lnTo>
                  <a:lnTo>
                    <a:pt x="528" y="58"/>
                  </a:lnTo>
                  <a:lnTo>
                    <a:pt x="537" y="61"/>
                  </a:lnTo>
                  <a:lnTo>
                    <a:pt x="542" y="70"/>
                  </a:lnTo>
                  <a:lnTo>
                    <a:pt x="544" y="83"/>
                  </a:lnTo>
                  <a:lnTo>
                    <a:pt x="558" y="67"/>
                  </a:lnTo>
                  <a:lnTo>
                    <a:pt x="571" y="58"/>
                  </a:lnTo>
                  <a:lnTo>
                    <a:pt x="594" y="52"/>
                  </a:lnTo>
                  <a:lnTo>
                    <a:pt x="598" y="46"/>
                  </a:lnTo>
                  <a:lnTo>
                    <a:pt x="604" y="42"/>
                  </a:lnTo>
                  <a:lnTo>
                    <a:pt x="614" y="42"/>
                  </a:lnTo>
                  <a:lnTo>
                    <a:pt x="606" y="31"/>
                  </a:lnTo>
                  <a:lnTo>
                    <a:pt x="603" y="29"/>
                  </a:lnTo>
                  <a:lnTo>
                    <a:pt x="574" y="26"/>
                  </a:lnTo>
                  <a:lnTo>
                    <a:pt x="572" y="24"/>
                  </a:lnTo>
                  <a:lnTo>
                    <a:pt x="530" y="33"/>
                  </a:lnTo>
                  <a:lnTo>
                    <a:pt x="528" y="35"/>
                  </a:lnTo>
                  <a:lnTo>
                    <a:pt x="448" y="56"/>
                  </a:lnTo>
                  <a:lnTo>
                    <a:pt x="445" y="53"/>
                  </a:lnTo>
                  <a:lnTo>
                    <a:pt x="324" y="38"/>
                  </a:lnTo>
                  <a:lnTo>
                    <a:pt x="317" y="31"/>
                  </a:lnTo>
                  <a:lnTo>
                    <a:pt x="305" y="21"/>
                  </a:lnTo>
                  <a:lnTo>
                    <a:pt x="289" y="2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7" name="Freeform 94"/>
            <p:cNvSpPr>
              <a:spLocks/>
            </p:cNvSpPr>
            <p:nvPr/>
          </p:nvSpPr>
          <p:spPr bwMode="auto">
            <a:xfrm>
              <a:off x="4959387" y="4399525"/>
              <a:ext cx="67023" cy="72359"/>
            </a:xfrm>
            <a:custGeom>
              <a:avLst/>
              <a:gdLst>
                <a:gd name="T0" fmla="*/ 9 w 57"/>
                <a:gd name="T1" fmla="*/ 6 h 76"/>
                <a:gd name="T2" fmla="*/ 8 w 57"/>
                <a:gd name="T3" fmla="*/ 1 h 76"/>
                <a:gd name="T4" fmla="*/ 8 w 57"/>
                <a:gd name="T5" fmla="*/ 2 h 76"/>
                <a:gd name="T6" fmla="*/ 5 w 57"/>
                <a:gd name="T7" fmla="*/ 0 h 76"/>
                <a:gd name="T8" fmla="*/ 3 w 57"/>
                <a:gd name="T9" fmla="*/ 1 h 76"/>
                <a:gd name="T10" fmla="*/ 0 w 57"/>
                <a:gd name="T11" fmla="*/ 5 h 76"/>
                <a:gd name="T12" fmla="*/ 2 w 57"/>
                <a:gd name="T13" fmla="*/ 7 h 76"/>
                <a:gd name="T14" fmla="*/ 6 w 57"/>
                <a:gd name="T15" fmla="*/ 8 h 76"/>
                <a:gd name="T16" fmla="*/ 7 w 57"/>
                <a:gd name="T17" fmla="*/ 7 h 76"/>
                <a:gd name="T18" fmla="*/ 8 w 57"/>
                <a:gd name="T19" fmla="*/ 6 h 76"/>
                <a:gd name="T20" fmla="*/ 9 w 57"/>
                <a:gd name="T21" fmla="*/ 6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76"/>
                <a:gd name="T35" fmla="*/ 57 w 57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76">
                  <a:moveTo>
                    <a:pt x="57" y="53"/>
                  </a:moveTo>
                  <a:lnTo>
                    <a:pt x="53" y="6"/>
                  </a:lnTo>
                  <a:lnTo>
                    <a:pt x="47" y="13"/>
                  </a:lnTo>
                  <a:lnTo>
                    <a:pt x="28" y="0"/>
                  </a:lnTo>
                  <a:lnTo>
                    <a:pt x="16" y="8"/>
                  </a:lnTo>
                  <a:lnTo>
                    <a:pt x="0" y="46"/>
                  </a:lnTo>
                  <a:lnTo>
                    <a:pt x="10" y="73"/>
                  </a:lnTo>
                  <a:lnTo>
                    <a:pt x="40" y="76"/>
                  </a:lnTo>
                  <a:lnTo>
                    <a:pt x="46" y="69"/>
                  </a:lnTo>
                  <a:lnTo>
                    <a:pt x="50" y="56"/>
                  </a:lnTo>
                  <a:lnTo>
                    <a:pt x="57" y="5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8" name="Freeform 95"/>
            <p:cNvSpPr>
              <a:spLocks/>
            </p:cNvSpPr>
            <p:nvPr/>
          </p:nvSpPr>
          <p:spPr bwMode="auto">
            <a:xfrm>
              <a:off x="4959387" y="4399525"/>
              <a:ext cx="67023" cy="72359"/>
            </a:xfrm>
            <a:custGeom>
              <a:avLst/>
              <a:gdLst>
                <a:gd name="T0" fmla="*/ 9 w 57"/>
                <a:gd name="T1" fmla="*/ 6 h 76"/>
                <a:gd name="T2" fmla="*/ 8 w 57"/>
                <a:gd name="T3" fmla="*/ 1 h 76"/>
                <a:gd name="T4" fmla="*/ 8 w 57"/>
                <a:gd name="T5" fmla="*/ 2 h 76"/>
                <a:gd name="T6" fmla="*/ 5 w 57"/>
                <a:gd name="T7" fmla="*/ 0 h 76"/>
                <a:gd name="T8" fmla="*/ 3 w 57"/>
                <a:gd name="T9" fmla="*/ 1 h 76"/>
                <a:gd name="T10" fmla="*/ 0 w 57"/>
                <a:gd name="T11" fmla="*/ 5 h 76"/>
                <a:gd name="T12" fmla="*/ 2 w 57"/>
                <a:gd name="T13" fmla="*/ 7 h 76"/>
                <a:gd name="T14" fmla="*/ 6 w 57"/>
                <a:gd name="T15" fmla="*/ 8 h 76"/>
                <a:gd name="T16" fmla="*/ 7 w 57"/>
                <a:gd name="T17" fmla="*/ 7 h 76"/>
                <a:gd name="T18" fmla="*/ 8 w 57"/>
                <a:gd name="T19" fmla="*/ 6 h 76"/>
                <a:gd name="T20" fmla="*/ 9 w 57"/>
                <a:gd name="T21" fmla="*/ 6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76"/>
                <a:gd name="T35" fmla="*/ 57 w 57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76">
                  <a:moveTo>
                    <a:pt x="57" y="53"/>
                  </a:moveTo>
                  <a:lnTo>
                    <a:pt x="53" y="6"/>
                  </a:lnTo>
                  <a:lnTo>
                    <a:pt x="47" y="13"/>
                  </a:lnTo>
                  <a:lnTo>
                    <a:pt x="28" y="0"/>
                  </a:lnTo>
                  <a:lnTo>
                    <a:pt x="16" y="8"/>
                  </a:lnTo>
                  <a:lnTo>
                    <a:pt x="0" y="46"/>
                  </a:lnTo>
                  <a:lnTo>
                    <a:pt x="10" y="73"/>
                  </a:lnTo>
                  <a:lnTo>
                    <a:pt x="40" y="76"/>
                  </a:lnTo>
                  <a:lnTo>
                    <a:pt x="46" y="69"/>
                  </a:lnTo>
                  <a:lnTo>
                    <a:pt x="50" y="56"/>
                  </a:lnTo>
                  <a:lnTo>
                    <a:pt x="57" y="5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9" name="Freeform 96"/>
            <p:cNvSpPr>
              <a:spLocks/>
            </p:cNvSpPr>
            <p:nvPr/>
          </p:nvSpPr>
          <p:spPr bwMode="auto">
            <a:xfrm>
              <a:off x="6210492" y="2052491"/>
              <a:ext cx="16248" cy="3710"/>
            </a:xfrm>
            <a:custGeom>
              <a:avLst/>
              <a:gdLst>
                <a:gd name="T0" fmla="*/ 0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2 w 13"/>
                <a:gd name="T7" fmla="*/ 0 h 7"/>
                <a:gd name="T8" fmla="*/ 2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1 w 13"/>
                <a:gd name="T15" fmla="*/ 0 h 7"/>
                <a:gd name="T16" fmla="*/ 1 w 13"/>
                <a:gd name="T17" fmla="*/ 0 h 7"/>
                <a:gd name="T18" fmla="*/ 1 w 13"/>
                <a:gd name="T19" fmla="*/ 0 h 7"/>
                <a:gd name="T20" fmla="*/ 0 w 13"/>
                <a:gd name="T21" fmla="*/ 0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7"/>
                <a:gd name="T35" fmla="*/ 13 w 13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7">
                  <a:moveTo>
                    <a:pt x="0" y="6"/>
                  </a:moveTo>
                  <a:lnTo>
                    <a:pt x="6" y="7"/>
                  </a:lnTo>
                  <a:lnTo>
                    <a:pt x="8" y="6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0" name="Freeform 97"/>
            <p:cNvSpPr>
              <a:spLocks/>
            </p:cNvSpPr>
            <p:nvPr/>
          </p:nvSpPr>
          <p:spPr bwMode="auto">
            <a:xfrm>
              <a:off x="6210492" y="2052491"/>
              <a:ext cx="16248" cy="3710"/>
            </a:xfrm>
            <a:custGeom>
              <a:avLst/>
              <a:gdLst>
                <a:gd name="T0" fmla="*/ 0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2 w 13"/>
                <a:gd name="T7" fmla="*/ 0 h 7"/>
                <a:gd name="T8" fmla="*/ 2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1 w 13"/>
                <a:gd name="T15" fmla="*/ 0 h 7"/>
                <a:gd name="T16" fmla="*/ 1 w 13"/>
                <a:gd name="T17" fmla="*/ 0 h 7"/>
                <a:gd name="T18" fmla="*/ 1 w 13"/>
                <a:gd name="T19" fmla="*/ 0 h 7"/>
                <a:gd name="T20" fmla="*/ 0 w 13"/>
                <a:gd name="T21" fmla="*/ 0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7"/>
                <a:gd name="T35" fmla="*/ 13 w 13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7">
                  <a:moveTo>
                    <a:pt x="0" y="6"/>
                  </a:moveTo>
                  <a:lnTo>
                    <a:pt x="6" y="7"/>
                  </a:lnTo>
                  <a:lnTo>
                    <a:pt x="8" y="6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1" name="Freeform 98"/>
            <p:cNvSpPr>
              <a:spLocks/>
            </p:cNvSpPr>
            <p:nvPr/>
          </p:nvSpPr>
          <p:spPr bwMode="auto">
            <a:xfrm>
              <a:off x="5609311" y="2559005"/>
              <a:ext cx="6092" cy="7422"/>
            </a:xfrm>
            <a:custGeom>
              <a:avLst/>
              <a:gdLst>
                <a:gd name="T0" fmla="*/ 2 w 4"/>
                <a:gd name="T1" fmla="*/ 1 h 5"/>
                <a:gd name="T2" fmla="*/ 1 w 4"/>
                <a:gd name="T3" fmla="*/ 2 h 5"/>
                <a:gd name="T4" fmla="*/ 0 w 4"/>
                <a:gd name="T5" fmla="*/ 2 h 5"/>
                <a:gd name="T6" fmla="*/ 2 w 4"/>
                <a:gd name="T7" fmla="*/ 2 h 5"/>
                <a:gd name="T8" fmla="*/ 2 w 4"/>
                <a:gd name="T9" fmla="*/ 0 h 5"/>
                <a:gd name="T10" fmla="*/ 2 w 4"/>
                <a:gd name="T11" fmla="*/ 0 h 5"/>
                <a:gd name="T12" fmla="*/ 2 w 4"/>
                <a:gd name="T13" fmla="*/ 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2" y="1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2" name="Freeform 99"/>
            <p:cNvSpPr>
              <a:spLocks/>
            </p:cNvSpPr>
            <p:nvPr/>
          </p:nvSpPr>
          <p:spPr bwMode="auto">
            <a:xfrm>
              <a:off x="5609311" y="2559005"/>
              <a:ext cx="6092" cy="7422"/>
            </a:xfrm>
            <a:custGeom>
              <a:avLst/>
              <a:gdLst>
                <a:gd name="T0" fmla="*/ 2 w 4"/>
                <a:gd name="T1" fmla="*/ 1 h 5"/>
                <a:gd name="T2" fmla="*/ 1 w 4"/>
                <a:gd name="T3" fmla="*/ 2 h 5"/>
                <a:gd name="T4" fmla="*/ 0 w 4"/>
                <a:gd name="T5" fmla="*/ 2 h 5"/>
                <a:gd name="T6" fmla="*/ 2 w 4"/>
                <a:gd name="T7" fmla="*/ 2 h 5"/>
                <a:gd name="T8" fmla="*/ 2 w 4"/>
                <a:gd name="T9" fmla="*/ 0 h 5"/>
                <a:gd name="T10" fmla="*/ 2 w 4"/>
                <a:gd name="T11" fmla="*/ 0 h 5"/>
                <a:gd name="T12" fmla="*/ 2 w 4"/>
                <a:gd name="T13" fmla="*/ 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2" y="1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3" name="Freeform 100"/>
            <p:cNvSpPr>
              <a:spLocks/>
            </p:cNvSpPr>
            <p:nvPr/>
          </p:nvSpPr>
          <p:spPr bwMode="auto">
            <a:xfrm>
              <a:off x="5609311" y="2547872"/>
              <a:ext cx="6092" cy="7422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1 h 6"/>
                <a:gd name="T4" fmla="*/ 1 w 5"/>
                <a:gd name="T5" fmla="*/ 2 h 6"/>
                <a:gd name="T6" fmla="*/ 1 w 5"/>
                <a:gd name="T7" fmla="*/ 1 h 6"/>
                <a:gd name="T8" fmla="*/ 1 w 5"/>
                <a:gd name="T9" fmla="*/ 0 h 6"/>
                <a:gd name="T10" fmla="*/ 1 w 5"/>
                <a:gd name="T11" fmla="*/ 0 h 6"/>
                <a:gd name="T12" fmla="*/ 1 w 5"/>
                <a:gd name="T13" fmla="*/ 0 h 6"/>
                <a:gd name="T14" fmla="*/ 0 w 5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3"/>
                  </a:moveTo>
                  <a:lnTo>
                    <a:pt x="3" y="3"/>
                  </a:lnTo>
                  <a:lnTo>
                    <a:pt x="4" y="6"/>
                  </a:lnTo>
                  <a:lnTo>
                    <a:pt x="5" y="4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4" name="Freeform 101"/>
            <p:cNvSpPr>
              <a:spLocks/>
            </p:cNvSpPr>
            <p:nvPr/>
          </p:nvSpPr>
          <p:spPr bwMode="auto">
            <a:xfrm>
              <a:off x="5609311" y="2547872"/>
              <a:ext cx="6092" cy="7422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1 h 6"/>
                <a:gd name="T4" fmla="*/ 1 w 5"/>
                <a:gd name="T5" fmla="*/ 2 h 6"/>
                <a:gd name="T6" fmla="*/ 1 w 5"/>
                <a:gd name="T7" fmla="*/ 1 h 6"/>
                <a:gd name="T8" fmla="*/ 1 w 5"/>
                <a:gd name="T9" fmla="*/ 0 h 6"/>
                <a:gd name="T10" fmla="*/ 1 w 5"/>
                <a:gd name="T11" fmla="*/ 0 h 6"/>
                <a:gd name="T12" fmla="*/ 1 w 5"/>
                <a:gd name="T13" fmla="*/ 0 h 6"/>
                <a:gd name="T14" fmla="*/ 0 w 5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3"/>
                  </a:moveTo>
                  <a:lnTo>
                    <a:pt x="3" y="3"/>
                  </a:lnTo>
                  <a:lnTo>
                    <a:pt x="4" y="6"/>
                  </a:lnTo>
                  <a:lnTo>
                    <a:pt x="5" y="4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5" name="Freeform 102"/>
            <p:cNvSpPr>
              <a:spLocks/>
            </p:cNvSpPr>
            <p:nvPr/>
          </p:nvSpPr>
          <p:spPr bwMode="auto">
            <a:xfrm>
              <a:off x="5599155" y="2481079"/>
              <a:ext cx="4062" cy="5567"/>
            </a:xfrm>
            <a:custGeom>
              <a:avLst/>
              <a:gdLst>
                <a:gd name="T0" fmla="*/ 1 w 4"/>
                <a:gd name="T1" fmla="*/ 1 h 6"/>
                <a:gd name="T2" fmla="*/ 1 w 4"/>
                <a:gd name="T3" fmla="*/ 1 h 6"/>
                <a:gd name="T4" fmla="*/ 1 w 4"/>
                <a:gd name="T5" fmla="*/ 1 h 6"/>
                <a:gd name="T6" fmla="*/ 1 w 4"/>
                <a:gd name="T7" fmla="*/ 0 h 6"/>
                <a:gd name="T8" fmla="*/ 1 w 4"/>
                <a:gd name="T9" fmla="*/ 1 h 6"/>
                <a:gd name="T10" fmla="*/ 0 w 4"/>
                <a:gd name="T11" fmla="*/ 1 h 6"/>
                <a:gd name="T12" fmla="*/ 0 w 4"/>
                <a:gd name="T13" fmla="*/ 1 h 6"/>
                <a:gd name="T14" fmla="*/ 1 w 4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1" y="6"/>
                  </a:moveTo>
                  <a:lnTo>
                    <a:pt x="2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6" name="Freeform 103"/>
            <p:cNvSpPr>
              <a:spLocks/>
            </p:cNvSpPr>
            <p:nvPr/>
          </p:nvSpPr>
          <p:spPr bwMode="auto">
            <a:xfrm>
              <a:off x="5599155" y="2481079"/>
              <a:ext cx="4062" cy="5567"/>
            </a:xfrm>
            <a:custGeom>
              <a:avLst/>
              <a:gdLst>
                <a:gd name="T0" fmla="*/ 1 w 4"/>
                <a:gd name="T1" fmla="*/ 1 h 6"/>
                <a:gd name="T2" fmla="*/ 1 w 4"/>
                <a:gd name="T3" fmla="*/ 1 h 6"/>
                <a:gd name="T4" fmla="*/ 1 w 4"/>
                <a:gd name="T5" fmla="*/ 1 h 6"/>
                <a:gd name="T6" fmla="*/ 1 w 4"/>
                <a:gd name="T7" fmla="*/ 0 h 6"/>
                <a:gd name="T8" fmla="*/ 1 w 4"/>
                <a:gd name="T9" fmla="*/ 1 h 6"/>
                <a:gd name="T10" fmla="*/ 0 w 4"/>
                <a:gd name="T11" fmla="*/ 1 h 6"/>
                <a:gd name="T12" fmla="*/ 0 w 4"/>
                <a:gd name="T13" fmla="*/ 1 h 6"/>
                <a:gd name="T14" fmla="*/ 1 w 4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1" y="6"/>
                  </a:moveTo>
                  <a:lnTo>
                    <a:pt x="2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1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7" name="Freeform 104"/>
            <p:cNvSpPr>
              <a:spLocks/>
            </p:cNvSpPr>
            <p:nvPr/>
          </p:nvSpPr>
          <p:spPr bwMode="auto">
            <a:xfrm>
              <a:off x="6409533" y="4115654"/>
              <a:ext cx="22341" cy="24119"/>
            </a:xfrm>
            <a:custGeom>
              <a:avLst/>
              <a:gdLst>
                <a:gd name="T0" fmla="*/ 1 w 18"/>
                <a:gd name="T1" fmla="*/ 1 h 25"/>
                <a:gd name="T2" fmla="*/ 1 w 18"/>
                <a:gd name="T3" fmla="*/ 1 h 25"/>
                <a:gd name="T4" fmla="*/ 2 w 18"/>
                <a:gd name="T5" fmla="*/ 0 h 25"/>
                <a:gd name="T6" fmla="*/ 2 w 18"/>
                <a:gd name="T7" fmla="*/ 1 h 25"/>
                <a:gd name="T8" fmla="*/ 4 w 18"/>
                <a:gd name="T9" fmla="*/ 2 h 25"/>
                <a:gd name="T10" fmla="*/ 4 w 18"/>
                <a:gd name="T11" fmla="*/ 3 h 25"/>
                <a:gd name="T12" fmla="*/ 2 w 18"/>
                <a:gd name="T13" fmla="*/ 3 h 25"/>
                <a:gd name="T14" fmla="*/ 1 w 18"/>
                <a:gd name="T15" fmla="*/ 3 h 25"/>
                <a:gd name="T16" fmla="*/ 0 w 18"/>
                <a:gd name="T17" fmla="*/ 2 h 25"/>
                <a:gd name="T18" fmla="*/ 1 w 18"/>
                <a:gd name="T19" fmla="*/ 1 h 25"/>
                <a:gd name="T20" fmla="*/ 1 w 18"/>
                <a:gd name="T21" fmla="*/ 1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5"/>
                <a:gd name="T35" fmla="*/ 18 w 18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5">
                  <a:moveTo>
                    <a:pt x="7" y="5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15" y="7"/>
                  </a:lnTo>
                  <a:lnTo>
                    <a:pt x="18" y="15"/>
                  </a:lnTo>
                  <a:lnTo>
                    <a:pt x="17" y="21"/>
                  </a:lnTo>
                  <a:lnTo>
                    <a:pt x="12" y="25"/>
                  </a:lnTo>
                  <a:lnTo>
                    <a:pt x="1" y="25"/>
                  </a:lnTo>
                  <a:lnTo>
                    <a:pt x="0" y="17"/>
                  </a:lnTo>
                  <a:lnTo>
                    <a:pt x="3" y="9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8" name="Freeform 105"/>
            <p:cNvSpPr>
              <a:spLocks/>
            </p:cNvSpPr>
            <p:nvPr/>
          </p:nvSpPr>
          <p:spPr bwMode="auto">
            <a:xfrm>
              <a:off x="6409533" y="4115654"/>
              <a:ext cx="22341" cy="24119"/>
            </a:xfrm>
            <a:custGeom>
              <a:avLst/>
              <a:gdLst>
                <a:gd name="T0" fmla="*/ 1 w 18"/>
                <a:gd name="T1" fmla="*/ 1 h 25"/>
                <a:gd name="T2" fmla="*/ 1 w 18"/>
                <a:gd name="T3" fmla="*/ 1 h 25"/>
                <a:gd name="T4" fmla="*/ 2 w 18"/>
                <a:gd name="T5" fmla="*/ 0 h 25"/>
                <a:gd name="T6" fmla="*/ 2 w 18"/>
                <a:gd name="T7" fmla="*/ 1 h 25"/>
                <a:gd name="T8" fmla="*/ 4 w 18"/>
                <a:gd name="T9" fmla="*/ 2 h 25"/>
                <a:gd name="T10" fmla="*/ 4 w 18"/>
                <a:gd name="T11" fmla="*/ 3 h 25"/>
                <a:gd name="T12" fmla="*/ 2 w 18"/>
                <a:gd name="T13" fmla="*/ 3 h 25"/>
                <a:gd name="T14" fmla="*/ 1 w 18"/>
                <a:gd name="T15" fmla="*/ 3 h 25"/>
                <a:gd name="T16" fmla="*/ 0 w 18"/>
                <a:gd name="T17" fmla="*/ 2 h 25"/>
                <a:gd name="T18" fmla="*/ 1 w 18"/>
                <a:gd name="T19" fmla="*/ 1 h 25"/>
                <a:gd name="T20" fmla="*/ 1 w 18"/>
                <a:gd name="T21" fmla="*/ 1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5"/>
                <a:gd name="T35" fmla="*/ 18 w 18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5">
                  <a:moveTo>
                    <a:pt x="7" y="5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15" y="7"/>
                  </a:lnTo>
                  <a:lnTo>
                    <a:pt x="18" y="15"/>
                  </a:lnTo>
                  <a:lnTo>
                    <a:pt x="17" y="21"/>
                  </a:lnTo>
                  <a:lnTo>
                    <a:pt x="12" y="25"/>
                  </a:lnTo>
                  <a:lnTo>
                    <a:pt x="1" y="25"/>
                  </a:lnTo>
                  <a:lnTo>
                    <a:pt x="0" y="17"/>
                  </a:lnTo>
                  <a:lnTo>
                    <a:pt x="3" y="9"/>
                  </a:lnTo>
                  <a:lnTo>
                    <a:pt x="7" y="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9" name="Freeform 106"/>
            <p:cNvSpPr>
              <a:spLocks/>
            </p:cNvSpPr>
            <p:nvPr/>
          </p:nvSpPr>
          <p:spPr bwMode="auto">
            <a:xfrm>
              <a:off x="2564817" y="2846586"/>
              <a:ext cx="18279" cy="5567"/>
            </a:xfrm>
            <a:custGeom>
              <a:avLst/>
              <a:gdLst>
                <a:gd name="T0" fmla="*/ 3 w 15"/>
                <a:gd name="T1" fmla="*/ 0 h 7"/>
                <a:gd name="T2" fmla="*/ 2 w 15"/>
                <a:gd name="T3" fmla="*/ 0 h 7"/>
                <a:gd name="T4" fmla="*/ 2 w 15"/>
                <a:gd name="T5" fmla="*/ 0 h 7"/>
                <a:gd name="T6" fmla="*/ 1 w 15"/>
                <a:gd name="T7" fmla="*/ 0 h 7"/>
                <a:gd name="T8" fmla="*/ 0 w 15"/>
                <a:gd name="T9" fmla="*/ 0 h 7"/>
                <a:gd name="T10" fmla="*/ 1 w 15"/>
                <a:gd name="T11" fmla="*/ 0 h 7"/>
                <a:gd name="T12" fmla="*/ 1 w 15"/>
                <a:gd name="T13" fmla="*/ 0 h 7"/>
                <a:gd name="T14" fmla="*/ 2 w 15"/>
                <a:gd name="T15" fmla="*/ 0 h 7"/>
                <a:gd name="T16" fmla="*/ 3 w 15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7"/>
                <a:gd name="T29" fmla="*/ 15 w 15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7">
                  <a:moveTo>
                    <a:pt x="15" y="2"/>
                  </a:moveTo>
                  <a:lnTo>
                    <a:pt x="14" y="2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8" y="7"/>
                  </a:lnTo>
                  <a:lnTo>
                    <a:pt x="13" y="7"/>
                  </a:lnTo>
                  <a:lnTo>
                    <a:pt x="15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0" name="Freeform 107"/>
            <p:cNvSpPr>
              <a:spLocks/>
            </p:cNvSpPr>
            <p:nvPr/>
          </p:nvSpPr>
          <p:spPr bwMode="auto">
            <a:xfrm>
              <a:off x="2564817" y="2846586"/>
              <a:ext cx="18279" cy="5567"/>
            </a:xfrm>
            <a:custGeom>
              <a:avLst/>
              <a:gdLst>
                <a:gd name="T0" fmla="*/ 3 w 15"/>
                <a:gd name="T1" fmla="*/ 0 h 7"/>
                <a:gd name="T2" fmla="*/ 2 w 15"/>
                <a:gd name="T3" fmla="*/ 0 h 7"/>
                <a:gd name="T4" fmla="*/ 2 w 15"/>
                <a:gd name="T5" fmla="*/ 0 h 7"/>
                <a:gd name="T6" fmla="*/ 1 w 15"/>
                <a:gd name="T7" fmla="*/ 0 h 7"/>
                <a:gd name="T8" fmla="*/ 0 w 15"/>
                <a:gd name="T9" fmla="*/ 0 h 7"/>
                <a:gd name="T10" fmla="*/ 1 w 15"/>
                <a:gd name="T11" fmla="*/ 0 h 7"/>
                <a:gd name="T12" fmla="*/ 1 w 15"/>
                <a:gd name="T13" fmla="*/ 0 h 7"/>
                <a:gd name="T14" fmla="*/ 2 w 15"/>
                <a:gd name="T15" fmla="*/ 0 h 7"/>
                <a:gd name="T16" fmla="*/ 3 w 15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7"/>
                <a:gd name="T29" fmla="*/ 15 w 15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7">
                  <a:moveTo>
                    <a:pt x="15" y="2"/>
                  </a:moveTo>
                  <a:lnTo>
                    <a:pt x="14" y="2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8" y="7"/>
                  </a:lnTo>
                  <a:lnTo>
                    <a:pt x="13" y="7"/>
                  </a:lnTo>
                  <a:lnTo>
                    <a:pt x="15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1" name="Freeform 108"/>
            <p:cNvSpPr>
              <a:spLocks/>
            </p:cNvSpPr>
            <p:nvPr/>
          </p:nvSpPr>
          <p:spPr bwMode="auto">
            <a:xfrm>
              <a:off x="5452922" y="3408760"/>
              <a:ext cx="8124" cy="25976"/>
            </a:xfrm>
            <a:custGeom>
              <a:avLst/>
              <a:gdLst>
                <a:gd name="T0" fmla="*/ 1 w 8"/>
                <a:gd name="T1" fmla="*/ 1 h 24"/>
                <a:gd name="T2" fmla="*/ 1 w 8"/>
                <a:gd name="T3" fmla="*/ 2 h 24"/>
                <a:gd name="T4" fmla="*/ 1 w 8"/>
                <a:gd name="T5" fmla="*/ 4 h 24"/>
                <a:gd name="T6" fmla="*/ 0 w 8"/>
                <a:gd name="T7" fmla="*/ 4 h 24"/>
                <a:gd name="T8" fmla="*/ 0 w 8"/>
                <a:gd name="T9" fmla="*/ 0 h 24"/>
                <a:gd name="T10" fmla="*/ 1 w 8"/>
                <a:gd name="T11" fmla="*/ 1 h 24"/>
                <a:gd name="T12" fmla="*/ 1 w 8"/>
                <a:gd name="T13" fmla="*/ 0 h 24"/>
                <a:gd name="T14" fmla="*/ 1 w 8"/>
                <a:gd name="T15" fmla="*/ 2 h 24"/>
                <a:gd name="T16" fmla="*/ 1 w 8"/>
                <a:gd name="T17" fmla="*/ 1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4"/>
                <a:gd name="T29" fmla="*/ 8 w 8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4">
                  <a:moveTo>
                    <a:pt x="7" y="8"/>
                  </a:moveTo>
                  <a:lnTo>
                    <a:pt x="8" y="15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0"/>
                  </a:lnTo>
                  <a:lnTo>
                    <a:pt x="7" y="9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2" name="Freeform 109"/>
            <p:cNvSpPr>
              <a:spLocks/>
            </p:cNvSpPr>
            <p:nvPr/>
          </p:nvSpPr>
          <p:spPr bwMode="auto">
            <a:xfrm>
              <a:off x="5452922" y="3408760"/>
              <a:ext cx="8124" cy="25976"/>
            </a:xfrm>
            <a:custGeom>
              <a:avLst/>
              <a:gdLst>
                <a:gd name="T0" fmla="*/ 1 w 8"/>
                <a:gd name="T1" fmla="*/ 1 h 24"/>
                <a:gd name="T2" fmla="*/ 1 w 8"/>
                <a:gd name="T3" fmla="*/ 2 h 24"/>
                <a:gd name="T4" fmla="*/ 1 w 8"/>
                <a:gd name="T5" fmla="*/ 4 h 24"/>
                <a:gd name="T6" fmla="*/ 0 w 8"/>
                <a:gd name="T7" fmla="*/ 4 h 24"/>
                <a:gd name="T8" fmla="*/ 0 w 8"/>
                <a:gd name="T9" fmla="*/ 0 h 24"/>
                <a:gd name="T10" fmla="*/ 1 w 8"/>
                <a:gd name="T11" fmla="*/ 1 h 24"/>
                <a:gd name="T12" fmla="*/ 1 w 8"/>
                <a:gd name="T13" fmla="*/ 0 h 24"/>
                <a:gd name="T14" fmla="*/ 1 w 8"/>
                <a:gd name="T15" fmla="*/ 2 h 24"/>
                <a:gd name="T16" fmla="*/ 1 w 8"/>
                <a:gd name="T17" fmla="*/ 1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4"/>
                <a:gd name="T29" fmla="*/ 8 w 8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4">
                  <a:moveTo>
                    <a:pt x="7" y="8"/>
                  </a:moveTo>
                  <a:lnTo>
                    <a:pt x="8" y="15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0"/>
                  </a:lnTo>
                  <a:lnTo>
                    <a:pt x="7" y="9"/>
                  </a:lnTo>
                  <a:lnTo>
                    <a:pt x="7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3" name="Freeform 110"/>
            <p:cNvSpPr>
              <a:spLocks/>
            </p:cNvSpPr>
            <p:nvPr/>
          </p:nvSpPr>
          <p:spPr bwMode="auto">
            <a:xfrm>
              <a:off x="5424488" y="3447722"/>
              <a:ext cx="20310" cy="33396"/>
            </a:xfrm>
            <a:custGeom>
              <a:avLst/>
              <a:gdLst>
                <a:gd name="T0" fmla="*/ 2 w 14"/>
                <a:gd name="T1" fmla="*/ 0 h 32"/>
                <a:gd name="T2" fmla="*/ 2 w 14"/>
                <a:gd name="T3" fmla="*/ 3 h 32"/>
                <a:gd name="T4" fmla="*/ 3 w 14"/>
                <a:gd name="T5" fmla="*/ 3 h 32"/>
                <a:gd name="T6" fmla="*/ 4 w 14"/>
                <a:gd name="T7" fmla="*/ 3 h 32"/>
                <a:gd name="T8" fmla="*/ 5 w 14"/>
                <a:gd name="T9" fmla="*/ 5 h 32"/>
                <a:gd name="T10" fmla="*/ 1 w 14"/>
                <a:gd name="T11" fmla="*/ 3 h 32"/>
                <a:gd name="T12" fmla="*/ 0 w 14"/>
                <a:gd name="T13" fmla="*/ 1 h 32"/>
                <a:gd name="T14" fmla="*/ 1 w 14"/>
                <a:gd name="T15" fmla="*/ 1 h 32"/>
                <a:gd name="T16" fmla="*/ 2 w 14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32"/>
                <a:gd name="T29" fmla="*/ 14 w 14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32">
                  <a:moveTo>
                    <a:pt x="5" y="0"/>
                  </a:moveTo>
                  <a:lnTo>
                    <a:pt x="6" y="17"/>
                  </a:lnTo>
                  <a:lnTo>
                    <a:pt x="9" y="21"/>
                  </a:lnTo>
                  <a:lnTo>
                    <a:pt x="11" y="22"/>
                  </a:lnTo>
                  <a:lnTo>
                    <a:pt x="14" y="32"/>
                  </a:lnTo>
                  <a:lnTo>
                    <a:pt x="3" y="24"/>
                  </a:lnTo>
                  <a:lnTo>
                    <a:pt x="0" y="7"/>
                  </a:lnTo>
                  <a:lnTo>
                    <a:pt x="3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4" name="Freeform 111"/>
            <p:cNvSpPr>
              <a:spLocks/>
            </p:cNvSpPr>
            <p:nvPr/>
          </p:nvSpPr>
          <p:spPr bwMode="auto">
            <a:xfrm>
              <a:off x="5424488" y="3447722"/>
              <a:ext cx="20310" cy="33396"/>
            </a:xfrm>
            <a:custGeom>
              <a:avLst/>
              <a:gdLst>
                <a:gd name="T0" fmla="*/ 2 w 14"/>
                <a:gd name="T1" fmla="*/ 0 h 32"/>
                <a:gd name="T2" fmla="*/ 2 w 14"/>
                <a:gd name="T3" fmla="*/ 3 h 32"/>
                <a:gd name="T4" fmla="*/ 3 w 14"/>
                <a:gd name="T5" fmla="*/ 3 h 32"/>
                <a:gd name="T6" fmla="*/ 4 w 14"/>
                <a:gd name="T7" fmla="*/ 3 h 32"/>
                <a:gd name="T8" fmla="*/ 5 w 14"/>
                <a:gd name="T9" fmla="*/ 5 h 32"/>
                <a:gd name="T10" fmla="*/ 1 w 14"/>
                <a:gd name="T11" fmla="*/ 3 h 32"/>
                <a:gd name="T12" fmla="*/ 0 w 14"/>
                <a:gd name="T13" fmla="*/ 1 h 32"/>
                <a:gd name="T14" fmla="*/ 1 w 14"/>
                <a:gd name="T15" fmla="*/ 1 h 32"/>
                <a:gd name="T16" fmla="*/ 2 w 14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32"/>
                <a:gd name="T29" fmla="*/ 14 w 14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32">
                  <a:moveTo>
                    <a:pt x="5" y="0"/>
                  </a:moveTo>
                  <a:lnTo>
                    <a:pt x="6" y="17"/>
                  </a:lnTo>
                  <a:lnTo>
                    <a:pt x="9" y="21"/>
                  </a:lnTo>
                  <a:lnTo>
                    <a:pt x="11" y="22"/>
                  </a:lnTo>
                  <a:lnTo>
                    <a:pt x="14" y="32"/>
                  </a:lnTo>
                  <a:lnTo>
                    <a:pt x="3" y="24"/>
                  </a:lnTo>
                  <a:lnTo>
                    <a:pt x="0" y="7"/>
                  </a:lnTo>
                  <a:lnTo>
                    <a:pt x="3" y="1"/>
                  </a:lnTo>
                  <a:lnTo>
                    <a:pt x="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5" name="Freeform 112"/>
            <p:cNvSpPr>
              <a:spLocks/>
            </p:cNvSpPr>
            <p:nvPr/>
          </p:nvSpPr>
          <p:spPr bwMode="auto">
            <a:xfrm>
              <a:off x="6131283" y="2631364"/>
              <a:ext cx="18279" cy="1856"/>
            </a:xfrm>
            <a:custGeom>
              <a:avLst/>
              <a:gdLst>
                <a:gd name="T0" fmla="*/ 1 w 16"/>
                <a:gd name="T1" fmla="*/ 0 h 5"/>
                <a:gd name="T2" fmla="*/ 1 w 16"/>
                <a:gd name="T3" fmla="*/ 0 h 5"/>
                <a:gd name="T4" fmla="*/ 1 w 16"/>
                <a:gd name="T5" fmla="*/ 0 h 5"/>
                <a:gd name="T6" fmla="*/ 1 w 16"/>
                <a:gd name="T7" fmla="*/ 0 h 5"/>
                <a:gd name="T8" fmla="*/ 2 w 16"/>
                <a:gd name="T9" fmla="*/ 0 h 5"/>
                <a:gd name="T10" fmla="*/ 2 w 16"/>
                <a:gd name="T11" fmla="*/ 0 h 5"/>
                <a:gd name="T12" fmla="*/ 2 w 16"/>
                <a:gd name="T13" fmla="*/ 0 h 5"/>
                <a:gd name="T14" fmla="*/ 1 w 16"/>
                <a:gd name="T15" fmla="*/ 0 h 5"/>
                <a:gd name="T16" fmla="*/ 0 w 16"/>
                <a:gd name="T17" fmla="*/ 0 h 5"/>
                <a:gd name="T18" fmla="*/ 0 w 16"/>
                <a:gd name="T19" fmla="*/ 0 h 5"/>
                <a:gd name="T20" fmla="*/ 1 w 16"/>
                <a:gd name="T21" fmla="*/ 0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5"/>
                <a:gd name="T35" fmla="*/ 16 w 16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5">
                  <a:moveTo>
                    <a:pt x="4" y="3"/>
                  </a:moveTo>
                  <a:lnTo>
                    <a:pt x="5" y="2"/>
                  </a:lnTo>
                  <a:lnTo>
                    <a:pt x="7" y="4"/>
                  </a:lnTo>
                  <a:lnTo>
                    <a:pt x="9" y="3"/>
                  </a:lnTo>
                  <a:lnTo>
                    <a:pt x="12" y="5"/>
                  </a:lnTo>
                  <a:lnTo>
                    <a:pt x="16" y="2"/>
                  </a:lnTo>
                  <a:lnTo>
                    <a:pt x="14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6" name="Freeform 113"/>
            <p:cNvSpPr>
              <a:spLocks/>
            </p:cNvSpPr>
            <p:nvPr/>
          </p:nvSpPr>
          <p:spPr bwMode="auto">
            <a:xfrm>
              <a:off x="6200336" y="2609100"/>
              <a:ext cx="60931" cy="16699"/>
            </a:xfrm>
            <a:custGeom>
              <a:avLst/>
              <a:gdLst>
                <a:gd name="T0" fmla="*/ 8 w 50"/>
                <a:gd name="T1" fmla="*/ 0 h 20"/>
                <a:gd name="T2" fmla="*/ 9 w 50"/>
                <a:gd name="T3" fmla="*/ 0 h 20"/>
                <a:gd name="T4" fmla="*/ 8 w 50"/>
                <a:gd name="T5" fmla="*/ 0 h 20"/>
                <a:gd name="T6" fmla="*/ 8 w 50"/>
                <a:gd name="T7" fmla="*/ 1 h 20"/>
                <a:gd name="T8" fmla="*/ 5 w 50"/>
                <a:gd name="T9" fmla="*/ 1 h 20"/>
                <a:gd name="T10" fmla="*/ 1 w 50"/>
                <a:gd name="T11" fmla="*/ 1 h 20"/>
                <a:gd name="T12" fmla="*/ 0 w 50"/>
                <a:gd name="T13" fmla="*/ 0 h 20"/>
                <a:gd name="T14" fmla="*/ 1 w 50"/>
                <a:gd name="T15" fmla="*/ 0 h 20"/>
                <a:gd name="T16" fmla="*/ 1 w 50"/>
                <a:gd name="T17" fmla="*/ 0 h 20"/>
                <a:gd name="T18" fmla="*/ 2 w 50"/>
                <a:gd name="T19" fmla="*/ 0 h 20"/>
                <a:gd name="T20" fmla="*/ 4 w 50"/>
                <a:gd name="T21" fmla="*/ 0 h 20"/>
                <a:gd name="T22" fmla="*/ 5 w 50"/>
                <a:gd name="T23" fmla="*/ 0 h 20"/>
                <a:gd name="T24" fmla="*/ 8 w 50"/>
                <a:gd name="T25" fmla="*/ 0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20"/>
                <a:gd name="T41" fmla="*/ 50 w 50"/>
                <a:gd name="T42" fmla="*/ 20 h 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20">
                  <a:moveTo>
                    <a:pt x="45" y="6"/>
                  </a:moveTo>
                  <a:lnTo>
                    <a:pt x="50" y="6"/>
                  </a:lnTo>
                  <a:lnTo>
                    <a:pt x="49" y="8"/>
                  </a:lnTo>
                  <a:lnTo>
                    <a:pt x="43" y="14"/>
                  </a:lnTo>
                  <a:lnTo>
                    <a:pt x="28" y="20"/>
                  </a:lnTo>
                  <a:lnTo>
                    <a:pt x="8" y="16"/>
                  </a:lnTo>
                  <a:lnTo>
                    <a:pt x="0" y="10"/>
                  </a:lnTo>
                  <a:lnTo>
                    <a:pt x="3" y="2"/>
                  </a:lnTo>
                  <a:lnTo>
                    <a:pt x="8" y="0"/>
                  </a:lnTo>
                  <a:lnTo>
                    <a:pt x="15" y="6"/>
                  </a:lnTo>
                  <a:lnTo>
                    <a:pt x="22" y="6"/>
                  </a:lnTo>
                  <a:lnTo>
                    <a:pt x="29" y="3"/>
                  </a:lnTo>
                  <a:lnTo>
                    <a:pt x="45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7301" name="Freeform 114"/>
            <p:cNvSpPr>
              <a:spLocks/>
            </p:cNvSpPr>
            <p:nvPr/>
          </p:nvSpPr>
          <p:spPr bwMode="auto">
            <a:xfrm>
              <a:off x="4705509" y="1074715"/>
              <a:ext cx="1021601" cy="363651"/>
            </a:xfrm>
            <a:custGeom>
              <a:avLst/>
              <a:gdLst>
                <a:gd name="T0" fmla="*/ 372 w 855"/>
                <a:gd name="T1" fmla="*/ 254 h 366"/>
                <a:gd name="T2" fmla="*/ 356 w 855"/>
                <a:gd name="T3" fmla="*/ 254 h 366"/>
                <a:gd name="T4" fmla="*/ 324 w 855"/>
                <a:gd name="T5" fmla="*/ 245 h 366"/>
                <a:gd name="T6" fmla="*/ 297 w 855"/>
                <a:gd name="T7" fmla="*/ 265 h 366"/>
                <a:gd name="T8" fmla="*/ 270 w 855"/>
                <a:gd name="T9" fmla="*/ 273 h 366"/>
                <a:gd name="T10" fmla="*/ 192 w 855"/>
                <a:gd name="T11" fmla="*/ 242 h 366"/>
                <a:gd name="T12" fmla="*/ 164 w 855"/>
                <a:gd name="T13" fmla="*/ 259 h 366"/>
                <a:gd name="T14" fmla="*/ 119 w 855"/>
                <a:gd name="T15" fmla="*/ 267 h 366"/>
                <a:gd name="T16" fmla="*/ 105 w 855"/>
                <a:gd name="T17" fmla="*/ 250 h 366"/>
                <a:gd name="T18" fmla="*/ 93 w 855"/>
                <a:gd name="T19" fmla="*/ 245 h 366"/>
                <a:gd name="T20" fmla="*/ 73 w 855"/>
                <a:gd name="T21" fmla="*/ 252 h 366"/>
                <a:gd name="T22" fmla="*/ 50 w 855"/>
                <a:gd name="T23" fmla="*/ 252 h 366"/>
                <a:gd name="T24" fmla="*/ 74 w 855"/>
                <a:gd name="T25" fmla="*/ 241 h 366"/>
                <a:gd name="T26" fmla="*/ 47 w 855"/>
                <a:gd name="T27" fmla="*/ 235 h 366"/>
                <a:gd name="T28" fmla="*/ 43 w 855"/>
                <a:gd name="T29" fmla="*/ 217 h 366"/>
                <a:gd name="T30" fmla="*/ 39 w 855"/>
                <a:gd name="T31" fmla="*/ 209 h 366"/>
                <a:gd name="T32" fmla="*/ 38 w 855"/>
                <a:gd name="T33" fmla="*/ 190 h 366"/>
                <a:gd name="T34" fmla="*/ 15 w 855"/>
                <a:gd name="T35" fmla="*/ 183 h 366"/>
                <a:gd name="T36" fmla="*/ 11 w 855"/>
                <a:gd name="T37" fmla="*/ 173 h 366"/>
                <a:gd name="T38" fmla="*/ 15 w 855"/>
                <a:gd name="T39" fmla="*/ 161 h 366"/>
                <a:gd name="T40" fmla="*/ 36 w 855"/>
                <a:gd name="T41" fmla="*/ 169 h 366"/>
                <a:gd name="T42" fmla="*/ 31 w 855"/>
                <a:gd name="T43" fmla="*/ 151 h 366"/>
                <a:gd name="T44" fmla="*/ 22 w 855"/>
                <a:gd name="T45" fmla="*/ 134 h 366"/>
                <a:gd name="T46" fmla="*/ 0 w 855"/>
                <a:gd name="T47" fmla="*/ 122 h 366"/>
                <a:gd name="T48" fmla="*/ 10 w 855"/>
                <a:gd name="T49" fmla="*/ 97 h 366"/>
                <a:gd name="T50" fmla="*/ 46 w 855"/>
                <a:gd name="T51" fmla="*/ 80 h 366"/>
                <a:gd name="T52" fmla="*/ 66 w 855"/>
                <a:gd name="T53" fmla="*/ 74 h 366"/>
                <a:gd name="T54" fmla="*/ 108 w 855"/>
                <a:gd name="T55" fmla="*/ 74 h 366"/>
                <a:gd name="T56" fmla="*/ 138 w 855"/>
                <a:gd name="T57" fmla="*/ 65 h 366"/>
                <a:gd name="T58" fmla="*/ 120 w 855"/>
                <a:gd name="T59" fmla="*/ 61 h 366"/>
                <a:gd name="T60" fmla="*/ 110 w 855"/>
                <a:gd name="T61" fmla="*/ 51 h 366"/>
                <a:gd name="T62" fmla="*/ 131 w 855"/>
                <a:gd name="T63" fmla="*/ 45 h 366"/>
                <a:gd name="T64" fmla="*/ 186 w 855"/>
                <a:gd name="T65" fmla="*/ 49 h 366"/>
                <a:gd name="T66" fmla="*/ 322 w 855"/>
                <a:gd name="T67" fmla="*/ 4 h 366"/>
                <a:gd name="T68" fmla="*/ 338 w 855"/>
                <a:gd name="T69" fmla="*/ 6 h 366"/>
                <a:gd name="T70" fmla="*/ 381 w 855"/>
                <a:gd name="T71" fmla="*/ 37 h 366"/>
                <a:gd name="T72" fmla="*/ 445 w 855"/>
                <a:gd name="T73" fmla="*/ 54 h 366"/>
                <a:gd name="T74" fmla="*/ 568 w 855"/>
                <a:gd name="T75" fmla="*/ 26 h 366"/>
                <a:gd name="T76" fmla="*/ 589 w 855"/>
                <a:gd name="T77" fmla="*/ 24 h 366"/>
                <a:gd name="T78" fmla="*/ 613 w 855"/>
                <a:gd name="T79" fmla="*/ 21 h 366"/>
                <a:gd name="T80" fmla="*/ 645 w 855"/>
                <a:gd name="T81" fmla="*/ 49 h 366"/>
                <a:gd name="T82" fmla="*/ 672 w 855"/>
                <a:gd name="T83" fmla="*/ 93 h 366"/>
                <a:gd name="T84" fmla="*/ 679 w 855"/>
                <a:gd name="T85" fmla="*/ 122 h 366"/>
                <a:gd name="T86" fmla="*/ 684 w 855"/>
                <a:gd name="T87" fmla="*/ 202 h 366"/>
                <a:gd name="T88" fmla="*/ 679 w 855"/>
                <a:gd name="T89" fmla="*/ 227 h 366"/>
                <a:gd name="T90" fmla="*/ 608 w 855"/>
                <a:gd name="T91" fmla="*/ 227 h 366"/>
                <a:gd name="T92" fmla="*/ 599 w 855"/>
                <a:gd name="T93" fmla="*/ 222 h 366"/>
                <a:gd name="T94" fmla="*/ 556 w 855"/>
                <a:gd name="T95" fmla="*/ 231 h 366"/>
                <a:gd name="T96" fmla="*/ 512 w 855"/>
                <a:gd name="T97" fmla="*/ 242 h 366"/>
                <a:gd name="T98" fmla="*/ 460 w 855"/>
                <a:gd name="T99" fmla="*/ 239 h 366"/>
                <a:gd name="T100" fmla="*/ 421 w 855"/>
                <a:gd name="T101" fmla="*/ 251 h 366"/>
                <a:gd name="T102" fmla="*/ 405 w 855"/>
                <a:gd name="T103" fmla="*/ 248 h 366"/>
                <a:gd name="T104" fmla="*/ 392 w 855"/>
                <a:gd name="T105" fmla="*/ 242 h 366"/>
                <a:gd name="T106" fmla="*/ 386 w 855"/>
                <a:gd name="T107" fmla="*/ 259 h 366"/>
                <a:gd name="T108" fmla="*/ 386 w 855"/>
                <a:gd name="T109" fmla="*/ 270 h 366"/>
                <a:gd name="T110" fmla="*/ 373 w 855"/>
                <a:gd name="T111" fmla="*/ 283 h 366"/>
                <a:gd name="T112" fmla="*/ 364 w 855"/>
                <a:gd name="T113" fmla="*/ 282 h 36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366"/>
                <a:gd name="T173" fmla="*/ 855 w 855"/>
                <a:gd name="T174" fmla="*/ 366 h 36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366">
                  <a:moveTo>
                    <a:pt x="450" y="354"/>
                  </a:moveTo>
                  <a:lnTo>
                    <a:pt x="447" y="342"/>
                  </a:lnTo>
                  <a:lnTo>
                    <a:pt x="450" y="329"/>
                  </a:lnTo>
                  <a:lnTo>
                    <a:pt x="458" y="324"/>
                  </a:lnTo>
                  <a:lnTo>
                    <a:pt x="462" y="316"/>
                  </a:lnTo>
                  <a:lnTo>
                    <a:pt x="454" y="309"/>
                  </a:lnTo>
                  <a:lnTo>
                    <a:pt x="440" y="316"/>
                  </a:lnTo>
                  <a:lnTo>
                    <a:pt x="438" y="324"/>
                  </a:lnTo>
                  <a:lnTo>
                    <a:pt x="432" y="326"/>
                  </a:lnTo>
                  <a:lnTo>
                    <a:pt x="420" y="325"/>
                  </a:lnTo>
                  <a:lnTo>
                    <a:pt x="405" y="314"/>
                  </a:lnTo>
                  <a:lnTo>
                    <a:pt x="399" y="312"/>
                  </a:lnTo>
                  <a:lnTo>
                    <a:pt x="393" y="313"/>
                  </a:lnTo>
                  <a:lnTo>
                    <a:pt x="384" y="316"/>
                  </a:lnTo>
                  <a:lnTo>
                    <a:pt x="369" y="331"/>
                  </a:lnTo>
                  <a:lnTo>
                    <a:pt x="366" y="338"/>
                  </a:lnTo>
                  <a:lnTo>
                    <a:pt x="356" y="339"/>
                  </a:lnTo>
                  <a:lnTo>
                    <a:pt x="350" y="346"/>
                  </a:lnTo>
                  <a:lnTo>
                    <a:pt x="342" y="349"/>
                  </a:lnTo>
                  <a:lnTo>
                    <a:pt x="333" y="348"/>
                  </a:lnTo>
                  <a:lnTo>
                    <a:pt x="309" y="356"/>
                  </a:lnTo>
                  <a:lnTo>
                    <a:pt x="293" y="351"/>
                  </a:lnTo>
                  <a:lnTo>
                    <a:pt x="281" y="335"/>
                  </a:lnTo>
                  <a:lnTo>
                    <a:pt x="237" y="309"/>
                  </a:lnTo>
                  <a:lnTo>
                    <a:pt x="208" y="308"/>
                  </a:lnTo>
                  <a:lnTo>
                    <a:pt x="205" y="316"/>
                  </a:lnTo>
                  <a:lnTo>
                    <a:pt x="205" y="326"/>
                  </a:lnTo>
                  <a:lnTo>
                    <a:pt x="202" y="330"/>
                  </a:lnTo>
                  <a:lnTo>
                    <a:pt x="201" y="339"/>
                  </a:lnTo>
                  <a:lnTo>
                    <a:pt x="173" y="348"/>
                  </a:lnTo>
                  <a:lnTo>
                    <a:pt x="155" y="346"/>
                  </a:lnTo>
                  <a:lnTo>
                    <a:pt x="147" y="341"/>
                  </a:lnTo>
                  <a:lnTo>
                    <a:pt x="140" y="333"/>
                  </a:lnTo>
                  <a:lnTo>
                    <a:pt x="136" y="318"/>
                  </a:lnTo>
                  <a:lnTo>
                    <a:pt x="131" y="316"/>
                  </a:lnTo>
                  <a:lnTo>
                    <a:pt x="129" y="319"/>
                  </a:lnTo>
                  <a:lnTo>
                    <a:pt x="129" y="322"/>
                  </a:lnTo>
                  <a:lnTo>
                    <a:pt x="126" y="322"/>
                  </a:lnTo>
                  <a:lnTo>
                    <a:pt x="119" y="318"/>
                  </a:lnTo>
                  <a:lnTo>
                    <a:pt x="115" y="312"/>
                  </a:lnTo>
                  <a:lnTo>
                    <a:pt x="113" y="310"/>
                  </a:lnTo>
                  <a:lnTo>
                    <a:pt x="100" y="313"/>
                  </a:lnTo>
                  <a:lnTo>
                    <a:pt x="98" y="317"/>
                  </a:lnTo>
                  <a:lnTo>
                    <a:pt x="90" y="322"/>
                  </a:lnTo>
                  <a:lnTo>
                    <a:pt x="88" y="322"/>
                  </a:lnTo>
                  <a:lnTo>
                    <a:pt x="91" y="316"/>
                  </a:lnTo>
                  <a:lnTo>
                    <a:pt x="90" y="313"/>
                  </a:lnTo>
                  <a:lnTo>
                    <a:pt x="61" y="321"/>
                  </a:lnTo>
                  <a:lnTo>
                    <a:pt x="65" y="315"/>
                  </a:lnTo>
                  <a:lnTo>
                    <a:pt x="73" y="310"/>
                  </a:lnTo>
                  <a:lnTo>
                    <a:pt x="85" y="310"/>
                  </a:lnTo>
                  <a:lnTo>
                    <a:pt x="91" y="307"/>
                  </a:lnTo>
                  <a:lnTo>
                    <a:pt x="92" y="305"/>
                  </a:lnTo>
                  <a:lnTo>
                    <a:pt x="99" y="301"/>
                  </a:lnTo>
                  <a:lnTo>
                    <a:pt x="101" y="297"/>
                  </a:lnTo>
                  <a:lnTo>
                    <a:pt x="58" y="300"/>
                  </a:lnTo>
                  <a:lnTo>
                    <a:pt x="56" y="296"/>
                  </a:lnTo>
                  <a:lnTo>
                    <a:pt x="66" y="287"/>
                  </a:lnTo>
                  <a:lnTo>
                    <a:pt x="57" y="278"/>
                  </a:lnTo>
                  <a:lnTo>
                    <a:pt x="53" y="277"/>
                  </a:lnTo>
                  <a:lnTo>
                    <a:pt x="54" y="270"/>
                  </a:lnTo>
                  <a:lnTo>
                    <a:pt x="58" y="267"/>
                  </a:lnTo>
                  <a:lnTo>
                    <a:pt x="60" y="264"/>
                  </a:lnTo>
                  <a:lnTo>
                    <a:pt x="48" y="266"/>
                  </a:lnTo>
                  <a:lnTo>
                    <a:pt x="44" y="261"/>
                  </a:lnTo>
                  <a:lnTo>
                    <a:pt x="50" y="257"/>
                  </a:lnTo>
                  <a:lnTo>
                    <a:pt x="51" y="251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1" y="236"/>
                  </a:lnTo>
                  <a:lnTo>
                    <a:pt x="25" y="231"/>
                  </a:lnTo>
                  <a:lnTo>
                    <a:pt x="18" y="233"/>
                  </a:lnTo>
                  <a:lnTo>
                    <a:pt x="14" y="230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14" y="221"/>
                  </a:lnTo>
                  <a:lnTo>
                    <a:pt x="15" y="213"/>
                  </a:lnTo>
                  <a:lnTo>
                    <a:pt x="14" y="208"/>
                  </a:lnTo>
                  <a:lnTo>
                    <a:pt x="16" y="203"/>
                  </a:lnTo>
                  <a:lnTo>
                    <a:pt x="19" y="205"/>
                  </a:lnTo>
                  <a:lnTo>
                    <a:pt x="24" y="219"/>
                  </a:lnTo>
                  <a:lnTo>
                    <a:pt x="29" y="220"/>
                  </a:lnTo>
                  <a:lnTo>
                    <a:pt x="46" y="219"/>
                  </a:lnTo>
                  <a:lnTo>
                    <a:pt x="44" y="216"/>
                  </a:lnTo>
                  <a:lnTo>
                    <a:pt x="35" y="212"/>
                  </a:lnTo>
                  <a:lnTo>
                    <a:pt x="31" y="204"/>
                  </a:lnTo>
                  <a:lnTo>
                    <a:pt x="32" y="199"/>
                  </a:lnTo>
                  <a:lnTo>
                    <a:pt x="38" y="193"/>
                  </a:lnTo>
                  <a:lnTo>
                    <a:pt x="37" y="188"/>
                  </a:lnTo>
                  <a:lnTo>
                    <a:pt x="32" y="183"/>
                  </a:lnTo>
                  <a:lnTo>
                    <a:pt x="32" y="177"/>
                  </a:lnTo>
                  <a:lnTo>
                    <a:pt x="27" y="171"/>
                  </a:lnTo>
                  <a:lnTo>
                    <a:pt x="28" y="162"/>
                  </a:lnTo>
                  <a:lnTo>
                    <a:pt x="36" y="155"/>
                  </a:lnTo>
                  <a:lnTo>
                    <a:pt x="34" y="152"/>
                  </a:lnTo>
                  <a:lnTo>
                    <a:pt x="0" y="155"/>
                  </a:lnTo>
                  <a:lnTo>
                    <a:pt x="0" y="151"/>
                  </a:lnTo>
                  <a:lnTo>
                    <a:pt x="2" y="133"/>
                  </a:lnTo>
                  <a:lnTo>
                    <a:pt x="6" y="125"/>
                  </a:lnTo>
                  <a:lnTo>
                    <a:pt x="12" y="124"/>
                  </a:lnTo>
                  <a:lnTo>
                    <a:pt x="29" y="101"/>
                  </a:lnTo>
                  <a:lnTo>
                    <a:pt x="40" y="102"/>
                  </a:lnTo>
                  <a:lnTo>
                    <a:pt x="53" y="98"/>
                  </a:lnTo>
                  <a:lnTo>
                    <a:pt x="57" y="102"/>
                  </a:lnTo>
                  <a:lnTo>
                    <a:pt x="66" y="105"/>
                  </a:lnTo>
                  <a:lnTo>
                    <a:pt x="77" y="105"/>
                  </a:lnTo>
                  <a:lnTo>
                    <a:pt x="73" y="93"/>
                  </a:lnTo>
                  <a:lnTo>
                    <a:pt x="81" y="94"/>
                  </a:lnTo>
                  <a:lnTo>
                    <a:pt x="86" y="97"/>
                  </a:lnTo>
                  <a:lnTo>
                    <a:pt x="85" y="101"/>
                  </a:lnTo>
                  <a:lnTo>
                    <a:pt x="135" y="99"/>
                  </a:lnTo>
                  <a:lnTo>
                    <a:pt x="133" y="94"/>
                  </a:lnTo>
                  <a:lnTo>
                    <a:pt x="127" y="92"/>
                  </a:lnTo>
                  <a:lnTo>
                    <a:pt x="126" y="89"/>
                  </a:lnTo>
                  <a:lnTo>
                    <a:pt x="133" y="85"/>
                  </a:lnTo>
                  <a:lnTo>
                    <a:pt x="170" y="83"/>
                  </a:lnTo>
                  <a:lnTo>
                    <a:pt x="170" y="79"/>
                  </a:lnTo>
                  <a:lnTo>
                    <a:pt x="163" y="77"/>
                  </a:lnTo>
                  <a:lnTo>
                    <a:pt x="159" y="79"/>
                  </a:lnTo>
                  <a:lnTo>
                    <a:pt x="148" y="78"/>
                  </a:lnTo>
                  <a:lnTo>
                    <a:pt x="145" y="74"/>
                  </a:lnTo>
                  <a:lnTo>
                    <a:pt x="142" y="74"/>
                  </a:lnTo>
                  <a:lnTo>
                    <a:pt x="140" y="68"/>
                  </a:lnTo>
                  <a:lnTo>
                    <a:pt x="135" y="65"/>
                  </a:lnTo>
                  <a:lnTo>
                    <a:pt x="142" y="50"/>
                  </a:lnTo>
                  <a:lnTo>
                    <a:pt x="143" y="53"/>
                  </a:lnTo>
                  <a:lnTo>
                    <a:pt x="151" y="53"/>
                  </a:lnTo>
                  <a:lnTo>
                    <a:pt x="161" y="58"/>
                  </a:lnTo>
                  <a:lnTo>
                    <a:pt x="202" y="59"/>
                  </a:lnTo>
                  <a:lnTo>
                    <a:pt x="208" y="62"/>
                  </a:lnTo>
                  <a:lnTo>
                    <a:pt x="212" y="61"/>
                  </a:lnTo>
                  <a:lnTo>
                    <a:pt x="229" y="63"/>
                  </a:lnTo>
                  <a:lnTo>
                    <a:pt x="241" y="58"/>
                  </a:lnTo>
                  <a:lnTo>
                    <a:pt x="247" y="46"/>
                  </a:lnTo>
                  <a:lnTo>
                    <a:pt x="333" y="4"/>
                  </a:lnTo>
                  <a:lnTo>
                    <a:pt x="397" y="5"/>
                  </a:lnTo>
                  <a:lnTo>
                    <a:pt x="406" y="0"/>
                  </a:lnTo>
                  <a:lnTo>
                    <a:pt x="412" y="0"/>
                  </a:lnTo>
                  <a:lnTo>
                    <a:pt x="417" y="1"/>
                  </a:lnTo>
                  <a:lnTo>
                    <a:pt x="417" y="8"/>
                  </a:lnTo>
                  <a:lnTo>
                    <a:pt x="423" y="17"/>
                  </a:lnTo>
                  <a:lnTo>
                    <a:pt x="446" y="28"/>
                  </a:lnTo>
                  <a:lnTo>
                    <a:pt x="456" y="21"/>
                  </a:lnTo>
                  <a:lnTo>
                    <a:pt x="469" y="47"/>
                  </a:lnTo>
                  <a:lnTo>
                    <a:pt x="491" y="49"/>
                  </a:lnTo>
                  <a:lnTo>
                    <a:pt x="520" y="67"/>
                  </a:lnTo>
                  <a:lnTo>
                    <a:pt x="531" y="61"/>
                  </a:lnTo>
                  <a:lnTo>
                    <a:pt x="548" y="69"/>
                  </a:lnTo>
                  <a:lnTo>
                    <a:pt x="605" y="60"/>
                  </a:lnTo>
                  <a:lnTo>
                    <a:pt x="634" y="66"/>
                  </a:lnTo>
                  <a:lnTo>
                    <a:pt x="651" y="65"/>
                  </a:lnTo>
                  <a:lnTo>
                    <a:pt x="700" y="33"/>
                  </a:lnTo>
                  <a:lnTo>
                    <a:pt x="703" y="28"/>
                  </a:lnTo>
                  <a:lnTo>
                    <a:pt x="708" y="34"/>
                  </a:lnTo>
                  <a:lnTo>
                    <a:pt x="715" y="34"/>
                  </a:lnTo>
                  <a:lnTo>
                    <a:pt x="726" y="31"/>
                  </a:lnTo>
                  <a:lnTo>
                    <a:pt x="741" y="36"/>
                  </a:lnTo>
                  <a:lnTo>
                    <a:pt x="746" y="36"/>
                  </a:lnTo>
                  <a:lnTo>
                    <a:pt x="750" y="29"/>
                  </a:lnTo>
                  <a:lnTo>
                    <a:pt x="755" y="27"/>
                  </a:lnTo>
                  <a:lnTo>
                    <a:pt x="761" y="29"/>
                  </a:lnTo>
                  <a:lnTo>
                    <a:pt x="777" y="47"/>
                  </a:lnTo>
                  <a:lnTo>
                    <a:pt x="782" y="48"/>
                  </a:lnTo>
                  <a:lnTo>
                    <a:pt x="795" y="62"/>
                  </a:lnTo>
                  <a:lnTo>
                    <a:pt x="801" y="73"/>
                  </a:lnTo>
                  <a:lnTo>
                    <a:pt x="805" y="102"/>
                  </a:lnTo>
                  <a:lnTo>
                    <a:pt x="811" y="110"/>
                  </a:lnTo>
                  <a:lnTo>
                    <a:pt x="828" y="119"/>
                  </a:lnTo>
                  <a:lnTo>
                    <a:pt x="836" y="127"/>
                  </a:lnTo>
                  <a:lnTo>
                    <a:pt x="842" y="130"/>
                  </a:lnTo>
                  <a:lnTo>
                    <a:pt x="845" y="134"/>
                  </a:lnTo>
                  <a:lnTo>
                    <a:pt x="837" y="155"/>
                  </a:lnTo>
                  <a:lnTo>
                    <a:pt x="825" y="161"/>
                  </a:lnTo>
                  <a:lnTo>
                    <a:pt x="832" y="183"/>
                  </a:lnTo>
                  <a:lnTo>
                    <a:pt x="832" y="250"/>
                  </a:lnTo>
                  <a:lnTo>
                    <a:pt x="843" y="257"/>
                  </a:lnTo>
                  <a:lnTo>
                    <a:pt x="854" y="270"/>
                  </a:lnTo>
                  <a:lnTo>
                    <a:pt x="855" y="285"/>
                  </a:lnTo>
                  <a:lnTo>
                    <a:pt x="849" y="290"/>
                  </a:lnTo>
                  <a:lnTo>
                    <a:pt x="836" y="289"/>
                  </a:lnTo>
                  <a:lnTo>
                    <a:pt x="828" y="280"/>
                  </a:lnTo>
                  <a:lnTo>
                    <a:pt x="789" y="280"/>
                  </a:lnTo>
                  <a:lnTo>
                    <a:pt x="770" y="272"/>
                  </a:lnTo>
                  <a:lnTo>
                    <a:pt x="749" y="290"/>
                  </a:lnTo>
                  <a:lnTo>
                    <a:pt x="742" y="291"/>
                  </a:lnTo>
                  <a:lnTo>
                    <a:pt x="742" y="289"/>
                  </a:lnTo>
                  <a:lnTo>
                    <a:pt x="742" y="285"/>
                  </a:lnTo>
                  <a:lnTo>
                    <a:pt x="738" y="283"/>
                  </a:lnTo>
                  <a:lnTo>
                    <a:pt x="736" y="281"/>
                  </a:lnTo>
                  <a:lnTo>
                    <a:pt x="730" y="288"/>
                  </a:lnTo>
                  <a:lnTo>
                    <a:pt x="715" y="293"/>
                  </a:lnTo>
                  <a:lnTo>
                    <a:pt x="685" y="295"/>
                  </a:lnTo>
                  <a:lnTo>
                    <a:pt x="677" y="292"/>
                  </a:lnTo>
                  <a:lnTo>
                    <a:pt x="657" y="296"/>
                  </a:lnTo>
                  <a:lnTo>
                    <a:pt x="641" y="306"/>
                  </a:lnTo>
                  <a:lnTo>
                    <a:pt x="631" y="309"/>
                  </a:lnTo>
                  <a:lnTo>
                    <a:pt x="626" y="313"/>
                  </a:lnTo>
                  <a:lnTo>
                    <a:pt x="600" y="318"/>
                  </a:lnTo>
                  <a:lnTo>
                    <a:pt x="576" y="315"/>
                  </a:lnTo>
                  <a:lnTo>
                    <a:pt x="567" y="305"/>
                  </a:lnTo>
                  <a:lnTo>
                    <a:pt x="561" y="304"/>
                  </a:lnTo>
                  <a:lnTo>
                    <a:pt x="549" y="305"/>
                  </a:lnTo>
                  <a:lnTo>
                    <a:pt x="523" y="317"/>
                  </a:lnTo>
                  <a:lnTo>
                    <a:pt x="519" y="320"/>
                  </a:lnTo>
                  <a:lnTo>
                    <a:pt x="507" y="318"/>
                  </a:lnTo>
                  <a:lnTo>
                    <a:pt x="501" y="320"/>
                  </a:lnTo>
                  <a:lnTo>
                    <a:pt x="500" y="318"/>
                  </a:lnTo>
                  <a:lnTo>
                    <a:pt x="499" y="316"/>
                  </a:lnTo>
                  <a:lnTo>
                    <a:pt x="500" y="315"/>
                  </a:lnTo>
                  <a:lnTo>
                    <a:pt x="495" y="312"/>
                  </a:lnTo>
                  <a:lnTo>
                    <a:pt x="487" y="310"/>
                  </a:lnTo>
                  <a:lnTo>
                    <a:pt x="483" y="308"/>
                  </a:lnTo>
                  <a:lnTo>
                    <a:pt x="479" y="318"/>
                  </a:lnTo>
                  <a:lnTo>
                    <a:pt x="478" y="319"/>
                  </a:lnTo>
                  <a:lnTo>
                    <a:pt x="478" y="323"/>
                  </a:lnTo>
                  <a:lnTo>
                    <a:pt x="476" y="330"/>
                  </a:lnTo>
                  <a:lnTo>
                    <a:pt x="483" y="339"/>
                  </a:lnTo>
                  <a:lnTo>
                    <a:pt x="484" y="342"/>
                  </a:lnTo>
                  <a:lnTo>
                    <a:pt x="482" y="344"/>
                  </a:lnTo>
                  <a:lnTo>
                    <a:pt x="476" y="344"/>
                  </a:lnTo>
                  <a:lnTo>
                    <a:pt x="469" y="346"/>
                  </a:lnTo>
                  <a:lnTo>
                    <a:pt x="468" y="356"/>
                  </a:lnTo>
                  <a:lnTo>
                    <a:pt x="464" y="360"/>
                  </a:lnTo>
                  <a:lnTo>
                    <a:pt x="460" y="361"/>
                  </a:lnTo>
                  <a:lnTo>
                    <a:pt x="458" y="366"/>
                  </a:lnTo>
                  <a:lnTo>
                    <a:pt x="452" y="363"/>
                  </a:lnTo>
                  <a:lnTo>
                    <a:pt x="451" y="359"/>
                  </a:lnTo>
                  <a:lnTo>
                    <a:pt x="448" y="359"/>
                  </a:lnTo>
                  <a:lnTo>
                    <a:pt x="450" y="35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8" name="Freeform 115"/>
            <p:cNvSpPr>
              <a:spLocks/>
            </p:cNvSpPr>
            <p:nvPr/>
          </p:nvSpPr>
          <p:spPr bwMode="auto">
            <a:xfrm>
              <a:off x="4705509" y="1074715"/>
              <a:ext cx="1021601" cy="365507"/>
            </a:xfrm>
            <a:custGeom>
              <a:avLst/>
              <a:gdLst>
                <a:gd name="T0" fmla="*/ 76 w 855"/>
                <a:gd name="T1" fmla="*/ 40 h 366"/>
                <a:gd name="T2" fmla="*/ 72 w 855"/>
                <a:gd name="T3" fmla="*/ 40 h 366"/>
                <a:gd name="T4" fmla="*/ 66 w 855"/>
                <a:gd name="T5" fmla="*/ 38 h 366"/>
                <a:gd name="T6" fmla="*/ 61 w 855"/>
                <a:gd name="T7" fmla="*/ 41 h 366"/>
                <a:gd name="T8" fmla="*/ 55 w 855"/>
                <a:gd name="T9" fmla="*/ 43 h 366"/>
                <a:gd name="T10" fmla="*/ 39 w 855"/>
                <a:gd name="T11" fmla="*/ 38 h 366"/>
                <a:gd name="T12" fmla="*/ 33 w 855"/>
                <a:gd name="T13" fmla="*/ 40 h 366"/>
                <a:gd name="T14" fmla="*/ 24 w 855"/>
                <a:gd name="T15" fmla="*/ 42 h 366"/>
                <a:gd name="T16" fmla="*/ 21 w 855"/>
                <a:gd name="T17" fmla="*/ 39 h 366"/>
                <a:gd name="T18" fmla="*/ 19 w 855"/>
                <a:gd name="T19" fmla="*/ 38 h 366"/>
                <a:gd name="T20" fmla="*/ 15 w 855"/>
                <a:gd name="T21" fmla="*/ 39 h 366"/>
                <a:gd name="T22" fmla="*/ 10 w 855"/>
                <a:gd name="T23" fmla="*/ 39 h 366"/>
                <a:gd name="T24" fmla="*/ 15 w 855"/>
                <a:gd name="T25" fmla="*/ 38 h 366"/>
                <a:gd name="T26" fmla="*/ 9 w 855"/>
                <a:gd name="T27" fmla="*/ 37 h 366"/>
                <a:gd name="T28" fmla="*/ 9 w 855"/>
                <a:gd name="T29" fmla="*/ 34 h 366"/>
                <a:gd name="T30" fmla="*/ 8 w 855"/>
                <a:gd name="T31" fmla="*/ 32 h 366"/>
                <a:gd name="T32" fmla="*/ 8 w 855"/>
                <a:gd name="T33" fmla="*/ 30 h 366"/>
                <a:gd name="T34" fmla="*/ 3 w 855"/>
                <a:gd name="T35" fmla="*/ 29 h 366"/>
                <a:gd name="T36" fmla="*/ 2 w 855"/>
                <a:gd name="T37" fmla="*/ 27 h 366"/>
                <a:gd name="T38" fmla="*/ 3 w 855"/>
                <a:gd name="T39" fmla="*/ 25 h 366"/>
                <a:gd name="T40" fmla="*/ 7 w 855"/>
                <a:gd name="T41" fmla="*/ 26 h 366"/>
                <a:gd name="T42" fmla="*/ 6 w 855"/>
                <a:gd name="T43" fmla="*/ 24 h 366"/>
                <a:gd name="T44" fmla="*/ 5 w 855"/>
                <a:gd name="T45" fmla="*/ 21 h 366"/>
                <a:gd name="T46" fmla="*/ 0 w 855"/>
                <a:gd name="T47" fmla="*/ 19 h 366"/>
                <a:gd name="T48" fmla="*/ 2 w 855"/>
                <a:gd name="T49" fmla="*/ 15 h 366"/>
                <a:gd name="T50" fmla="*/ 9 w 855"/>
                <a:gd name="T51" fmla="*/ 12 h 366"/>
                <a:gd name="T52" fmla="*/ 14 w 855"/>
                <a:gd name="T53" fmla="*/ 12 h 366"/>
                <a:gd name="T54" fmla="*/ 22 w 855"/>
                <a:gd name="T55" fmla="*/ 12 h 366"/>
                <a:gd name="T56" fmla="*/ 28 w 855"/>
                <a:gd name="T57" fmla="*/ 10 h 366"/>
                <a:gd name="T58" fmla="*/ 25 w 855"/>
                <a:gd name="T59" fmla="*/ 10 h 366"/>
                <a:gd name="T60" fmla="*/ 22 w 855"/>
                <a:gd name="T61" fmla="*/ 8 h 366"/>
                <a:gd name="T62" fmla="*/ 26 w 855"/>
                <a:gd name="T63" fmla="*/ 7 h 366"/>
                <a:gd name="T64" fmla="*/ 38 w 855"/>
                <a:gd name="T65" fmla="*/ 8 h 366"/>
                <a:gd name="T66" fmla="*/ 65 w 855"/>
                <a:gd name="T67" fmla="*/ 1 h 366"/>
                <a:gd name="T68" fmla="*/ 69 w 855"/>
                <a:gd name="T69" fmla="*/ 1 h 366"/>
                <a:gd name="T70" fmla="*/ 78 w 855"/>
                <a:gd name="T71" fmla="*/ 6 h 366"/>
                <a:gd name="T72" fmla="*/ 91 w 855"/>
                <a:gd name="T73" fmla="*/ 9 h 366"/>
                <a:gd name="T74" fmla="*/ 115 w 855"/>
                <a:gd name="T75" fmla="*/ 4 h 366"/>
                <a:gd name="T76" fmla="*/ 120 w 855"/>
                <a:gd name="T77" fmla="*/ 4 h 366"/>
                <a:gd name="T78" fmla="*/ 125 w 855"/>
                <a:gd name="T79" fmla="*/ 3 h 366"/>
                <a:gd name="T80" fmla="*/ 131 w 855"/>
                <a:gd name="T81" fmla="*/ 8 h 366"/>
                <a:gd name="T82" fmla="*/ 136 w 855"/>
                <a:gd name="T83" fmla="*/ 15 h 366"/>
                <a:gd name="T84" fmla="*/ 138 w 855"/>
                <a:gd name="T85" fmla="*/ 19 h 366"/>
                <a:gd name="T86" fmla="*/ 139 w 855"/>
                <a:gd name="T87" fmla="*/ 32 h 366"/>
                <a:gd name="T88" fmla="*/ 138 w 855"/>
                <a:gd name="T89" fmla="*/ 36 h 366"/>
                <a:gd name="T90" fmla="*/ 124 w 855"/>
                <a:gd name="T91" fmla="*/ 36 h 366"/>
                <a:gd name="T92" fmla="*/ 122 w 855"/>
                <a:gd name="T93" fmla="*/ 34 h 366"/>
                <a:gd name="T94" fmla="*/ 113 w 855"/>
                <a:gd name="T95" fmla="*/ 36 h 366"/>
                <a:gd name="T96" fmla="*/ 104 w 855"/>
                <a:gd name="T97" fmla="*/ 38 h 366"/>
                <a:gd name="T98" fmla="*/ 94 w 855"/>
                <a:gd name="T99" fmla="*/ 37 h 366"/>
                <a:gd name="T100" fmla="*/ 86 w 855"/>
                <a:gd name="T101" fmla="*/ 39 h 366"/>
                <a:gd name="T102" fmla="*/ 82 w 855"/>
                <a:gd name="T103" fmla="*/ 39 h 366"/>
                <a:gd name="T104" fmla="*/ 80 w 855"/>
                <a:gd name="T105" fmla="*/ 38 h 366"/>
                <a:gd name="T106" fmla="*/ 79 w 855"/>
                <a:gd name="T107" fmla="*/ 40 h 366"/>
                <a:gd name="T108" fmla="*/ 79 w 855"/>
                <a:gd name="T109" fmla="*/ 42 h 366"/>
                <a:gd name="T110" fmla="*/ 76 w 855"/>
                <a:gd name="T111" fmla="*/ 44 h 366"/>
                <a:gd name="T112" fmla="*/ 74 w 855"/>
                <a:gd name="T113" fmla="*/ 44 h 36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366"/>
                <a:gd name="T173" fmla="*/ 855 w 855"/>
                <a:gd name="T174" fmla="*/ 366 h 36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366">
                  <a:moveTo>
                    <a:pt x="450" y="354"/>
                  </a:moveTo>
                  <a:lnTo>
                    <a:pt x="447" y="342"/>
                  </a:lnTo>
                  <a:lnTo>
                    <a:pt x="450" y="329"/>
                  </a:lnTo>
                  <a:lnTo>
                    <a:pt x="458" y="324"/>
                  </a:lnTo>
                  <a:lnTo>
                    <a:pt x="462" y="316"/>
                  </a:lnTo>
                  <a:lnTo>
                    <a:pt x="454" y="309"/>
                  </a:lnTo>
                  <a:lnTo>
                    <a:pt x="440" y="316"/>
                  </a:lnTo>
                  <a:lnTo>
                    <a:pt x="438" y="324"/>
                  </a:lnTo>
                  <a:lnTo>
                    <a:pt x="432" y="326"/>
                  </a:lnTo>
                  <a:lnTo>
                    <a:pt x="420" y="325"/>
                  </a:lnTo>
                  <a:lnTo>
                    <a:pt x="405" y="314"/>
                  </a:lnTo>
                  <a:lnTo>
                    <a:pt x="399" y="312"/>
                  </a:lnTo>
                  <a:lnTo>
                    <a:pt x="393" y="313"/>
                  </a:lnTo>
                  <a:lnTo>
                    <a:pt x="384" y="316"/>
                  </a:lnTo>
                  <a:lnTo>
                    <a:pt x="369" y="331"/>
                  </a:lnTo>
                  <a:lnTo>
                    <a:pt x="366" y="338"/>
                  </a:lnTo>
                  <a:lnTo>
                    <a:pt x="356" y="339"/>
                  </a:lnTo>
                  <a:lnTo>
                    <a:pt x="350" y="346"/>
                  </a:lnTo>
                  <a:lnTo>
                    <a:pt x="342" y="349"/>
                  </a:lnTo>
                  <a:lnTo>
                    <a:pt x="333" y="348"/>
                  </a:lnTo>
                  <a:lnTo>
                    <a:pt x="309" y="356"/>
                  </a:lnTo>
                  <a:lnTo>
                    <a:pt x="293" y="351"/>
                  </a:lnTo>
                  <a:lnTo>
                    <a:pt x="281" y="335"/>
                  </a:lnTo>
                  <a:lnTo>
                    <a:pt x="237" y="309"/>
                  </a:lnTo>
                  <a:lnTo>
                    <a:pt x="208" y="308"/>
                  </a:lnTo>
                  <a:lnTo>
                    <a:pt x="205" y="316"/>
                  </a:lnTo>
                  <a:lnTo>
                    <a:pt x="205" y="326"/>
                  </a:lnTo>
                  <a:lnTo>
                    <a:pt x="202" y="330"/>
                  </a:lnTo>
                  <a:lnTo>
                    <a:pt x="201" y="339"/>
                  </a:lnTo>
                  <a:lnTo>
                    <a:pt x="173" y="348"/>
                  </a:lnTo>
                  <a:lnTo>
                    <a:pt x="155" y="346"/>
                  </a:lnTo>
                  <a:lnTo>
                    <a:pt x="147" y="341"/>
                  </a:lnTo>
                  <a:lnTo>
                    <a:pt x="140" y="333"/>
                  </a:lnTo>
                  <a:lnTo>
                    <a:pt x="136" y="318"/>
                  </a:lnTo>
                  <a:lnTo>
                    <a:pt x="131" y="316"/>
                  </a:lnTo>
                  <a:lnTo>
                    <a:pt x="129" y="319"/>
                  </a:lnTo>
                  <a:lnTo>
                    <a:pt x="129" y="322"/>
                  </a:lnTo>
                  <a:lnTo>
                    <a:pt x="126" y="322"/>
                  </a:lnTo>
                  <a:lnTo>
                    <a:pt x="119" y="318"/>
                  </a:lnTo>
                  <a:lnTo>
                    <a:pt x="115" y="312"/>
                  </a:lnTo>
                  <a:lnTo>
                    <a:pt x="113" y="310"/>
                  </a:lnTo>
                  <a:lnTo>
                    <a:pt x="100" y="313"/>
                  </a:lnTo>
                  <a:lnTo>
                    <a:pt x="98" y="317"/>
                  </a:lnTo>
                  <a:lnTo>
                    <a:pt x="90" y="322"/>
                  </a:lnTo>
                  <a:lnTo>
                    <a:pt x="88" y="322"/>
                  </a:lnTo>
                  <a:lnTo>
                    <a:pt x="91" y="316"/>
                  </a:lnTo>
                  <a:lnTo>
                    <a:pt x="90" y="313"/>
                  </a:lnTo>
                  <a:lnTo>
                    <a:pt x="61" y="321"/>
                  </a:lnTo>
                  <a:lnTo>
                    <a:pt x="65" y="315"/>
                  </a:lnTo>
                  <a:lnTo>
                    <a:pt x="73" y="310"/>
                  </a:lnTo>
                  <a:lnTo>
                    <a:pt x="85" y="310"/>
                  </a:lnTo>
                  <a:lnTo>
                    <a:pt x="91" y="307"/>
                  </a:lnTo>
                  <a:lnTo>
                    <a:pt x="92" y="305"/>
                  </a:lnTo>
                  <a:lnTo>
                    <a:pt x="99" y="301"/>
                  </a:lnTo>
                  <a:lnTo>
                    <a:pt x="101" y="297"/>
                  </a:lnTo>
                  <a:lnTo>
                    <a:pt x="58" y="300"/>
                  </a:lnTo>
                  <a:lnTo>
                    <a:pt x="56" y="296"/>
                  </a:lnTo>
                  <a:lnTo>
                    <a:pt x="66" y="287"/>
                  </a:lnTo>
                  <a:lnTo>
                    <a:pt x="57" y="278"/>
                  </a:lnTo>
                  <a:lnTo>
                    <a:pt x="53" y="277"/>
                  </a:lnTo>
                  <a:lnTo>
                    <a:pt x="54" y="270"/>
                  </a:lnTo>
                  <a:lnTo>
                    <a:pt x="58" y="267"/>
                  </a:lnTo>
                  <a:lnTo>
                    <a:pt x="60" y="264"/>
                  </a:lnTo>
                  <a:lnTo>
                    <a:pt x="48" y="266"/>
                  </a:lnTo>
                  <a:lnTo>
                    <a:pt x="44" y="261"/>
                  </a:lnTo>
                  <a:lnTo>
                    <a:pt x="50" y="257"/>
                  </a:lnTo>
                  <a:lnTo>
                    <a:pt x="51" y="251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1" y="236"/>
                  </a:lnTo>
                  <a:lnTo>
                    <a:pt x="25" y="231"/>
                  </a:lnTo>
                  <a:lnTo>
                    <a:pt x="18" y="233"/>
                  </a:lnTo>
                  <a:lnTo>
                    <a:pt x="14" y="230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14" y="221"/>
                  </a:lnTo>
                  <a:lnTo>
                    <a:pt x="15" y="213"/>
                  </a:lnTo>
                  <a:lnTo>
                    <a:pt x="14" y="208"/>
                  </a:lnTo>
                  <a:lnTo>
                    <a:pt x="16" y="203"/>
                  </a:lnTo>
                  <a:lnTo>
                    <a:pt x="19" y="205"/>
                  </a:lnTo>
                  <a:lnTo>
                    <a:pt x="24" y="219"/>
                  </a:lnTo>
                  <a:lnTo>
                    <a:pt x="29" y="220"/>
                  </a:lnTo>
                  <a:lnTo>
                    <a:pt x="46" y="219"/>
                  </a:lnTo>
                  <a:lnTo>
                    <a:pt x="44" y="216"/>
                  </a:lnTo>
                  <a:lnTo>
                    <a:pt x="35" y="212"/>
                  </a:lnTo>
                  <a:lnTo>
                    <a:pt x="31" y="204"/>
                  </a:lnTo>
                  <a:lnTo>
                    <a:pt x="32" y="199"/>
                  </a:lnTo>
                  <a:lnTo>
                    <a:pt x="38" y="193"/>
                  </a:lnTo>
                  <a:lnTo>
                    <a:pt x="37" y="188"/>
                  </a:lnTo>
                  <a:lnTo>
                    <a:pt x="32" y="183"/>
                  </a:lnTo>
                  <a:lnTo>
                    <a:pt x="32" y="177"/>
                  </a:lnTo>
                  <a:lnTo>
                    <a:pt x="27" y="171"/>
                  </a:lnTo>
                  <a:lnTo>
                    <a:pt x="28" y="162"/>
                  </a:lnTo>
                  <a:lnTo>
                    <a:pt x="36" y="155"/>
                  </a:lnTo>
                  <a:lnTo>
                    <a:pt x="34" y="152"/>
                  </a:lnTo>
                  <a:lnTo>
                    <a:pt x="0" y="155"/>
                  </a:lnTo>
                  <a:lnTo>
                    <a:pt x="0" y="151"/>
                  </a:lnTo>
                  <a:lnTo>
                    <a:pt x="2" y="133"/>
                  </a:lnTo>
                  <a:lnTo>
                    <a:pt x="6" y="125"/>
                  </a:lnTo>
                  <a:lnTo>
                    <a:pt x="12" y="124"/>
                  </a:lnTo>
                  <a:lnTo>
                    <a:pt x="29" y="101"/>
                  </a:lnTo>
                  <a:lnTo>
                    <a:pt x="40" y="102"/>
                  </a:lnTo>
                  <a:lnTo>
                    <a:pt x="53" y="98"/>
                  </a:lnTo>
                  <a:lnTo>
                    <a:pt x="57" y="102"/>
                  </a:lnTo>
                  <a:lnTo>
                    <a:pt x="66" y="105"/>
                  </a:lnTo>
                  <a:lnTo>
                    <a:pt x="77" y="105"/>
                  </a:lnTo>
                  <a:lnTo>
                    <a:pt x="73" y="93"/>
                  </a:lnTo>
                  <a:lnTo>
                    <a:pt x="81" y="94"/>
                  </a:lnTo>
                  <a:lnTo>
                    <a:pt x="86" y="97"/>
                  </a:lnTo>
                  <a:lnTo>
                    <a:pt x="85" y="101"/>
                  </a:lnTo>
                  <a:lnTo>
                    <a:pt x="135" y="99"/>
                  </a:lnTo>
                  <a:lnTo>
                    <a:pt x="133" y="94"/>
                  </a:lnTo>
                  <a:lnTo>
                    <a:pt x="127" y="92"/>
                  </a:lnTo>
                  <a:lnTo>
                    <a:pt x="126" y="89"/>
                  </a:lnTo>
                  <a:lnTo>
                    <a:pt x="133" y="85"/>
                  </a:lnTo>
                  <a:lnTo>
                    <a:pt x="170" y="83"/>
                  </a:lnTo>
                  <a:lnTo>
                    <a:pt x="170" y="79"/>
                  </a:lnTo>
                  <a:lnTo>
                    <a:pt x="163" y="77"/>
                  </a:lnTo>
                  <a:lnTo>
                    <a:pt x="159" y="79"/>
                  </a:lnTo>
                  <a:lnTo>
                    <a:pt x="148" y="78"/>
                  </a:lnTo>
                  <a:lnTo>
                    <a:pt x="145" y="74"/>
                  </a:lnTo>
                  <a:lnTo>
                    <a:pt x="142" y="74"/>
                  </a:lnTo>
                  <a:lnTo>
                    <a:pt x="140" y="68"/>
                  </a:lnTo>
                  <a:lnTo>
                    <a:pt x="135" y="65"/>
                  </a:lnTo>
                  <a:lnTo>
                    <a:pt x="142" y="50"/>
                  </a:lnTo>
                  <a:lnTo>
                    <a:pt x="143" y="53"/>
                  </a:lnTo>
                  <a:lnTo>
                    <a:pt x="151" y="53"/>
                  </a:lnTo>
                  <a:lnTo>
                    <a:pt x="161" y="58"/>
                  </a:lnTo>
                  <a:lnTo>
                    <a:pt x="202" y="59"/>
                  </a:lnTo>
                  <a:lnTo>
                    <a:pt x="208" y="62"/>
                  </a:lnTo>
                  <a:lnTo>
                    <a:pt x="212" y="61"/>
                  </a:lnTo>
                  <a:lnTo>
                    <a:pt x="229" y="63"/>
                  </a:lnTo>
                  <a:lnTo>
                    <a:pt x="241" y="58"/>
                  </a:lnTo>
                  <a:lnTo>
                    <a:pt x="247" y="46"/>
                  </a:lnTo>
                  <a:lnTo>
                    <a:pt x="333" y="4"/>
                  </a:lnTo>
                  <a:lnTo>
                    <a:pt x="397" y="5"/>
                  </a:lnTo>
                  <a:lnTo>
                    <a:pt x="406" y="0"/>
                  </a:lnTo>
                  <a:lnTo>
                    <a:pt x="412" y="0"/>
                  </a:lnTo>
                  <a:lnTo>
                    <a:pt x="417" y="1"/>
                  </a:lnTo>
                  <a:lnTo>
                    <a:pt x="417" y="8"/>
                  </a:lnTo>
                  <a:lnTo>
                    <a:pt x="423" y="17"/>
                  </a:lnTo>
                  <a:lnTo>
                    <a:pt x="446" y="28"/>
                  </a:lnTo>
                  <a:lnTo>
                    <a:pt x="456" y="21"/>
                  </a:lnTo>
                  <a:lnTo>
                    <a:pt x="469" y="47"/>
                  </a:lnTo>
                  <a:lnTo>
                    <a:pt x="491" y="49"/>
                  </a:lnTo>
                  <a:lnTo>
                    <a:pt x="520" y="67"/>
                  </a:lnTo>
                  <a:lnTo>
                    <a:pt x="531" y="61"/>
                  </a:lnTo>
                  <a:lnTo>
                    <a:pt x="548" y="69"/>
                  </a:lnTo>
                  <a:lnTo>
                    <a:pt x="605" y="60"/>
                  </a:lnTo>
                  <a:lnTo>
                    <a:pt x="634" y="66"/>
                  </a:lnTo>
                  <a:lnTo>
                    <a:pt x="651" y="65"/>
                  </a:lnTo>
                  <a:lnTo>
                    <a:pt x="700" y="33"/>
                  </a:lnTo>
                  <a:lnTo>
                    <a:pt x="703" y="28"/>
                  </a:lnTo>
                  <a:lnTo>
                    <a:pt x="708" y="34"/>
                  </a:lnTo>
                  <a:lnTo>
                    <a:pt x="715" y="34"/>
                  </a:lnTo>
                  <a:lnTo>
                    <a:pt x="726" y="31"/>
                  </a:lnTo>
                  <a:lnTo>
                    <a:pt x="741" y="36"/>
                  </a:lnTo>
                  <a:lnTo>
                    <a:pt x="746" y="36"/>
                  </a:lnTo>
                  <a:lnTo>
                    <a:pt x="750" y="29"/>
                  </a:lnTo>
                  <a:lnTo>
                    <a:pt x="755" y="27"/>
                  </a:lnTo>
                  <a:lnTo>
                    <a:pt x="761" y="29"/>
                  </a:lnTo>
                  <a:lnTo>
                    <a:pt x="777" y="47"/>
                  </a:lnTo>
                  <a:lnTo>
                    <a:pt x="782" y="48"/>
                  </a:lnTo>
                  <a:lnTo>
                    <a:pt x="795" y="62"/>
                  </a:lnTo>
                  <a:lnTo>
                    <a:pt x="801" y="73"/>
                  </a:lnTo>
                  <a:lnTo>
                    <a:pt x="805" y="102"/>
                  </a:lnTo>
                  <a:lnTo>
                    <a:pt x="811" y="110"/>
                  </a:lnTo>
                  <a:lnTo>
                    <a:pt x="828" y="119"/>
                  </a:lnTo>
                  <a:lnTo>
                    <a:pt x="836" y="127"/>
                  </a:lnTo>
                  <a:lnTo>
                    <a:pt x="842" y="130"/>
                  </a:lnTo>
                  <a:lnTo>
                    <a:pt x="845" y="134"/>
                  </a:lnTo>
                  <a:lnTo>
                    <a:pt x="837" y="155"/>
                  </a:lnTo>
                  <a:lnTo>
                    <a:pt x="825" y="161"/>
                  </a:lnTo>
                  <a:lnTo>
                    <a:pt x="832" y="183"/>
                  </a:lnTo>
                  <a:lnTo>
                    <a:pt x="832" y="250"/>
                  </a:lnTo>
                  <a:lnTo>
                    <a:pt x="843" y="257"/>
                  </a:lnTo>
                  <a:lnTo>
                    <a:pt x="854" y="270"/>
                  </a:lnTo>
                  <a:lnTo>
                    <a:pt x="855" y="285"/>
                  </a:lnTo>
                  <a:lnTo>
                    <a:pt x="849" y="290"/>
                  </a:lnTo>
                  <a:lnTo>
                    <a:pt x="836" y="289"/>
                  </a:lnTo>
                  <a:lnTo>
                    <a:pt x="828" y="280"/>
                  </a:lnTo>
                  <a:lnTo>
                    <a:pt x="789" y="280"/>
                  </a:lnTo>
                  <a:lnTo>
                    <a:pt x="770" y="272"/>
                  </a:lnTo>
                  <a:lnTo>
                    <a:pt x="749" y="290"/>
                  </a:lnTo>
                  <a:lnTo>
                    <a:pt x="742" y="291"/>
                  </a:lnTo>
                  <a:lnTo>
                    <a:pt x="742" y="289"/>
                  </a:lnTo>
                  <a:lnTo>
                    <a:pt x="742" y="285"/>
                  </a:lnTo>
                  <a:lnTo>
                    <a:pt x="738" y="283"/>
                  </a:lnTo>
                  <a:lnTo>
                    <a:pt x="736" y="281"/>
                  </a:lnTo>
                  <a:lnTo>
                    <a:pt x="730" y="288"/>
                  </a:lnTo>
                  <a:lnTo>
                    <a:pt x="715" y="293"/>
                  </a:lnTo>
                  <a:lnTo>
                    <a:pt x="685" y="295"/>
                  </a:lnTo>
                  <a:lnTo>
                    <a:pt x="677" y="292"/>
                  </a:lnTo>
                  <a:lnTo>
                    <a:pt x="657" y="296"/>
                  </a:lnTo>
                  <a:lnTo>
                    <a:pt x="641" y="306"/>
                  </a:lnTo>
                  <a:lnTo>
                    <a:pt x="631" y="309"/>
                  </a:lnTo>
                  <a:lnTo>
                    <a:pt x="626" y="313"/>
                  </a:lnTo>
                  <a:lnTo>
                    <a:pt x="600" y="318"/>
                  </a:lnTo>
                  <a:lnTo>
                    <a:pt x="576" y="315"/>
                  </a:lnTo>
                  <a:lnTo>
                    <a:pt x="567" y="305"/>
                  </a:lnTo>
                  <a:lnTo>
                    <a:pt x="561" y="304"/>
                  </a:lnTo>
                  <a:lnTo>
                    <a:pt x="549" y="305"/>
                  </a:lnTo>
                  <a:lnTo>
                    <a:pt x="523" y="317"/>
                  </a:lnTo>
                  <a:lnTo>
                    <a:pt x="519" y="320"/>
                  </a:lnTo>
                  <a:lnTo>
                    <a:pt x="507" y="318"/>
                  </a:lnTo>
                  <a:lnTo>
                    <a:pt x="501" y="320"/>
                  </a:lnTo>
                  <a:lnTo>
                    <a:pt x="500" y="318"/>
                  </a:lnTo>
                  <a:lnTo>
                    <a:pt x="499" y="316"/>
                  </a:lnTo>
                  <a:lnTo>
                    <a:pt x="500" y="315"/>
                  </a:lnTo>
                  <a:lnTo>
                    <a:pt x="495" y="312"/>
                  </a:lnTo>
                  <a:lnTo>
                    <a:pt x="487" y="310"/>
                  </a:lnTo>
                  <a:lnTo>
                    <a:pt x="483" y="308"/>
                  </a:lnTo>
                  <a:lnTo>
                    <a:pt x="479" y="318"/>
                  </a:lnTo>
                  <a:lnTo>
                    <a:pt x="478" y="319"/>
                  </a:lnTo>
                  <a:lnTo>
                    <a:pt x="478" y="323"/>
                  </a:lnTo>
                  <a:lnTo>
                    <a:pt x="476" y="330"/>
                  </a:lnTo>
                  <a:lnTo>
                    <a:pt x="483" y="339"/>
                  </a:lnTo>
                  <a:lnTo>
                    <a:pt x="484" y="342"/>
                  </a:lnTo>
                  <a:lnTo>
                    <a:pt x="482" y="344"/>
                  </a:lnTo>
                  <a:lnTo>
                    <a:pt x="476" y="344"/>
                  </a:lnTo>
                  <a:lnTo>
                    <a:pt x="469" y="346"/>
                  </a:lnTo>
                  <a:lnTo>
                    <a:pt x="468" y="356"/>
                  </a:lnTo>
                  <a:lnTo>
                    <a:pt x="464" y="360"/>
                  </a:lnTo>
                  <a:lnTo>
                    <a:pt x="460" y="361"/>
                  </a:lnTo>
                  <a:lnTo>
                    <a:pt x="458" y="366"/>
                  </a:lnTo>
                  <a:lnTo>
                    <a:pt x="452" y="363"/>
                  </a:lnTo>
                  <a:lnTo>
                    <a:pt x="451" y="359"/>
                  </a:lnTo>
                  <a:lnTo>
                    <a:pt x="448" y="359"/>
                  </a:lnTo>
                  <a:lnTo>
                    <a:pt x="450" y="35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9" name="Freeform 116"/>
            <p:cNvSpPr>
              <a:spLocks/>
            </p:cNvSpPr>
            <p:nvPr/>
          </p:nvSpPr>
          <p:spPr bwMode="auto">
            <a:xfrm>
              <a:off x="5824600" y="1753778"/>
              <a:ext cx="97489" cy="77926"/>
            </a:xfrm>
            <a:custGeom>
              <a:avLst/>
              <a:gdLst>
                <a:gd name="T0" fmla="*/ 14 w 81"/>
                <a:gd name="T1" fmla="*/ 10 h 79"/>
                <a:gd name="T2" fmla="*/ 13 w 81"/>
                <a:gd name="T3" fmla="*/ 8 h 79"/>
                <a:gd name="T4" fmla="*/ 12 w 81"/>
                <a:gd name="T5" fmla="*/ 8 h 79"/>
                <a:gd name="T6" fmla="*/ 12 w 81"/>
                <a:gd name="T7" fmla="*/ 5 h 79"/>
                <a:gd name="T8" fmla="*/ 10 w 81"/>
                <a:gd name="T9" fmla="*/ 5 h 79"/>
                <a:gd name="T10" fmla="*/ 9 w 81"/>
                <a:gd name="T11" fmla="*/ 5 h 79"/>
                <a:gd name="T12" fmla="*/ 9 w 81"/>
                <a:gd name="T13" fmla="*/ 4 h 79"/>
                <a:gd name="T14" fmla="*/ 9 w 81"/>
                <a:gd name="T15" fmla="*/ 4 h 79"/>
                <a:gd name="T16" fmla="*/ 12 w 81"/>
                <a:gd name="T17" fmla="*/ 3 h 79"/>
                <a:gd name="T18" fmla="*/ 13 w 81"/>
                <a:gd name="T19" fmla="*/ 3 h 79"/>
                <a:gd name="T20" fmla="*/ 13 w 81"/>
                <a:gd name="T21" fmla="*/ 2 h 79"/>
                <a:gd name="T22" fmla="*/ 12 w 81"/>
                <a:gd name="T23" fmla="*/ 2 h 79"/>
                <a:gd name="T24" fmla="*/ 11 w 81"/>
                <a:gd name="T25" fmla="*/ 1 h 79"/>
                <a:gd name="T26" fmla="*/ 11 w 81"/>
                <a:gd name="T27" fmla="*/ 1 h 79"/>
                <a:gd name="T28" fmla="*/ 11 w 81"/>
                <a:gd name="T29" fmla="*/ 1 h 79"/>
                <a:gd name="T30" fmla="*/ 7 w 81"/>
                <a:gd name="T31" fmla="*/ 0 h 79"/>
                <a:gd name="T32" fmla="*/ 5 w 81"/>
                <a:gd name="T33" fmla="*/ 1 h 79"/>
                <a:gd name="T34" fmla="*/ 2 w 81"/>
                <a:gd name="T35" fmla="*/ 4 h 79"/>
                <a:gd name="T36" fmla="*/ 0 w 81"/>
                <a:gd name="T37" fmla="*/ 6 h 79"/>
                <a:gd name="T38" fmla="*/ 1 w 81"/>
                <a:gd name="T39" fmla="*/ 6 h 79"/>
                <a:gd name="T40" fmla="*/ 7 w 81"/>
                <a:gd name="T41" fmla="*/ 7 h 79"/>
                <a:gd name="T42" fmla="*/ 7 w 81"/>
                <a:gd name="T43" fmla="*/ 8 h 79"/>
                <a:gd name="T44" fmla="*/ 9 w 81"/>
                <a:gd name="T45" fmla="*/ 10 h 79"/>
                <a:gd name="T46" fmla="*/ 14 w 81"/>
                <a:gd name="T47" fmla="*/ 10 h 7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79"/>
                <a:gd name="T74" fmla="*/ 81 w 81"/>
                <a:gd name="T75" fmla="*/ 79 h 7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79">
                  <a:moveTo>
                    <a:pt x="81" y="79"/>
                  </a:moveTo>
                  <a:lnTo>
                    <a:pt x="79" y="69"/>
                  </a:lnTo>
                  <a:lnTo>
                    <a:pt x="76" y="68"/>
                  </a:lnTo>
                  <a:lnTo>
                    <a:pt x="68" y="43"/>
                  </a:lnTo>
                  <a:lnTo>
                    <a:pt x="61" y="40"/>
                  </a:lnTo>
                  <a:lnTo>
                    <a:pt x="52" y="39"/>
                  </a:lnTo>
                  <a:lnTo>
                    <a:pt x="54" y="35"/>
                  </a:lnTo>
                  <a:lnTo>
                    <a:pt x="56" y="33"/>
                  </a:lnTo>
                  <a:lnTo>
                    <a:pt x="71" y="28"/>
                  </a:lnTo>
                  <a:lnTo>
                    <a:pt x="78" y="22"/>
                  </a:lnTo>
                  <a:lnTo>
                    <a:pt x="77" y="19"/>
                  </a:lnTo>
                  <a:lnTo>
                    <a:pt x="76" y="16"/>
                  </a:lnTo>
                  <a:lnTo>
                    <a:pt x="66" y="9"/>
                  </a:lnTo>
                  <a:lnTo>
                    <a:pt x="65" y="5"/>
                  </a:lnTo>
                  <a:lnTo>
                    <a:pt x="66" y="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15" y="36"/>
                  </a:lnTo>
                  <a:lnTo>
                    <a:pt x="0" y="50"/>
                  </a:lnTo>
                  <a:lnTo>
                    <a:pt x="4" y="52"/>
                  </a:lnTo>
                  <a:lnTo>
                    <a:pt x="38" y="61"/>
                  </a:lnTo>
                  <a:lnTo>
                    <a:pt x="45" y="66"/>
                  </a:lnTo>
                  <a:lnTo>
                    <a:pt x="53" y="79"/>
                  </a:lnTo>
                  <a:lnTo>
                    <a:pt x="81" y="7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0" name="Freeform 117"/>
            <p:cNvSpPr>
              <a:spLocks/>
            </p:cNvSpPr>
            <p:nvPr/>
          </p:nvSpPr>
          <p:spPr bwMode="auto">
            <a:xfrm>
              <a:off x="5824600" y="1753778"/>
              <a:ext cx="97489" cy="77926"/>
            </a:xfrm>
            <a:custGeom>
              <a:avLst/>
              <a:gdLst>
                <a:gd name="T0" fmla="*/ 14 w 81"/>
                <a:gd name="T1" fmla="*/ 10 h 79"/>
                <a:gd name="T2" fmla="*/ 13 w 81"/>
                <a:gd name="T3" fmla="*/ 8 h 79"/>
                <a:gd name="T4" fmla="*/ 12 w 81"/>
                <a:gd name="T5" fmla="*/ 8 h 79"/>
                <a:gd name="T6" fmla="*/ 12 w 81"/>
                <a:gd name="T7" fmla="*/ 5 h 79"/>
                <a:gd name="T8" fmla="*/ 10 w 81"/>
                <a:gd name="T9" fmla="*/ 5 h 79"/>
                <a:gd name="T10" fmla="*/ 9 w 81"/>
                <a:gd name="T11" fmla="*/ 5 h 79"/>
                <a:gd name="T12" fmla="*/ 9 w 81"/>
                <a:gd name="T13" fmla="*/ 4 h 79"/>
                <a:gd name="T14" fmla="*/ 9 w 81"/>
                <a:gd name="T15" fmla="*/ 4 h 79"/>
                <a:gd name="T16" fmla="*/ 12 w 81"/>
                <a:gd name="T17" fmla="*/ 3 h 79"/>
                <a:gd name="T18" fmla="*/ 13 w 81"/>
                <a:gd name="T19" fmla="*/ 3 h 79"/>
                <a:gd name="T20" fmla="*/ 13 w 81"/>
                <a:gd name="T21" fmla="*/ 2 h 79"/>
                <a:gd name="T22" fmla="*/ 12 w 81"/>
                <a:gd name="T23" fmla="*/ 2 h 79"/>
                <a:gd name="T24" fmla="*/ 11 w 81"/>
                <a:gd name="T25" fmla="*/ 1 h 79"/>
                <a:gd name="T26" fmla="*/ 11 w 81"/>
                <a:gd name="T27" fmla="*/ 1 h 79"/>
                <a:gd name="T28" fmla="*/ 11 w 81"/>
                <a:gd name="T29" fmla="*/ 1 h 79"/>
                <a:gd name="T30" fmla="*/ 7 w 81"/>
                <a:gd name="T31" fmla="*/ 0 h 79"/>
                <a:gd name="T32" fmla="*/ 5 w 81"/>
                <a:gd name="T33" fmla="*/ 1 h 79"/>
                <a:gd name="T34" fmla="*/ 2 w 81"/>
                <a:gd name="T35" fmla="*/ 4 h 79"/>
                <a:gd name="T36" fmla="*/ 0 w 81"/>
                <a:gd name="T37" fmla="*/ 6 h 79"/>
                <a:gd name="T38" fmla="*/ 1 w 81"/>
                <a:gd name="T39" fmla="*/ 6 h 79"/>
                <a:gd name="T40" fmla="*/ 7 w 81"/>
                <a:gd name="T41" fmla="*/ 7 h 79"/>
                <a:gd name="T42" fmla="*/ 7 w 81"/>
                <a:gd name="T43" fmla="*/ 8 h 79"/>
                <a:gd name="T44" fmla="*/ 9 w 81"/>
                <a:gd name="T45" fmla="*/ 10 h 79"/>
                <a:gd name="T46" fmla="*/ 14 w 81"/>
                <a:gd name="T47" fmla="*/ 10 h 7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79"/>
                <a:gd name="T74" fmla="*/ 81 w 81"/>
                <a:gd name="T75" fmla="*/ 79 h 7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79">
                  <a:moveTo>
                    <a:pt x="81" y="79"/>
                  </a:moveTo>
                  <a:lnTo>
                    <a:pt x="79" y="69"/>
                  </a:lnTo>
                  <a:lnTo>
                    <a:pt x="76" y="68"/>
                  </a:lnTo>
                  <a:lnTo>
                    <a:pt x="68" y="43"/>
                  </a:lnTo>
                  <a:lnTo>
                    <a:pt x="61" y="40"/>
                  </a:lnTo>
                  <a:lnTo>
                    <a:pt x="52" y="39"/>
                  </a:lnTo>
                  <a:lnTo>
                    <a:pt x="54" y="35"/>
                  </a:lnTo>
                  <a:lnTo>
                    <a:pt x="56" y="33"/>
                  </a:lnTo>
                  <a:lnTo>
                    <a:pt x="71" y="28"/>
                  </a:lnTo>
                  <a:lnTo>
                    <a:pt x="78" y="22"/>
                  </a:lnTo>
                  <a:lnTo>
                    <a:pt x="77" y="19"/>
                  </a:lnTo>
                  <a:lnTo>
                    <a:pt x="76" y="16"/>
                  </a:lnTo>
                  <a:lnTo>
                    <a:pt x="66" y="9"/>
                  </a:lnTo>
                  <a:lnTo>
                    <a:pt x="65" y="5"/>
                  </a:lnTo>
                  <a:lnTo>
                    <a:pt x="66" y="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15" y="36"/>
                  </a:lnTo>
                  <a:lnTo>
                    <a:pt x="0" y="50"/>
                  </a:lnTo>
                  <a:lnTo>
                    <a:pt x="4" y="52"/>
                  </a:lnTo>
                  <a:lnTo>
                    <a:pt x="38" y="61"/>
                  </a:lnTo>
                  <a:lnTo>
                    <a:pt x="45" y="66"/>
                  </a:lnTo>
                  <a:lnTo>
                    <a:pt x="53" y="79"/>
                  </a:lnTo>
                  <a:lnTo>
                    <a:pt x="81" y="7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1" name="Freeform 118"/>
            <p:cNvSpPr>
              <a:spLocks/>
            </p:cNvSpPr>
            <p:nvPr/>
          </p:nvSpPr>
          <p:spPr bwMode="auto">
            <a:xfrm>
              <a:off x="2304847" y="2419852"/>
              <a:ext cx="345273" cy="202235"/>
            </a:xfrm>
            <a:custGeom>
              <a:avLst/>
              <a:gdLst>
                <a:gd name="T0" fmla="*/ 7 w 288"/>
                <a:gd name="T1" fmla="*/ 17 h 204"/>
                <a:gd name="T2" fmla="*/ 2 w 288"/>
                <a:gd name="T3" fmla="*/ 11 h 204"/>
                <a:gd name="T4" fmla="*/ 1 w 288"/>
                <a:gd name="T5" fmla="*/ 12 h 204"/>
                <a:gd name="T6" fmla="*/ 1 w 288"/>
                <a:gd name="T7" fmla="*/ 11 h 204"/>
                <a:gd name="T8" fmla="*/ 5 w 288"/>
                <a:gd name="T9" fmla="*/ 8 h 204"/>
                <a:gd name="T10" fmla="*/ 8 w 288"/>
                <a:gd name="T11" fmla="*/ 3 h 204"/>
                <a:gd name="T12" fmla="*/ 11 w 288"/>
                <a:gd name="T13" fmla="*/ 1 h 204"/>
                <a:gd name="T14" fmla="*/ 14 w 288"/>
                <a:gd name="T15" fmla="*/ 1 h 204"/>
                <a:gd name="T16" fmla="*/ 18 w 288"/>
                <a:gd name="T17" fmla="*/ 1 h 204"/>
                <a:gd name="T18" fmla="*/ 19 w 288"/>
                <a:gd name="T19" fmla="*/ 1 h 204"/>
                <a:gd name="T20" fmla="*/ 20 w 288"/>
                <a:gd name="T21" fmla="*/ 0 h 204"/>
                <a:gd name="T22" fmla="*/ 24 w 288"/>
                <a:gd name="T23" fmla="*/ 1 h 204"/>
                <a:gd name="T24" fmla="*/ 27 w 288"/>
                <a:gd name="T25" fmla="*/ 2 h 204"/>
                <a:gd name="T26" fmla="*/ 30 w 288"/>
                <a:gd name="T27" fmla="*/ 3 h 204"/>
                <a:gd name="T28" fmla="*/ 31 w 288"/>
                <a:gd name="T29" fmla="*/ 3 h 204"/>
                <a:gd name="T30" fmla="*/ 34 w 288"/>
                <a:gd name="T31" fmla="*/ 6 h 204"/>
                <a:gd name="T32" fmla="*/ 34 w 288"/>
                <a:gd name="T33" fmla="*/ 6 h 204"/>
                <a:gd name="T34" fmla="*/ 35 w 288"/>
                <a:gd name="T35" fmla="*/ 6 h 204"/>
                <a:gd name="T36" fmla="*/ 36 w 288"/>
                <a:gd name="T37" fmla="*/ 7 h 204"/>
                <a:gd name="T38" fmla="*/ 37 w 288"/>
                <a:gd name="T39" fmla="*/ 8 h 204"/>
                <a:gd name="T40" fmla="*/ 38 w 288"/>
                <a:gd name="T41" fmla="*/ 9 h 204"/>
                <a:gd name="T42" fmla="*/ 40 w 288"/>
                <a:gd name="T43" fmla="*/ 10 h 204"/>
                <a:gd name="T44" fmla="*/ 42 w 288"/>
                <a:gd name="T45" fmla="*/ 11 h 204"/>
                <a:gd name="T46" fmla="*/ 42 w 288"/>
                <a:gd name="T47" fmla="*/ 13 h 204"/>
                <a:gd name="T48" fmla="*/ 43 w 288"/>
                <a:gd name="T49" fmla="*/ 13 h 204"/>
                <a:gd name="T50" fmla="*/ 44 w 288"/>
                <a:gd name="T51" fmla="*/ 15 h 204"/>
                <a:gd name="T52" fmla="*/ 43 w 288"/>
                <a:gd name="T53" fmla="*/ 17 h 204"/>
                <a:gd name="T54" fmla="*/ 44 w 288"/>
                <a:gd name="T55" fmla="*/ 19 h 204"/>
                <a:gd name="T56" fmla="*/ 46 w 288"/>
                <a:gd name="T57" fmla="*/ 19 h 204"/>
                <a:gd name="T58" fmla="*/ 47 w 288"/>
                <a:gd name="T59" fmla="*/ 19 h 204"/>
                <a:gd name="T60" fmla="*/ 48 w 288"/>
                <a:gd name="T61" fmla="*/ 20 h 204"/>
                <a:gd name="T62" fmla="*/ 48 w 288"/>
                <a:gd name="T63" fmla="*/ 21 h 204"/>
                <a:gd name="T64" fmla="*/ 48 w 288"/>
                <a:gd name="T65" fmla="*/ 22 h 204"/>
                <a:gd name="T66" fmla="*/ 48 w 288"/>
                <a:gd name="T67" fmla="*/ 24 h 204"/>
                <a:gd name="T68" fmla="*/ 45 w 288"/>
                <a:gd name="T69" fmla="*/ 24 h 204"/>
                <a:gd name="T70" fmla="*/ 42 w 288"/>
                <a:gd name="T71" fmla="*/ 24 h 204"/>
                <a:gd name="T72" fmla="*/ 40 w 288"/>
                <a:gd name="T73" fmla="*/ 24 h 204"/>
                <a:gd name="T74" fmla="*/ 37 w 288"/>
                <a:gd name="T75" fmla="*/ 24 h 204"/>
                <a:gd name="T76" fmla="*/ 36 w 288"/>
                <a:gd name="T77" fmla="*/ 24 h 204"/>
                <a:gd name="T78" fmla="*/ 34 w 288"/>
                <a:gd name="T79" fmla="*/ 22 h 204"/>
                <a:gd name="T80" fmla="*/ 32 w 288"/>
                <a:gd name="T81" fmla="*/ 22 h 204"/>
                <a:gd name="T82" fmla="*/ 11 w 288"/>
                <a:gd name="T83" fmla="*/ 24 h 204"/>
                <a:gd name="T84" fmla="*/ 6 w 288"/>
                <a:gd name="T85" fmla="*/ 24 h 204"/>
                <a:gd name="T86" fmla="*/ 6 w 288"/>
                <a:gd name="T87" fmla="*/ 24 h 204"/>
                <a:gd name="T88" fmla="*/ 6 w 288"/>
                <a:gd name="T89" fmla="*/ 20 h 204"/>
                <a:gd name="T90" fmla="*/ 14 w 288"/>
                <a:gd name="T91" fmla="*/ 19 h 204"/>
                <a:gd name="T92" fmla="*/ 17 w 288"/>
                <a:gd name="T93" fmla="*/ 19 h 204"/>
                <a:gd name="T94" fmla="*/ 19 w 288"/>
                <a:gd name="T95" fmla="*/ 18 h 204"/>
                <a:gd name="T96" fmla="*/ 21 w 288"/>
                <a:gd name="T97" fmla="*/ 18 h 204"/>
                <a:gd name="T98" fmla="*/ 25 w 288"/>
                <a:gd name="T99" fmla="*/ 19 h 204"/>
                <a:gd name="T100" fmla="*/ 27 w 288"/>
                <a:gd name="T101" fmla="*/ 19 h 204"/>
                <a:gd name="T102" fmla="*/ 30 w 288"/>
                <a:gd name="T103" fmla="*/ 18 h 204"/>
                <a:gd name="T104" fmla="*/ 28 w 288"/>
                <a:gd name="T105" fmla="*/ 18 h 204"/>
                <a:gd name="T106" fmla="*/ 25 w 288"/>
                <a:gd name="T107" fmla="*/ 18 h 204"/>
                <a:gd name="T108" fmla="*/ 24 w 288"/>
                <a:gd name="T109" fmla="*/ 17 h 204"/>
                <a:gd name="T110" fmla="*/ 20 w 288"/>
                <a:gd name="T111" fmla="*/ 16 h 204"/>
                <a:gd name="T112" fmla="*/ 18 w 288"/>
                <a:gd name="T113" fmla="*/ 16 h 204"/>
                <a:gd name="T114" fmla="*/ 16 w 288"/>
                <a:gd name="T115" fmla="*/ 17 h 2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8"/>
                <a:gd name="T175" fmla="*/ 0 h 204"/>
                <a:gd name="T176" fmla="*/ 288 w 288"/>
                <a:gd name="T177" fmla="*/ 204 h 2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8" h="204">
                  <a:moveTo>
                    <a:pt x="47" y="145"/>
                  </a:moveTo>
                  <a:lnTo>
                    <a:pt x="46" y="145"/>
                  </a:lnTo>
                  <a:lnTo>
                    <a:pt x="43" y="140"/>
                  </a:lnTo>
                  <a:lnTo>
                    <a:pt x="37" y="133"/>
                  </a:lnTo>
                  <a:lnTo>
                    <a:pt x="35" y="123"/>
                  </a:lnTo>
                  <a:lnTo>
                    <a:pt x="14" y="93"/>
                  </a:lnTo>
                  <a:lnTo>
                    <a:pt x="9" y="93"/>
                  </a:lnTo>
                  <a:lnTo>
                    <a:pt x="6" y="94"/>
                  </a:lnTo>
                  <a:lnTo>
                    <a:pt x="4" y="97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2" y="90"/>
                  </a:lnTo>
                  <a:lnTo>
                    <a:pt x="6" y="90"/>
                  </a:lnTo>
                  <a:lnTo>
                    <a:pt x="15" y="85"/>
                  </a:lnTo>
                  <a:lnTo>
                    <a:pt x="31" y="71"/>
                  </a:lnTo>
                  <a:lnTo>
                    <a:pt x="47" y="46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6" y="17"/>
                  </a:lnTo>
                  <a:lnTo>
                    <a:pt x="59" y="7"/>
                  </a:lnTo>
                  <a:lnTo>
                    <a:pt x="62" y="7"/>
                  </a:lnTo>
                  <a:lnTo>
                    <a:pt x="64" y="6"/>
                  </a:lnTo>
                  <a:lnTo>
                    <a:pt x="78" y="6"/>
                  </a:lnTo>
                  <a:lnTo>
                    <a:pt x="86" y="9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103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3" y="1"/>
                  </a:lnTo>
                  <a:lnTo>
                    <a:pt x="114" y="0"/>
                  </a:lnTo>
                  <a:lnTo>
                    <a:pt x="119" y="1"/>
                  </a:lnTo>
                  <a:lnTo>
                    <a:pt x="122" y="0"/>
                  </a:lnTo>
                  <a:lnTo>
                    <a:pt x="140" y="2"/>
                  </a:lnTo>
                  <a:lnTo>
                    <a:pt x="143" y="2"/>
                  </a:lnTo>
                  <a:lnTo>
                    <a:pt x="147" y="1"/>
                  </a:lnTo>
                  <a:lnTo>
                    <a:pt x="149" y="6"/>
                  </a:lnTo>
                  <a:lnTo>
                    <a:pt x="154" y="6"/>
                  </a:lnTo>
                  <a:lnTo>
                    <a:pt x="162" y="14"/>
                  </a:lnTo>
                  <a:lnTo>
                    <a:pt x="164" y="19"/>
                  </a:lnTo>
                  <a:lnTo>
                    <a:pt x="170" y="25"/>
                  </a:lnTo>
                  <a:lnTo>
                    <a:pt x="179" y="22"/>
                  </a:lnTo>
                  <a:lnTo>
                    <a:pt x="179" y="27"/>
                  </a:lnTo>
                  <a:lnTo>
                    <a:pt x="182" y="27"/>
                  </a:lnTo>
                  <a:lnTo>
                    <a:pt x="186" y="25"/>
                  </a:lnTo>
                  <a:lnTo>
                    <a:pt x="188" y="25"/>
                  </a:lnTo>
                  <a:lnTo>
                    <a:pt x="200" y="44"/>
                  </a:lnTo>
                  <a:lnTo>
                    <a:pt x="199" y="47"/>
                  </a:lnTo>
                  <a:lnTo>
                    <a:pt x="203" y="49"/>
                  </a:lnTo>
                  <a:lnTo>
                    <a:pt x="205" y="52"/>
                  </a:lnTo>
                  <a:lnTo>
                    <a:pt x="207" y="55"/>
                  </a:lnTo>
                  <a:lnTo>
                    <a:pt x="209" y="56"/>
                  </a:lnTo>
                  <a:lnTo>
                    <a:pt x="212" y="54"/>
                  </a:lnTo>
                  <a:lnTo>
                    <a:pt x="214" y="62"/>
                  </a:lnTo>
                  <a:lnTo>
                    <a:pt x="217" y="62"/>
                  </a:lnTo>
                  <a:lnTo>
                    <a:pt x="218" y="65"/>
                  </a:lnTo>
                  <a:lnTo>
                    <a:pt x="216" y="66"/>
                  </a:lnTo>
                  <a:lnTo>
                    <a:pt x="216" y="67"/>
                  </a:lnTo>
                  <a:lnTo>
                    <a:pt x="220" y="68"/>
                  </a:lnTo>
                  <a:lnTo>
                    <a:pt x="221" y="71"/>
                  </a:lnTo>
                  <a:lnTo>
                    <a:pt x="225" y="73"/>
                  </a:lnTo>
                  <a:lnTo>
                    <a:pt x="228" y="73"/>
                  </a:lnTo>
                  <a:lnTo>
                    <a:pt x="233" y="75"/>
                  </a:lnTo>
                  <a:lnTo>
                    <a:pt x="235" y="78"/>
                  </a:lnTo>
                  <a:lnTo>
                    <a:pt x="236" y="82"/>
                  </a:lnTo>
                  <a:lnTo>
                    <a:pt x="237" y="84"/>
                  </a:lnTo>
                  <a:lnTo>
                    <a:pt x="243" y="85"/>
                  </a:lnTo>
                  <a:lnTo>
                    <a:pt x="251" y="93"/>
                  </a:lnTo>
                  <a:lnTo>
                    <a:pt x="251" y="97"/>
                  </a:lnTo>
                  <a:lnTo>
                    <a:pt x="249" y="102"/>
                  </a:lnTo>
                  <a:lnTo>
                    <a:pt x="250" y="107"/>
                  </a:lnTo>
                  <a:lnTo>
                    <a:pt x="251" y="107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13"/>
                  </a:lnTo>
                  <a:lnTo>
                    <a:pt x="257" y="125"/>
                  </a:lnTo>
                  <a:lnTo>
                    <a:pt x="260" y="129"/>
                  </a:lnTo>
                  <a:lnTo>
                    <a:pt x="260" y="133"/>
                  </a:lnTo>
                  <a:lnTo>
                    <a:pt x="256" y="139"/>
                  </a:lnTo>
                  <a:lnTo>
                    <a:pt x="256" y="141"/>
                  </a:lnTo>
                  <a:lnTo>
                    <a:pt x="263" y="149"/>
                  </a:lnTo>
                  <a:lnTo>
                    <a:pt x="264" y="156"/>
                  </a:lnTo>
                  <a:lnTo>
                    <a:pt x="265" y="157"/>
                  </a:lnTo>
                  <a:lnTo>
                    <a:pt x="268" y="157"/>
                  </a:lnTo>
                  <a:lnTo>
                    <a:pt x="270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8" y="160"/>
                  </a:lnTo>
                  <a:lnTo>
                    <a:pt x="279" y="164"/>
                  </a:lnTo>
                  <a:lnTo>
                    <a:pt x="281" y="165"/>
                  </a:lnTo>
                  <a:lnTo>
                    <a:pt x="283" y="169"/>
                  </a:lnTo>
                  <a:lnTo>
                    <a:pt x="286" y="173"/>
                  </a:lnTo>
                  <a:lnTo>
                    <a:pt x="287" y="176"/>
                  </a:lnTo>
                  <a:lnTo>
                    <a:pt x="286" y="176"/>
                  </a:lnTo>
                  <a:lnTo>
                    <a:pt x="286" y="178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85" y="188"/>
                  </a:lnTo>
                  <a:lnTo>
                    <a:pt x="285" y="194"/>
                  </a:lnTo>
                  <a:lnTo>
                    <a:pt x="288" y="197"/>
                  </a:lnTo>
                  <a:lnTo>
                    <a:pt x="288" y="198"/>
                  </a:lnTo>
                  <a:lnTo>
                    <a:pt x="287" y="200"/>
                  </a:lnTo>
                  <a:lnTo>
                    <a:pt x="278" y="199"/>
                  </a:lnTo>
                  <a:lnTo>
                    <a:pt x="273" y="201"/>
                  </a:lnTo>
                  <a:lnTo>
                    <a:pt x="260" y="200"/>
                  </a:lnTo>
                  <a:lnTo>
                    <a:pt x="259" y="201"/>
                  </a:lnTo>
                  <a:lnTo>
                    <a:pt x="252" y="201"/>
                  </a:lnTo>
                  <a:lnTo>
                    <a:pt x="247" y="203"/>
                  </a:lnTo>
                  <a:lnTo>
                    <a:pt x="241" y="204"/>
                  </a:lnTo>
                  <a:lnTo>
                    <a:pt x="236" y="201"/>
                  </a:lnTo>
                  <a:lnTo>
                    <a:pt x="233" y="202"/>
                  </a:lnTo>
                  <a:lnTo>
                    <a:pt x="227" y="200"/>
                  </a:lnTo>
                  <a:lnTo>
                    <a:pt x="222" y="200"/>
                  </a:lnTo>
                  <a:lnTo>
                    <a:pt x="216" y="195"/>
                  </a:lnTo>
                  <a:lnTo>
                    <a:pt x="215" y="196"/>
                  </a:lnTo>
                  <a:lnTo>
                    <a:pt x="214" y="198"/>
                  </a:lnTo>
                  <a:lnTo>
                    <a:pt x="209" y="198"/>
                  </a:lnTo>
                  <a:lnTo>
                    <a:pt x="209" y="193"/>
                  </a:lnTo>
                  <a:lnTo>
                    <a:pt x="205" y="190"/>
                  </a:lnTo>
                  <a:lnTo>
                    <a:pt x="199" y="189"/>
                  </a:lnTo>
                  <a:lnTo>
                    <a:pt x="193" y="191"/>
                  </a:lnTo>
                  <a:lnTo>
                    <a:pt x="190" y="188"/>
                  </a:lnTo>
                  <a:lnTo>
                    <a:pt x="114" y="188"/>
                  </a:lnTo>
                  <a:lnTo>
                    <a:pt x="86" y="199"/>
                  </a:lnTo>
                  <a:lnTo>
                    <a:pt x="62" y="198"/>
                  </a:lnTo>
                  <a:lnTo>
                    <a:pt x="49" y="204"/>
                  </a:lnTo>
                  <a:lnTo>
                    <a:pt x="43" y="204"/>
                  </a:lnTo>
                  <a:lnTo>
                    <a:pt x="40" y="202"/>
                  </a:lnTo>
                  <a:lnTo>
                    <a:pt x="38" y="201"/>
                  </a:lnTo>
                  <a:lnTo>
                    <a:pt x="36" y="201"/>
                  </a:lnTo>
                  <a:lnTo>
                    <a:pt x="37" y="201"/>
                  </a:lnTo>
                  <a:lnTo>
                    <a:pt x="36" y="200"/>
                  </a:lnTo>
                  <a:lnTo>
                    <a:pt x="37" y="171"/>
                  </a:lnTo>
                  <a:lnTo>
                    <a:pt x="40" y="166"/>
                  </a:lnTo>
                  <a:lnTo>
                    <a:pt x="80" y="163"/>
                  </a:lnTo>
                  <a:lnTo>
                    <a:pt x="82" y="162"/>
                  </a:lnTo>
                  <a:lnTo>
                    <a:pt x="84" y="157"/>
                  </a:lnTo>
                  <a:lnTo>
                    <a:pt x="87" y="156"/>
                  </a:lnTo>
                  <a:lnTo>
                    <a:pt x="91" y="157"/>
                  </a:lnTo>
                  <a:lnTo>
                    <a:pt x="100" y="156"/>
                  </a:lnTo>
                  <a:lnTo>
                    <a:pt x="107" y="152"/>
                  </a:lnTo>
                  <a:lnTo>
                    <a:pt x="111" y="148"/>
                  </a:lnTo>
                  <a:lnTo>
                    <a:pt x="113" y="147"/>
                  </a:lnTo>
                  <a:lnTo>
                    <a:pt x="118" y="148"/>
                  </a:lnTo>
                  <a:lnTo>
                    <a:pt x="121" y="150"/>
                  </a:lnTo>
                  <a:lnTo>
                    <a:pt x="127" y="152"/>
                  </a:lnTo>
                  <a:lnTo>
                    <a:pt x="134" y="158"/>
                  </a:lnTo>
                  <a:lnTo>
                    <a:pt x="140" y="158"/>
                  </a:lnTo>
                  <a:lnTo>
                    <a:pt x="148" y="162"/>
                  </a:lnTo>
                  <a:lnTo>
                    <a:pt x="153" y="161"/>
                  </a:lnTo>
                  <a:lnTo>
                    <a:pt x="156" y="163"/>
                  </a:lnTo>
                  <a:lnTo>
                    <a:pt x="161" y="160"/>
                  </a:lnTo>
                  <a:lnTo>
                    <a:pt x="171" y="158"/>
                  </a:lnTo>
                  <a:lnTo>
                    <a:pt x="175" y="155"/>
                  </a:lnTo>
                  <a:lnTo>
                    <a:pt x="175" y="151"/>
                  </a:lnTo>
                  <a:lnTo>
                    <a:pt x="173" y="147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52" y="151"/>
                  </a:lnTo>
                  <a:lnTo>
                    <a:pt x="148" y="150"/>
                  </a:lnTo>
                  <a:lnTo>
                    <a:pt x="143" y="147"/>
                  </a:lnTo>
                  <a:lnTo>
                    <a:pt x="139" y="143"/>
                  </a:lnTo>
                  <a:lnTo>
                    <a:pt x="137" y="142"/>
                  </a:lnTo>
                  <a:lnTo>
                    <a:pt x="128" y="142"/>
                  </a:lnTo>
                  <a:lnTo>
                    <a:pt x="122" y="136"/>
                  </a:lnTo>
                  <a:lnTo>
                    <a:pt x="118" y="135"/>
                  </a:lnTo>
                  <a:lnTo>
                    <a:pt x="116" y="134"/>
                  </a:lnTo>
                  <a:lnTo>
                    <a:pt x="106" y="137"/>
                  </a:lnTo>
                  <a:lnTo>
                    <a:pt x="101" y="136"/>
                  </a:lnTo>
                  <a:lnTo>
                    <a:pt x="97" y="140"/>
                  </a:lnTo>
                  <a:lnTo>
                    <a:pt x="94" y="145"/>
                  </a:lnTo>
                  <a:lnTo>
                    <a:pt x="47" y="14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2" name="Freeform 119"/>
            <p:cNvSpPr>
              <a:spLocks/>
            </p:cNvSpPr>
            <p:nvPr/>
          </p:nvSpPr>
          <p:spPr bwMode="auto">
            <a:xfrm>
              <a:off x="2304847" y="2419852"/>
              <a:ext cx="345273" cy="202235"/>
            </a:xfrm>
            <a:custGeom>
              <a:avLst/>
              <a:gdLst>
                <a:gd name="T0" fmla="*/ 7 w 288"/>
                <a:gd name="T1" fmla="*/ 17 h 204"/>
                <a:gd name="T2" fmla="*/ 2 w 288"/>
                <a:gd name="T3" fmla="*/ 11 h 204"/>
                <a:gd name="T4" fmla="*/ 1 w 288"/>
                <a:gd name="T5" fmla="*/ 12 h 204"/>
                <a:gd name="T6" fmla="*/ 1 w 288"/>
                <a:gd name="T7" fmla="*/ 11 h 204"/>
                <a:gd name="T8" fmla="*/ 5 w 288"/>
                <a:gd name="T9" fmla="*/ 8 h 204"/>
                <a:gd name="T10" fmla="*/ 8 w 288"/>
                <a:gd name="T11" fmla="*/ 3 h 204"/>
                <a:gd name="T12" fmla="*/ 11 w 288"/>
                <a:gd name="T13" fmla="*/ 1 h 204"/>
                <a:gd name="T14" fmla="*/ 14 w 288"/>
                <a:gd name="T15" fmla="*/ 1 h 204"/>
                <a:gd name="T16" fmla="*/ 18 w 288"/>
                <a:gd name="T17" fmla="*/ 1 h 204"/>
                <a:gd name="T18" fmla="*/ 19 w 288"/>
                <a:gd name="T19" fmla="*/ 1 h 204"/>
                <a:gd name="T20" fmla="*/ 20 w 288"/>
                <a:gd name="T21" fmla="*/ 0 h 204"/>
                <a:gd name="T22" fmla="*/ 24 w 288"/>
                <a:gd name="T23" fmla="*/ 1 h 204"/>
                <a:gd name="T24" fmla="*/ 27 w 288"/>
                <a:gd name="T25" fmla="*/ 2 h 204"/>
                <a:gd name="T26" fmla="*/ 30 w 288"/>
                <a:gd name="T27" fmla="*/ 3 h 204"/>
                <a:gd name="T28" fmla="*/ 31 w 288"/>
                <a:gd name="T29" fmla="*/ 3 h 204"/>
                <a:gd name="T30" fmla="*/ 34 w 288"/>
                <a:gd name="T31" fmla="*/ 6 h 204"/>
                <a:gd name="T32" fmla="*/ 34 w 288"/>
                <a:gd name="T33" fmla="*/ 6 h 204"/>
                <a:gd name="T34" fmla="*/ 35 w 288"/>
                <a:gd name="T35" fmla="*/ 6 h 204"/>
                <a:gd name="T36" fmla="*/ 36 w 288"/>
                <a:gd name="T37" fmla="*/ 7 h 204"/>
                <a:gd name="T38" fmla="*/ 37 w 288"/>
                <a:gd name="T39" fmla="*/ 8 h 204"/>
                <a:gd name="T40" fmla="*/ 38 w 288"/>
                <a:gd name="T41" fmla="*/ 9 h 204"/>
                <a:gd name="T42" fmla="*/ 40 w 288"/>
                <a:gd name="T43" fmla="*/ 10 h 204"/>
                <a:gd name="T44" fmla="*/ 42 w 288"/>
                <a:gd name="T45" fmla="*/ 11 h 204"/>
                <a:gd name="T46" fmla="*/ 42 w 288"/>
                <a:gd name="T47" fmla="*/ 13 h 204"/>
                <a:gd name="T48" fmla="*/ 43 w 288"/>
                <a:gd name="T49" fmla="*/ 13 h 204"/>
                <a:gd name="T50" fmla="*/ 44 w 288"/>
                <a:gd name="T51" fmla="*/ 15 h 204"/>
                <a:gd name="T52" fmla="*/ 43 w 288"/>
                <a:gd name="T53" fmla="*/ 17 h 204"/>
                <a:gd name="T54" fmla="*/ 44 w 288"/>
                <a:gd name="T55" fmla="*/ 19 h 204"/>
                <a:gd name="T56" fmla="*/ 46 w 288"/>
                <a:gd name="T57" fmla="*/ 19 h 204"/>
                <a:gd name="T58" fmla="*/ 47 w 288"/>
                <a:gd name="T59" fmla="*/ 19 h 204"/>
                <a:gd name="T60" fmla="*/ 48 w 288"/>
                <a:gd name="T61" fmla="*/ 20 h 204"/>
                <a:gd name="T62" fmla="*/ 48 w 288"/>
                <a:gd name="T63" fmla="*/ 21 h 204"/>
                <a:gd name="T64" fmla="*/ 48 w 288"/>
                <a:gd name="T65" fmla="*/ 22 h 204"/>
                <a:gd name="T66" fmla="*/ 48 w 288"/>
                <a:gd name="T67" fmla="*/ 24 h 204"/>
                <a:gd name="T68" fmla="*/ 45 w 288"/>
                <a:gd name="T69" fmla="*/ 24 h 204"/>
                <a:gd name="T70" fmla="*/ 42 w 288"/>
                <a:gd name="T71" fmla="*/ 24 h 204"/>
                <a:gd name="T72" fmla="*/ 40 w 288"/>
                <a:gd name="T73" fmla="*/ 24 h 204"/>
                <a:gd name="T74" fmla="*/ 37 w 288"/>
                <a:gd name="T75" fmla="*/ 24 h 204"/>
                <a:gd name="T76" fmla="*/ 36 w 288"/>
                <a:gd name="T77" fmla="*/ 24 h 204"/>
                <a:gd name="T78" fmla="*/ 34 w 288"/>
                <a:gd name="T79" fmla="*/ 22 h 204"/>
                <a:gd name="T80" fmla="*/ 32 w 288"/>
                <a:gd name="T81" fmla="*/ 22 h 204"/>
                <a:gd name="T82" fmla="*/ 11 w 288"/>
                <a:gd name="T83" fmla="*/ 24 h 204"/>
                <a:gd name="T84" fmla="*/ 6 w 288"/>
                <a:gd name="T85" fmla="*/ 24 h 204"/>
                <a:gd name="T86" fmla="*/ 6 w 288"/>
                <a:gd name="T87" fmla="*/ 24 h 204"/>
                <a:gd name="T88" fmla="*/ 6 w 288"/>
                <a:gd name="T89" fmla="*/ 20 h 204"/>
                <a:gd name="T90" fmla="*/ 14 w 288"/>
                <a:gd name="T91" fmla="*/ 19 h 204"/>
                <a:gd name="T92" fmla="*/ 17 w 288"/>
                <a:gd name="T93" fmla="*/ 19 h 204"/>
                <a:gd name="T94" fmla="*/ 19 w 288"/>
                <a:gd name="T95" fmla="*/ 18 h 204"/>
                <a:gd name="T96" fmla="*/ 21 w 288"/>
                <a:gd name="T97" fmla="*/ 18 h 204"/>
                <a:gd name="T98" fmla="*/ 25 w 288"/>
                <a:gd name="T99" fmla="*/ 19 h 204"/>
                <a:gd name="T100" fmla="*/ 27 w 288"/>
                <a:gd name="T101" fmla="*/ 19 h 204"/>
                <a:gd name="T102" fmla="*/ 30 w 288"/>
                <a:gd name="T103" fmla="*/ 18 h 204"/>
                <a:gd name="T104" fmla="*/ 28 w 288"/>
                <a:gd name="T105" fmla="*/ 18 h 204"/>
                <a:gd name="T106" fmla="*/ 25 w 288"/>
                <a:gd name="T107" fmla="*/ 18 h 204"/>
                <a:gd name="T108" fmla="*/ 24 w 288"/>
                <a:gd name="T109" fmla="*/ 17 h 204"/>
                <a:gd name="T110" fmla="*/ 20 w 288"/>
                <a:gd name="T111" fmla="*/ 16 h 204"/>
                <a:gd name="T112" fmla="*/ 18 w 288"/>
                <a:gd name="T113" fmla="*/ 16 h 204"/>
                <a:gd name="T114" fmla="*/ 16 w 288"/>
                <a:gd name="T115" fmla="*/ 17 h 2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8"/>
                <a:gd name="T175" fmla="*/ 0 h 204"/>
                <a:gd name="T176" fmla="*/ 288 w 288"/>
                <a:gd name="T177" fmla="*/ 204 h 2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8" h="204">
                  <a:moveTo>
                    <a:pt x="47" y="145"/>
                  </a:moveTo>
                  <a:lnTo>
                    <a:pt x="46" y="145"/>
                  </a:lnTo>
                  <a:lnTo>
                    <a:pt x="43" y="140"/>
                  </a:lnTo>
                  <a:lnTo>
                    <a:pt x="37" y="133"/>
                  </a:lnTo>
                  <a:lnTo>
                    <a:pt x="35" y="123"/>
                  </a:lnTo>
                  <a:lnTo>
                    <a:pt x="14" y="93"/>
                  </a:lnTo>
                  <a:lnTo>
                    <a:pt x="9" y="93"/>
                  </a:lnTo>
                  <a:lnTo>
                    <a:pt x="6" y="94"/>
                  </a:lnTo>
                  <a:lnTo>
                    <a:pt x="4" y="97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2" y="90"/>
                  </a:lnTo>
                  <a:lnTo>
                    <a:pt x="6" y="90"/>
                  </a:lnTo>
                  <a:lnTo>
                    <a:pt x="15" y="85"/>
                  </a:lnTo>
                  <a:lnTo>
                    <a:pt x="31" y="71"/>
                  </a:lnTo>
                  <a:lnTo>
                    <a:pt x="47" y="46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6" y="17"/>
                  </a:lnTo>
                  <a:lnTo>
                    <a:pt x="59" y="7"/>
                  </a:lnTo>
                  <a:lnTo>
                    <a:pt x="62" y="7"/>
                  </a:lnTo>
                  <a:lnTo>
                    <a:pt x="64" y="6"/>
                  </a:lnTo>
                  <a:lnTo>
                    <a:pt x="78" y="6"/>
                  </a:lnTo>
                  <a:lnTo>
                    <a:pt x="86" y="9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103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3" y="1"/>
                  </a:lnTo>
                  <a:lnTo>
                    <a:pt x="114" y="0"/>
                  </a:lnTo>
                  <a:lnTo>
                    <a:pt x="119" y="1"/>
                  </a:lnTo>
                  <a:lnTo>
                    <a:pt x="122" y="0"/>
                  </a:lnTo>
                  <a:lnTo>
                    <a:pt x="140" y="2"/>
                  </a:lnTo>
                  <a:lnTo>
                    <a:pt x="143" y="2"/>
                  </a:lnTo>
                  <a:lnTo>
                    <a:pt x="147" y="1"/>
                  </a:lnTo>
                  <a:lnTo>
                    <a:pt x="149" y="6"/>
                  </a:lnTo>
                  <a:lnTo>
                    <a:pt x="154" y="6"/>
                  </a:lnTo>
                  <a:lnTo>
                    <a:pt x="162" y="14"/>
                  </a:lnTo>
                  <a:lnTo>
                    <a:pt x="164" y="19"/>
                  </a:lnTo>
                  <a:lnTo>
                    <a:pt x="170" y="25"/>
                  </a:lnTo>
                  <a:lnTo>
                    <a:pt x="179" y="22"/>
                  </a:lnTo>
                  <a:lnTo>
                    <a:pt x="179" y="27"/>
                  </a:lnTo>
                  <a:lnTo>
                    <a:pt x="182" y="27"/>
                  </a:lnTo>
                  <a:lnTo>
                    <a:pt x="186" y="25"/>
                  </a:lnTo>
                  <a:lnTo>
                    <a:pt x="188" y="25"/>
                  </a:lnTo>
                  <a:lnTo>
                    <a:pt x="200" y="44"/>
                  </a:lnTo>
                  <a:lnTo>
                    <a:pt x="199" y="47"/>
                  </a:lnTo>
                  <a:lnTo>
                    <a:pt x="203" y="49"/>
                  </a:lnTo>
                  <a:lnTo>
                    <a:pt x="205" y="52"/>
                  </a:lnTo>
                  <a:lnTo>
                    <a:pt x="207" y="55"/>
                  </a:lnTo>
                  <a:lnTo>
                    <a:pt x="209" y="56"/>
                  </a:lnTo>
                  <a:lnTo>
                    <a:pt x="212" y="54"/>
                  </a:lnTo>
                  <a:lnTo>
                    <a:pt x="214" y="62"/>
                  </a:lnTo>
                  <a:lnTo>
                    <a:pt x="217" y="62"/>
                  </a:lnTo>
                  <a:lnTo>
                    <a:pt x="218" y="65"/>
                  </a:lnTo>
                  <a:lnTo>
                    <a:pt x="216" y="66"/>
                  </a:lnTo>
                  <a:lnTo>
                    <a:pt x="216" y="67"/>
                  </a:lnTo>
                  <a:lnTo>
                    <a:pt x="220" y="68"/>
                  </a:lnTo>
                  <a:lnTo>
                    <a:pt x="221" y="71"/>
                  </a:lnTo>
                  <a:lnTo>
                    <a:pt x="225" y="73"/>
                  </a:lnTo>
                  <a:lnTo>
                    <a:pt x="228" y="73"/>
                  </a:lnTo>
                  <a:lnTo>
                    <a:pt x="233" y="75"/>
                  </a:lnTo>
                  <a:lnTo>
                    <a:pt x="235" y="78"/>
                  </a:lnTo>
                  <a:lnTo>
                    <a:pt x="236" y="82"/>
                  </a:lnTo>
                  <a:lnTo>
                    <a:pt x="237" y="84"/>
                  </a:lnTo>
                  <a:lnTo>
                    <a:pt x="243" y="85"/>
                  </a:lnTo>
                  <a:lnTo>
                    <a:pt x="251" y="93"/>
                  </a:lnTo>
                  <a:lnTo>
                    <a:pt x="251" y="97"/>
                  </a:lnTo>
                  <a:lnTo>
                    <a:pt x="249" y="102"/>
                  </a:lnTo>
                  <a:lnTo>
                    <a:pt x="250" y="107"/>
                  </a:lnTo>
                  <a:lnTo>
                    <a:pt x="251" y="107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13"/>
                  </a:lnTo>
                  <a:lnTo>
                    <a:pt x="257" y="125"/>
                  </a:lnTo>
                  <a:lnTo>
                    <a:pt x="260" y="129"/>
                  </a:lnTo>
                  <a:lnTo>
                    <a:pt x="260" y="133"/>
                  </a:lnTo>
                  <a:lnTo>
                    <a:pt x="256" y="139"/>
                  </a:lnTo>
                  <a:lnTo>
                    <a:pt x="256" y="141"/>
                  </a:lnTo>
                  <a:lnTo>
                    <a:pt x="263" y="149"/>
                  </a:lnTo>
                  <a:lnTo>
                    <a:pt x="264" y="156"/>
                  </a:lnTo>
                  <a:lnTo>
                    <a:pt x="265" y="157"/>
                  </a:lnTo>
                  <a:lnTo>
                    <a:pt x="268" y="157"/>
                  </a:lnTo>
                  <a:lnTo>
                    <a:pt x="270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8" y="160"/>
                  </a:lnTo>
                  <a:lnTo>
                    <a:pt x="279" y="164"/>
                  </a:lnTo>
                  <a:lnTo>
                    <a:pt x="281" y="165"/>
                  </a:lnTo>
                  <a:lnTo>
                    <a:pt x="283" y="169"/>
                  </a:lnTo>
                  <a:lnTo>
                    <a:pt x="286" y="173"/>
                  </a:lnTo>
                  <a:lnTo>
                    <a:pt x="287" y="176"/>
                  </a:lnTo>
                  <a:lnTo>
                    <a:pt x="286" y="176"/>
                  </a:lnTo>
                  <a:lnTo>
                    <a:pt x="286" y="178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85" y="188"/>
                  </a:lnTo>
                  <a:lnTo>
                    <a:pt x="285" y="194"/>
                  </a:lnTo>
                  <a:lnTo>
                    <a:pt x="288" y="197"/>
                  </a:lnTo>
                  <a:lnTo>
                    <a:pt x="288" y="198"/>
                  </a:lnTo>
                  <a:lnTo>
                    <a:pt x="287" y="200"/>
                  </a:lnTo>
                  <a:lnTo>
                    <a:pt x="278" y="199"/>
                  </a:lnTo>
                  <a:lnTo>
                    <a:pt x="273" y="201"/>
                  </a:lnTo>
                  <a:lnTo>
                    <a:pt x="260" y="200"/>
                  </a:lnTo>
                  <a:lnTo>
                    <a:pt x="259" y="201"/>
                  </a:lnTo>
                  <a:lnTo>
                    <a:pt x="252" y="201"/>
                  </a:lnTo>
                  <a:lnTo>
                    <a:pt x="247" y="203"/>
                  </a:lnTo>
                  <a:lnTo>
                    <a:pt x="241" y="204"/>
                  </a:lnTo>
                  <a:lnTo>
                    <a:pt x="236" y="201"/>
                  </a:lnTo>
                  <a:lnTo>
                    <a:pt x="233" y="202"/>
                  </a:lnTo>
                  <a:lnTo>
                    <a:pt x="227" y="200"/>
                  </a:lnTo>
                  <a:lnTo>
                    <a:pt x="222" y="200"/>
                  </a:lnTo>
                  <a:lnTo>
                    <a:pt x="216" y="195"/>
                  </a:lnTo>
                  <a:lnTo>
                    <a:pt x="215" y="196"/>
                  </a:lnTo>
                  <a:lnTo>
                    <a:pt x="214" y="198"/>
                  </a:lnTo>
                  <a:lnTo>
                    <a:pt x="209" y="198"/>
                  </a:lnTo>
                  <a:lnTo>
                    <a:pt x="209" y="193"/>
                  </a:lnTo>
                  <a:lnTo>
                    <a:pt x="205" y="190"/>
                  </a:lnTo>
                  <a:lnTo>
                    <a:pt x="199" y="189"/>
                  </a:lnTo>
                  <a:lnTo>
                    <a:pt x="193" y="191"/>
                  </a:lnTo>
                  <a:lnTo>
                    <a:pt x="190" y="188"/>
                  </a:lnTo>
                  <a:lnTo>
                    <a:pt x="114" y="188"/>
                  </a:lnTo>
                  <a:lnTo>
                    <a:pt x="86" y="199"/>
                  </a:lnTo>
                  <a:lnTo>
                    <a:pt x="62" y="198"/>
                  </a:lnTo>
                  <a:lnTo>
                    <a:pt x="49" y="204"/>
                  </a:lnTo>
                  <a:lnTo>
                    <a:pt x="43" y="204"/>
                  </a:lnTo>
                  <a:lnTo>
                    <a:pt x="40" y="202"/>
                  </a:lnTo>
                  <a:lnTo>
                    <a:pt x="38" y="201"/>
                  </a:lnTo>
                  <a:lnTo>
                    <a:pt x="36" y="201"/>
                  </a:lnTo>
                  <a:lnTo>
                    <a:pt x="37" y="201"/>
                  </a:lnTo>
                  <a:lnTo>
                    <a:pt x="36" y="200"/>
                  </a:lnTo>
                  <a:lnTo>
                    <a:pt x="37" y="171"/>
                  </a:lnTo>
                  <a:lnTo>
                    <a:pt x="40" y="166"/>
                  </a:lnTo>
                  <a:lnTo>
                    <a:pt x="80" y="163"/>
                  </a:lnTo>
                  <a:lnTo>
                    <a:pt x="82" y="162"/>
                  </a:lnTo>
                  <a:lnTo>
                    <a:pt x="84" y="157"/>
                  </a:lnTo>
                  <a:lnTo>
                    <a:pt x="87" y="156"/>
                  </a:lnTo>
                  <a:lnTo>
                    <a:pt x="91" y="157"/>
                  </a:lnTo>
                  <a:lnTo>
                    <a:pt x="100" y="156"/>
                  </a:lnTo>
                  <a:lnTo>
                    <a:pt x="107" y="152"/>
                  </a:lnTo>
                  <a:lnTo>
                    <a:pt x="111" y="148"/>
                  </a:lnTo>
                  <a:lnTo>
                    <a:pt x="113" y="147"/>
                  </a:lnTo>
                  <a:lnTo>
                    <a:pt x="118" y="148"/>
                  </a:lnTo>
                  <a:lnTo>
                    <a:pt x="121" y="150"/>
                  </a:lnTo>
                  <a:lnTo>
                    <a:pt x="127" y="152"/>
                  </a:lnTo>
                  <a:lnTo>
                    <a:pt x="134" y="158"/>
                  </a:lnTo>
                  <a:lnTo>
                    <a:pt x="140" y="158"/>
                  </a:lnTo>
                  <a:lnTo>
                    <a:pt x="148" y="162"/>
                  </a:lnTo>
                  <a:lnTo>
                    <a:pt x="153" y="161"/>
                  </a:lnTo>
                  <a:lnTo>
                    <a:pt x="156" y="163"/>
                  </a:lnTo>
                  <a:lnTo>
                    <a:pt x="161" y="160"/>
                  </a:lnTo>
                  <a:lnTo>
                    <a:pt x="171" y="158"/>
                  </a:lnTo>
                  <a:lnTo>
                    <a:pt x="175" y="155"/>
                  </a:lnTo>
                  <a:lnTo>
                    <a:pt x="175" y="151"/>
                  </a:lnTo>
                  <a:lnTo>
                    <a:pt x="173" y="147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52" y="151"/>
                  </a:lnTo>
                  <a:lnTo>
                    <a:pt x="148" y="150"/>
                  </a:lnTo>
                  <a:lnTo>
                    <a:pt x="143" y="147"/>
                  </a:lnTo>
                  <a:lnTo>
                    <a:pt x="139" y="143"/>
                  </a:lnTo>
                  <a:lnTo>
                    <a:pt x="137" y="142"/>
                  </a:lnTo>
                  <a:lnTo>
                    <a:pt x="128" y="142"/>
                  </a:lnTo>
                  <a:lnTo>
                    <a:pt x="122" y="136"/>
                  </a:lnTo>
                  <a:lnTo>
                    <a:pt x="118" y="135"/>
                  </a:lnTo>
                  <a:lnTo>
                    <a:pt x="116" y="134"/>
                  </a:lnTo>
                  <a:lnTo>
                    <a:pt x="106" y="137"/>
                  </a:lnTo>
                  <a:lnTo>
                    <a:pt x="101" y="136"/>
                  </a:lnTo>
                  <a:lnTo>
                    <a:pt x="97" y="140"/>
                  </a:lnTo>
                  <a:lnTo>
                    <a:pt x="94" y="145"/>
                  </a:lnTo>
                  <a:lnTo>
                    <a:pt x="47" y="14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3" name="Freeform 120"/>
            <p:cNvSpPr>
              <a:spLocks/>
            </p:cNvSpPr>
            <p:nvPr/>
          </p:nvSpPr>
          <p:spPr bwMode="auto">
            <a:xfrm>
              <a:off x="4699416" y="1078426"/>
              <a:ext cx="166543" cy="115032"/>
            </a:xfrm>
            <a:custGeom>
              <a:avLst/>
              <a:gdLst>
                <a:gd name="T0" fmla="*/ 15 w 138"/>
                <a:gd name="T1" fmla="*/ 1 h 117"/>
                <a:gd name="T2" fmla="*/ 14 w 138"/>
                <a:gd name="T3" fmla="*/ 1 h 117"/>
                <a:gd name="T4" fmla="*/ 11 w 138"/>
                <a:gd name="T5" fmla="*/ 1 h 117"/>
                <a:gd name="T6" fmla="*/ 8 w 138"/>
                <a:gd name="T7" fmla="*/ 0 h 117"/>
                <a:gd name="T8" fmla="*/ 4 w 138"/>
                <a:gd name="T9" fmla="*/ 1 h 117"/>
                <a:gd name="T10" fmla="*/ 2 w 138"/>
                <a:gd name="T11" fmla="*/ 2 h 117"/>
                <a:gd name="T12" fmla="*/ 3 w 138"/>
                <a:gd name="T13" fmla="*/ 2 h 117"/>
                <a:gd name="T14" fmla="*/ 4 w 138"/>
                <a:gd name="T15" fmla="*/ 3 h 117"/>
                <a:gd name="T16" fmla="*/ 4 w 138"/>
                <a:gd name="T17" fmla="*/ 4 h 117"/>
                <a:gd name="T18" fmla="*/ 2 w 138"/>
                <a:gd name="T19" fmla="*/ 5 h 117"/>
                <a:gd name="T20" fmla="*/ 1 w 138"/>
                <a:gd name="T21" fmla="*/ 8 h 117"/>
                <a:gd name="T22" fmla="*/ 0 w 138"/>
                <a:gd name="T23" fmla="*/ 9 h 117"/>
                <a:gd name="T24" fmla="*/ 1 w 138"/>
                <a:gd name="T25" fmla="*/ 10 h 117"/>
                <a:gd name="T26" fmla="*/ 1 w 138"/>
                <a:gd name="T27" fmla="*/ 10 h 117"/>
                <a:gd name="T28" fmla="*/ 6 w 138"/>
                <a:gd name="T29" fmla="*/ 10 h 117"/>
                <a:gd name="T30" fmla="*/ 5 w 138"/>
                <a:gd name="T31" fmla="*/ 11 h 117"/>
                <a:gd name="T32" fmla="*/ 1 w 138"/>
                <a:gd name="T33" fmla="*/ 12 h 117"/>
                <a:gd name="T34" fmla="*/ 1 w 138"/>
                <a:gd name="T35" fmla="*/ 13 h 117"/>
                <a:gd name="T36" fmla="*/ 2 w 138"/>
                <a:gd name="T37" fmla="*/ 13 h 117"/>
                <a:gd name="T38" fmla="*/ 4 w 138"/>
                <a:gd name="T39" fmla="*/ 12 h 117"/>
                <a:gd name="T40" fmla="*/ 12 w 138"/>
                <a:gd name="T41" fmla="*/ 7 h 117"/>
                <a:gd name="T42" fmla="*/ 20 w 138"/>
                <a:gd name="T43" fmla="*/ 7 h 117"/>
                <a:gd name="T44" fmla="*/ 21 w 138"/>
                <a:gd name="T45" fmla="*/ 7 h 117"/>
                <a:gd name="T46" fmla="*/ 23 w 138"/>
                <a:gd name="T47" fmla="*/ 7 h 117"/>
                <a:gd name="T48" fmla="*/ 24 w 138"/>
                <a:gd name="T49" fmla="*/ 6 h 117"/>
                <a:gd name="T50" fmla="*/ 24 w 138"/>
                <a:gd name="T51" fmla="*/ 5 h 117"/>
                <a:gd name="T52" fmla="*/ 22 w 138"/>
                <a:gd name="T53" fmla="*/ 5 h 117"/>
                <a:gd name="T54" fmla="*/ 18 w 138"/>
                <a:gd name="T55" fmla="*/ 4 h 117"/>
                <a:gd name="T56" fmla="*/ 16 w 138"/>
                <a:gd name="T57" fmla="*/ 3 h 117"/>
                <a:gd name="T58" fmla="*/ 15 w 138"/>
                <a:gd name="T59" fmla="*/ 2 h 117"/>
                <a:gd name="T60" fmla="*/ 15 w 138"/>
                <a:gd name="T61" fmla="*/ 1 h 11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8"/>
                <a:gd name="T94" fmla="*/ 0 h 117"/>
                <a:gd name="T95" fmla="*/ 138 w 138"/>
                <a:gd name="T96" fmla="*/ 117 h 11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8" h="117">
                  <a:moveTo>
                    <a:pt x="91" y="6"/>
                  </a:moveTo>
                  <a:lnTo>
                    <a:pt x="84" y="5"/>
                  </a:lnTo>
                  <a:lnTo>
                    <a:pt x="65" y="8"/>
                  </a:lnTo>
                  <a:lnTo>
                    <a:pt x="51" y="0"/>
                  </a:lnTo>
                  <a:lnTo>
                    <a:pt x="22" y="8"/>
                  </a:lnTo>
                  <a:lnTo>
                    <a:pt x="13" y="14"/>
                  </a:lnTo>
                  <a:lnTo>
                    <a:pt x="16" y="20"/>
                  </a:lnTo>
                  <a:lnTo>
                    <a:pt x="24" y="26"/>
                  </a:lnTo>
                  <a:lnTo>
                    <a:pt x="23" y="35"/>
                  </a:lnTo>
                  <a:lnTo>
                    <a:pt x="13" y="42"/>
                  </a:lnTo>
                  <a:lnTo>
                    <a:pt x="9" y="67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8" y="86"/>
                  </a:lnTo>
                  <a:lnTo>
                    <a:pt x="36" y="84"/>
                  </a:lnTo>
                  <a:lnTo>
                    <a:pt x="30" y="89"/>
                  </a:lnTo>
                  <a:lnTo>
                    <a:pt x="8" y="99"/>
                  </a:lnTo>
                  <a:lnTo>
                    <a:pt x="7" y="117"/>
                  </a:lnTo>
                  <a:lnTo>
                    <a:pt x="15" y="113"/>
                  </a:lnTo>
                  <a:lnTo>
                    <a:pt x="20" y="105"/>
                  </a:lnTo>
                  <a:lnTo>
                    <a:pt x="71" y="63"/>
                  </a:lnTo>
                  <a:lnTo>
                    <a:pt x="116" y="61"/>
                  </a:lnTo>
                  <a:lnTo>
                    <a:pt x="122" y="64"/>
                  </a:lnTo>
                  <a:lnTo>
                    <a:pt x="134" y="60"/>
                  </a:lnTo>
                  <a:lnTo>
                    <a:pt x="138" y="54"/>
                  </a:lnTo>
                  <a:lnTo>
                    <a:pt x="138" y="45"/>
                  </a:lnTo>
                  <a:lnTo>
                    <a:pt x="130" y="45"/>
                  </a:lnTo>
                  <a:lnTo>
                    <a:pt x="104" y="35"/>
                  </a:lnTo>
                  <a:lnTo>
                    <a:pt x="92" y="23"/>
                  </a:lnTo>
                  <a:lnTo>
                    <a:pt x="90" y="13"/>
                  </a:lnTo>
                  <a:lnTo>
                    <a:pt x="91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4" name="Freeform 121"/>
            <p:cNvSpPr>
              <a:spLocks/>
            </p:cNvSpPr>
            <p:nvPr/>
          </p:nvSpPr>
          <p:spPr bwMode="auto">
            <a:xfrm>
              <a:off x="4699416" y="1078426"/>
              <a:ext cx="166543" cy="115032"/>
            </a:xfrm>
            <a:custGeom>
              <a:avLst/>
              <a:gdLst>
                <a:gd name="T0" fmla="*/ 15 w 138"/>
                <a:gd name="T1" fmla="*/ 1 h 117"/>
                <a:gd name="T2" fmla="*/ 14 w 138"/>
                <a:gd name="T3" fmla="*/ 1 h 117"/>
                <a:gd name="T4" fmla="*/ 11 w 138"/>
                <a:gd name="T5" fmla="*/ 1 h 117"/>
                <a:gd name="T6" fmla="*/ 8 w 138"/>
                <a:gd name="T7" fmla="*/ 0 h 117"/>
                <a:gd name="T8" fmla="*/ 4 w 138"/>
                <a:gd name="T9" fmla="*/ 1 h 117"/>
                <a:gd name="T10" fmla="*/ 2 w 138"/>
                <a:gd name="T11" fmla="*/ 2 h 117"/>
                <a:gd name="T12" fmla="*/ 3 w 138"/>
                <a:gd name="T13" fmla="*/ 2 h 117"/>
                <a:gd name="T14" fmla="*/ 4 w 138"/>
                <a:gd name="T15" fmla="*/ 3 h 117"/>
                <a:gd name="T16" fmla="*/ 4 w 138"/>
                <a:gd name="T17" fmla="*/ 4 h 117"/>
                <a:gd name="T18" fmla="*/ 2 w 138"/>
                <a:gd name="T19" fmla="*/ 5 h 117"/>
                <a:gd name="T20" fmla="*/ 1 w 138"/>
                <a:gd name="T21" fmla="*/ 8 h 117"/>
                <a:gd name="T22" fmla="*/ 0 w 138"/>
                <a:gd name="T23" fmla="*/ 9 h 117"/>
                <a:gd name="T24" fmla="*/ 1 w 138"/>
                <a:gd name="T25" fmla="*/ 10 h 117"/>
                <a:gd name="T26" fmla="*/ 1 w 138"/>
                <a:gd name="T27" fmla="*/ 10 h 117"/>
                <a:gd name="T28" fmla="*/ 6 w 138"/>
                <a:gd name="T29" fmla="*/ 10 h 117"/>
                <a:gd name="T30" fmla="*/ 5 w 138"/>
                <a:gd name="T31" fmla="*/ 11 h 117"/>
                <a:gd name="T32" fmla="*/ 1 w 138"/>
                <a:gd name="T33" fmla="*/ 12 h 117"/>
                <a:gd name="T34" fmla="*/ 1 w 138"/>
                <a:gd name="T35" fmla="*/ 13 h 117"/>
                <a:gd name="T36" fmla="*/ 2 w 138"/>
                <a:gd name="T37" fmla="*/ 13 h 117"/>
                <a:gd name="T38" fmla="*/ 4 w 138"/>
                <a:gd name="T39" fmla="*/ 12 h 117"/>
                <a:gd name="T40" fmla="*/ 12 w 138"/>
                <a:gd name="T41" fmla="*/ 7 h 117"/>
                <a:gd name="T42" fmla="*/ 20 w 138"/>
                <a:gd name="T43" fmla="*/ 7 h 117"/>
                <a:gd name="T44" fmla="*/ 21 w 138"/>
                <a:gd name="T45" fmla="*/ 7 h 117"/>
                <a:gd name="T46" fmla="*/ 23 w 138"/>
                <a:gd name="T47" fmla="*/ 7 h 117"/>
                <a:gd name="T48" fmla="*/ 24 w 138"/>
                <a:gd name="T49" fmla="*/ 6 h 117"/>
                <a:gd name="T50" fmla="*/ 24 w 138"/>
                <a:gd name="T51" fmla="*/ 5 h 117"/>
                <a:gd name="T52" fmla="*/ 22 w 138"/>
                <a:gd name="T53" fmla="*/ 5 h 117"/>
                <a:gd name="T54" fmla="*/ 18 w 138"/>
                <a:gd name="T55" fmla="*/ 4 h 117"/>
                <a:gd name="T56" fmla="*/ 16 w 138"/>
                <a:gd name="T57" fmla="*/ 3 h 117"/>
                <a:gd name="T58" fmla="*/ 15 w 138"/>
                <a:gd name="T59" fmla="*/ 2 h 117"/>
                <a:gd name="T60" fmla="*/ 15 w 138"/>
                <a:gd name="T61" fmla="*/ 1 h 11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8"/>
                <a:gd name="T94" fmla="*/ 0 h 117"/>
                <a:gd name="T95" fmla="*/ 138 w 138"/>
                <a:gd name="T96" fmla="*/ 117 h 11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8" h="117">
                  <a:moveTo>
                    <a:pt x="91" y="6"/>
                  </a:moveTo>
                  <a:lnTo>
                    <a:pt x="84" y="5"/>
                  </a:lnTo>
                  <a:lnTo>
                    <a:pt x="65" y="8"/>
                  </a:lnTo>
                  <a:lnTo>
                    <a:pt x="51" y="0"/>
                  </a:lnTo>
                  <a:lnTo>
                    <a:pt x="22" y="8"/>
                  </a:lnTo>
                  <a:lnTo>
                    <a:pt x="13" y="14"/>
                  </a:lnTo>
                  <a:lnTo>
                    <a:pt x="16" y="20"/>
                  </a:lnTo>
                  <a:lnTo>
                    <a:pt x="24" y="26"/>
                  </a:lnTo>
                  <a:lnTo>
                    <a:pt x="23" y="35"/>
                  </a:lnTo>
                  <a:lnTo>
                    <a:pt x="13" y="42"/>
                  </a:lnTo>
                  <a:lnTo>
                    <a:pt x="9" y="67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8" y="86"/>
                  </a:lnTo>
                  <a:lnTo>
                    <a:pt x="36" y="84"/>
                  </a:lnTo>
                  <a:lnTo>
                    <a:pt x="30" y="89"/>
                  </a:lnTo>
                  <a:lnTo>
                    <a:pt x="8" y="99"/>
                  </a:lnTo>
                  <a:lnTo>
                    <a:pt x="7" y="117"/>
                  </a:lnTo>
                  <a:lnTo>
                    <a:pt x="15" y="113"/>
                  </a:lnTo>
                  <a:lnTo>
                    <a:pt x="20" y="105"/>
                  </a:lnTo>
                  <a:lnTo>
                    <a:pt x="71" y="63"/>
                  </a:lnTo>
                  <a:lnTo>
                    <a:pt x="116" y="61"/>
                  </a:lnTo>
                  <a:lnTo>
                    <a:pt x="122" y="64"/>
                  </a:lnTo>
                  <a:lnTo>
                    <a:pt x="134" y="60"/>
                  </a:lnTo>
                  <a:lnTo>
                    <a:pt x="138" y="54"/>
                  </a:lnTo>
                  <a:lnTo>
                    <a:pt x="138" y="45"/>
                  </a:lnTo>
                  <a:lnTo>
                    <a:pt x="130" y="45"/>
                  </a:lnTo>
                  <a:lnTo>
                    <a:pt x="104" y="35"/>
                  </a:lnTo>
                  <a:lnTo>
                    <a:pt x="92" y="23"/>
                  </a:lnTo>
                  <a:lnTo>
                    <a:pt x="90" y="13"/>
                  </a:lnTo>
                  <a:lnTo>
                    <a:pt x="91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5" name="Freeform 122"/>
            <p:cNvSpPr>
              <a:spLocks/>
            </p:cNvSpPr>
            <p:nvPr/>
          </p:nvSpPr>
          <p:spPr bwMode="auto">
            <a:xfrm>
              <a:off x="4898456" y="3232501"/>
              <a:ext cx="595087" cy="491671"/>
            </a:xfrm>
            <a:custGeom>
              <a:avLst/>
              <a:gdLst>
                <a:gd name="T0" fmla="*/ 74 w 497"/>
                <a:gd name="T1" fmla="*/ 20 h 493"/>
                <a:gd name="T2" fmla="*/ 73 w 497"/>
                <a:gd name="T3" fmla="*/ 31 h 493"/>
                <a:gd name="T4" fmla="*/ 75 w 497"/>
                <a:gd name="T5" fmla="*/ 34 h 493"/>
                <a:gd name="T6" fmla="*/ 74 w 497"/>
                <a:gd name="T7" fmla="*/ 35 h 493"/>
                <a:gd name="T8" fmla="*/ 74 w 497"/>
                <a:gd name="T9" fmla="*/ 38 h 493"/>
                <a:gd name="T10" fmla="*/ 74 w 497"/>
                <a:gd name="T11" fmla="*/ 40 h 493"/>
                <a:gd name="T12" fmla="*/ 75 w 497"/>
                <a:gd name="T13" fmla="*/ 44 h 493"/>
                <a:gd name="T14" fmla="*/ 76 w 497"/>
                <a:gd name="T15" fmla="*/ 46 h 493"/>
                <a:gd name="T16" fmla="*/ 77 w 497"/>
                <a:gd name="T17" fmla="*/ 48 h 493"/>
                <a:gd name="T18" fmla="*/ 78 w 497"/>
                <a:gd name="T19" fmla="*/ 49 h 493"/>
                <a:gd name="T20" fmla="*/ 80 w 497"/>
                <a:gd name="T21" fmla="*/ 52 h 493"/>
                <a:gd name="T22" fmla="*/ 83 w 497"/>
                <a:gd name="T23" fmla="*/ 53 h 493"/>
                <a:gd name="T24" fmla="*/ 69 w 497"/>
                <a:gd name="T25" fmla="*/ 58 h 493"/>
                <a:gd name="T26" fmla="*/ 65 w 497"/>
                <a:gd name="T27" fmla="*/ 57 h 493"/>
                <a:gd name="T28" fmla="*/ 55 w 497"/>
                <a:gd name="T29" fmla="*/ 59 h 493"/>
                <a:gd name="T30" fmla="*/ 51 w 497"/>
                <a:gd name="T31" fmla="*/ 60 h 493"/>
                <a:gd name="T32" fmla="*/ 48 w 497"/>
                <a:gd name="T33" fmla="*/ 59 h 493"/>
                <a:gd name="T34" fmla="*/ 40 w 497"/>
                <a:gd name="T35" fmla="*/ 59 h 493"/>
                <a:gd name="T36" fmla="*/ 38 w 497"/>
                <a:gd name="T37" fmla="*/ 56 h 493"/>
                <a:gd name="T38" fmla="*/ 36 w 497"/>
                <a:gd name="T39" fmla="*/ 49 h 493"/>
                <a:gd name="T40" fmla="*/ 32 w 497"/>
                <a:gd name="T41" fmla="*/ 48 h 493"/>
                <a:gd name="T42" fmla="*/ 31 w 497"/>
                <a:gd name="T43" fmla="*/ 48 h 493"/>
                <a:gd name="T44" fmla="*/ 28 w 497"/>
                <a:gd name="T45" fmla="*/ 47 h 493"/>
                <a:gd name="T46" fmla="*/ 25 w 497"/>
                <a:gd name="T47" fmla="*/ 46 h 493"/>
                <a:gd name="T48" fmla="*/ 13 w 497"/>
                <a:gd name="T49" fmla="*/ 42 h 493"/>
                <a:gd name="T50" fmla="*/ 6 w 497"/>
                <a:gd name="T51" fmla="*/ 35 h 493"/>
                <a:gd name="T52" fmla="*/ 1 w 497"/>
                <a:gd name="T53" fmla="*/ 30 h 493"/>
                <a:gd name="T54" fmla="*/ 2 w 497"/>
                <a:gd name="T55" fmla="*/ 27 h 493"/>
                <a:gd name="T56" fmla="*/ 1 w 497"/>
                <a:gd name="T57" fmla="*/ 23 h 493"/>
                <a:gd name="T58" fmla="*/ 1 w 497"/>
                <a:gd name="T59" fmla="*/ 19 h 493"/>
                <a:gd name="T60" fmla="*/ 9 w 497"/>
                <a:gd name="T61" fmla="*/ 12 h 493"/>
                <a:gd name="T62" fmla="*/ 7 w 497"/>
                <a:gd name="T63" fmla="*/ 10 h 493"/>
                <a:gd name="T64" fmla="*/ 6 w 497"/>
                <a:gd name="T65" fmla="*/ 9 h 493"/>
                <a:gd name="T66" fmla="*/ 6 w 497"/>
                <a:gd name="T67" fmla="*/ 1 h 493"/>
                <a:gd name="T68" fmla="*/ 10 w 497"/>
                <a:gd name="T69" fmla="*/ 0 h 493"/>
                <a:gd name="T70" fmla="*/ 17 w 497"/>
                <a:gd name="T71" fmla="*/ 9 h 493"/>
                <a:gd name="T72" fmla="*/ 18 w 497"/>
                <a:gd name="T73" fmla="*/ 10 h 493"/>
                <a:gd name="T74" fmla="*/ 19 w 497"/>
                <a:gd name="T75" fmla="*/ 8 h 493"/>
                <a:gd name="T76" fmla="*/ 23 w 497"/>
                <a:gd name="T77" fmla="*/ 9 h 493"/>
                <a:gd name="T78" fmla="*/ 25 w 497"/>
                <a:gd name="T79" fmla="*/ 10 h 493"/>
                <a:gd name="T80" fmla="*/ 26 w 497"/>
                <a:gd name="T81" fmla="*/ 9 h 493"/>
                <a:gd name="T82" fmla="*/ 31 w 497"/>
                <a:gd name="T83" fmla="*/ 7 h 493"/>
                <a:gd name="T84" fmla="*/ 29 w 497"/>
                <a:gd name="T85" fmla="*/ 6 h 493"/>
                <a:gd name="T86" fmla="*/ 29 w 497"/>
                <a:gd name="T87" fmla="*/ 5 h 493"/>
                <a:gd name="T88" fmla="*/ 30 w 497"/>
                <a:gd name="T89" fmla="*/ 5 h 493"/>
                <a:gd name="T90" fmla="*/ 31 w 497"/>
                <a:gd name="T91" fmla="*/ 3 h 493"/>
                <a:gd name="T92" fmla="*/ 33 w 497"/>
                <a:gd name="T93" fmla="*/ 2 h 493"/>
                <a:gd name="T94" fmla="*/ 33 w 497"/>
                <a:gd name="T95" fmla="*/ 1 h 49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97"/>
                <a:gd name="T145" fmla="*/ 0 h 493"/>
                <a:gd name="T146" fmla="*/ 497 w 497"/>
                <a:gd name="T147" fmla="*/ 493 h 49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97" h="493">
                  <a:moveTo>
                    <a:pt x="369" y="94"/>
                  </a:moveTo>
                  <a:lnTo>
                    <a:pt x="379" y="129"/>
                  </a:lnTo>
                  <a:lnTo>
                    <a:pt x="443" y="168"/>
                  </a:lnTo>
                  <a:lnTo>
                    <a:pt x="421" y="234"/>
                  </a:lnTo>
                  <a:lnTo>
                    <a:pt x="423" y="249"/>
                  </a:lnTo>
                  <a:lnTo>
                    <a:pt x="437" y="258"/>
                  </a:lnTo>
                  <a:lnTo>
                    <a:pt x="442" y="265"/>
                  </a:lnTo>
                  <a:lnTo>
                    <a:pt x="449" y="271"/>
                  </a:lnTo>
                  <a:lnTo>
                    <a:pt x="454" y="281"/>
                  </a:lnTo>
                  <a:lnTo>
                    <a:pt x="454" y="285"/>
                  </a:lnTo>
                  <a:lnTo>
                    <a:pt x="452" y="286"/>
                  </a:lnTo>
                  <a:lnTo>
                    <a:pt x="448" y="292"/>
                  </a:lnTo>
                  <a:lnTo>
                    <a:pt x="445" y="308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9" y="322"/>
                  </a:lnTo>
                  <a:lnTo>
                    <a:pt x="448" y="330"/>
                  </a:lnTo>
                  <a:lnTo>
                    <a:pt x="443" y="330"/>
                  </a:lnTo>
                  <a:lnTo>
                    <a:pt x="441" y="337"/>
                  </a:lnTo>
                  <a:lnTo>
                    <a:pt x="448" y="355"/>
                  </a:lnTo>
                  <a:lnTo>
                    <a:pt x="452" y="358"/>
                  </a:lnTo>
                  <a:lnTo>
                    <a:pt x="452" y="361"/>
                  </a:lnTo>
                  <a:lnTo>
                    <a:pt x="449" y="363"/>
                  </a:lnTo>
                  <a:lnTo>
                    <a:pt x="459" y="380"/>
                  </a:lnTo>
                  <a:lnTo>
                    <a:pt x="461" y="385"/>
                  </a:lnTo>
                  <a:lnTo>
                    <a:pt x="459" y="390"/>
                  </a:lnTo>
                  <a:lnTo>
                    <a:pt x="464" y="394"/>
                  </a:lnTo>
                  <a:lnTo>
                    <a:pt x="466" y="400"/>
                  </a:lnTo>
                  <a:lnTo>
                    <a:pt x="466" y="406"/>
                  </a:lnTo>
                  <a:lnTo>
                    <a:pt x="469" y="409"/>
                  </a:lnTo>
                  <a:lnTo>
                    <a:pt x="469" y="415"/>
                  </a:lnTo>
                  <a:lnTo>
                    <a:pt x="478" y="420"/>
                  </a:lnTo>
                  <a:lnTo>
                    <a:pt x="482" y="428"/>
                  </a:lnTo>
                  <a:lnTo>
                    <a:pt x="489" y="429"/>
                  </a:lnTo>
                  <a:lnTo>
                    <a:pt x="495" y="433"/>
                  </a:lnTo>
                  <a:lnTo>
                    <a:pt x="497" y="434"/>
                  </a:lnTo>
                  <a:lnTo>
                    <a:pt x="497" y="439"/>
                  </a:lnTo>
                  <a:lnTo>
                    <a:pt x="471" y="459"/>
                  </a:lnTo>
                  <a:lnTo>
                    <a:pt x="416" y="477"/>
                  </a:lnTo>
                  <a:lnTo>
                    <a:pt x="408" y="477"/>
                  </a:lnTo>
                  <a:lnTo>
                    <a:pt x="398" y="472"/>
                  </a:lnTo>
                  <a:lnTo>
                    <a:pt x="389" y="474"/>
                  </a:lnTo>
                  <a:lnTo>
                    <a:pt x="378" y="475"/>
                  </a:lnTo>
                  <a:lnTo>
                    <a:pt x="367" y="486"/>
                  </a:lnTo>
                  <a:lnTo>
                    <a:pt x="333" y="486"/>
                  </a:lnTo>
                  <a:lnTo>
                    <a:pt x="323" y="492"/>
                  </a:lnTo>
                  <a:lnTo>
                    <a:pt x="316" y="492"/>
                  </a:lnTo>
                  <a:lnTo>
                    <a:pt x="309" y="493"/>
                  </a:lnTo>
                  <a:lnTo>
                    <a:pt x="306" y="493"/>
                  </a:lnTo>
                  <a:lnTo>
                    <a:pt x="296" y="485"/>
                  </a:lnTo>
                  <a:lnTo>
                    <a:pt x="290" y="483"/>
                  </a:lnTo>
                  <a:lnTo>
                    <a:pt x="284" y="483"/>
                  </a:lnTo>
                  <a:lnTo>
                    <a:pt x="279" y="487"/>
                  </a:lnTo>
                  <a:lnTo>
                    <a:pt x="242" y="487"/>
                  </a:lnTo>
                  <a:lnTo>
                    <a:pt x="242" y="483"/>
                  </a:lnTo>
                  <a:lnTo>
                    <a:pt x="238" y="477"/>
                  </a:lnTo>
                  <a:lnTo>
                    <a:pt x="229" y="468"/>
                  </a:lnTo>
                  <a:lnTo>
                    <a:pt x="228" y="466"/>
                  </a:lnTo>
                  <a:lnTo>
                    <a:pt x="229" y="450"/>
                  </a:lnTo>
                  <a:lnTo>
                    <a:pt x="217" y="407"/>
                  </a:lnTo>
                  <a:lnTo>
                    <a:pt x="208" y="397"/>
                  </a:lnTo>
                  <a:lnTo>
                    <a:pt x="197" y="395"/>
                  </a:lnTo>
                  <a:lnTo>
                    <a:pt x="193" y="401"/>
                  </a:lnTo>
                  <a:lnTo>
                    <a:pt x="190" y="396"/>
                  </a:lnTo>
                  <a:lnTo>
                    <a:pt x="188" y="394"/>
                  </a:lnTo>
                  <a:lnTo>
                    <a:pt x="185" y="394"/>
                  </a:lnTo>
                  <a:lnTo>
                    <a:pt x="175" y="397"/>
                  </a:lnTo>
                  <a:lnTo>
                    <a:pt x="173" y="396"/>
                  </a:lnTo>
                  <a:lnTo>
                    <a:pt x="169" y="392"/>
                  </a:lnTo>
                  <a:lnTo>
                    <a:pt x="161" y="392"/>
                  </a:lnTo>
                  <a:lnTo>
                    <a:pt x="152" y="387"/>
                  </a:lnTo>
                  <a:lnTo>
                    <a:pt x="149" y="383"/>
                  </a:lnTo>
                  <a:lnTo>
                    <a:pt x="147" y="382"/>
                  </a:lnTo>
                  <a:lnTo>
                    <a:pt x="97" y="365"/>
                  </a:lnTo>
                  <a:lnTo>
                    <a:pt x="79" y="349"/>
                  </a:lnTo>
                  <a:lnTo>
                    <a:pt x="72" y="348"/>
                  </a:lnTo>
                  <a:lnTo>
                    <a:pt x="66" y="348"/>
                  </a:lnTo>
                  <a:lnTo>
                    <a:pt x="40" y="293"/>
                  </a:lnTo>
                  <a:lnTo>
                    <a:pt x="40" y="275"/>
                  </a:lnTo>
                  <a:lnTo>
                    <a:pt x="25" y="258"/>
                  </a:lnTo>
                  <a:lnTo>
                    <a:pt x="7" y="249"/>
                  </a:lnTo>
                  <a:lnTo>
                    <a:pt x="4" y="237"/>
                  </a:lnTo>
                  <a:lnTo>
                    <a:pt x="10" y="232"/>
                  </a:lnTo>
                  <a:lnTo>
                    <a:pt x="12" y="227"/>
                  </a:lnTo>
                  <a:lnTo>
                    <a:pt x="6" y="205"/>
                  </a:lnTo>
                  <a:lnTo>
                    <a:pt x="6" y="193"/>
                  </a:lnTo>
                  <a:lnTo>
                    <a:pt x="3" y="189"/>
                  </a:lnTo>
                  <a:lnTo>
                    <a:pt x="0" y="186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3" y="149"/>
                  </a:lnTo>
                  <a:lnTo>
                    <a:pt x="53" y="101"/>
                  </a:lnTo>
                  <a:lnTo>
                    <a:pt x="53" y="95"/>
                  </a:lnTo>
                  <a:lnTo>
                    <a:pt x="51" y="90"/>
                  </a:lnTo>
                  <a:lnTo>
                    <a:pt x="48" y="87"/>
                  </a:lnTo>
                  <a:lnTo>
                    <a:pt x="43" y="86"/>
                  </a:lnTo>
                  <a:lnTo>
                    <a:pt x="39" y="83"/>
                  </a:lnTo>
                  <a:lnTo>
                    <a:pt x="39" y="75"/>
                  </a:lnTo>
                  <a:lnTo>
                    <a:pt x="40" y="69"/>
                  </a:lnTo>
                  <a:lnTo>
                    <a:pt x="54" y="53"/>
                  </a:lnTo>
                  <a:lnTo>
                    <a:pt x="57" y="44"/>
                  </a:lnTo>
                  <a:lnTo>
                    <a:pt x="36" y="2"/>
                  </a:lnTo>
                  <a:lnTo>
                    <a:pt x="55" y="4"/>
                  </a:lnTo>
                  <a:lnTo>
                    <a:pt x="60" y="2"/>
                  </a:lnTo>
                  <a:lnTo>
                    <a:pt x="60" y="0"/>
                  </a:lnTo>
                  <a:lnTo>
                    <a:pt x="98" y="1"/>
                  </a:lnTo>
                  <a:lnTo>
                    <a:pt x="94" y="51"/>
                  </a:lnTo>
                  <a:lnTo>
                    <a:pt x="97" y="69"/>
                  </a:lnTo>
                  <a:lnTo>
                    <a:pt x="97" y="75"/>
                  </a:lnTo>
                  <a:lnTo>
                    <a:pt x="101" y="83"/>
                  </a:lnTo>
                  <a:lnTo>
                    <a:pt x="108" y="80"/>
                  </a:lnTo>
                  <a:lnTo>
                    <a:pt x="111" y="73"/>
                  </a:lnTo>
                  <a:lnTo>
                    <a:pt x="116" y="72"/>
                  </a:lnTo>
                  <a:lnTo>
                    <a:pt x="115" y="65"/>
                  </a:lnTo>
                  <a:lnTo>
                    <a:pt x="119" y="60"/>
                  </a:lnTo>
                  <a:lnTo>
                    <a:pt x="136" y="75"/>
                  </a:lnTo>
                  <a:lnTo>
                    <a:pt x="141" y="72"/>
                  </a:lnTo>
                  <a:lnTo>
                    <a:pt x="145" y="72"/>
                  </a:lnTo>
                  <a:lnTo>
                    <a:pt x="147" y="90"/>
                  </a:lnTo>
                  <a:lnTo>
                    <a:pt x="152" y="85"/>
                  </a:lnTo>
                  <a:lnTo>
                    <a:pt x="152" y="79"/>
                  </a:lnTo>
                  <a:lnTo>
                    <a:pt x="154" y="70"/>
                  </a:lnTo>
                  <a:lnTo>
                    <a:pt x="157" y="69"/>
                  </a:lnTo>
                  <a:lnTo>
                    <a:pt x="172" y="69"/>
                  </a:lnTo>
                  <a:lnTo>
                    <a:pt x="179" y="66"/>
                  </a:lnTo>
                  <a:lnTo>
                    <a:pt x="187" y="60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74" y="55"/>
                  </a:lnTo>
                  <a:lnTo>
                    <a:pt x="166" y="52"/>
                  </a:lnTo>
                  <a:lnTo>
                    <a:pt x="168" y="49"/>
                  </a:lnTo>
                  <a:lnTo>
                    <a:pt x="177" y="43"/>
                  </a:lnTo>
                  <a:lnTo>
                    <a:pt x="174" y="40"/>
                  </a:lnTo>
                  <a:lnTo>
                    <a:pt x="177" y="38"/>
                  </a:lnTo>
                  <a:lnTo>
                    <a:pt x="182" y="38"/>
                  </a:lnTo>
                  <a:lnTo>
                    <a:pt x="183" y="35"/>
                  </a:lnTo>
                  <a:lnTo>
                    <a:pt x="188" y="29"/>
                  </a:lnTo>
                  <a:lnTo>
                    <a:pt x="188" y="25"/>
                  </a:lnTo>
                  <a:lnTo>
                    <a:pt x="192" y="24"/>
                  </a:lnTo>
                  <a:lnTo>
                    <a:pt x="194" y="17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197" y="9"/>
                  </a:lnTo>
                  <a:lnTo>
                    <a:pt x="199" y="4"/>
                  </a:lnTo>
                  <a:lnTo>
                    <a:pt x="209" y="0"/>
                  </a:lnTo>
                  <a:lnTo>
                    <a:pt x="369" y="9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6" name="Freeform 123"/>
            <p:cNvSpPr>
              <a:spLocks/>
            </p:cNvSpPr>
            <p:nvPr/>
          </p:nvSpPr>
          <p:spPr bwMode="auto">
            <a:xfrm>
              <a:off x="4898456" y="3232501"/>
              <a:ext cx="595087" cy="491671"/>
            </a:xfrm>
            <a:custGeom>
              <a:avLst/>
              <a:gdLst>
                <a:gd name="T0" fmla="*/ 74 w 497"/>
                <a:gd name="T1" fmla="*/ 20 h 493"/>
                <a:gd name="T2" fmla="*/ 73 w 497"/>
                <a:gd name="T3" fmla="*/ 31 h 493"/>
                <a:gd name="T4" fmla="*/ 75 w 497"/>
                <a:gd name="T5" fmla="*/ 34 h 493"/>
                <a:gd name="T6" fmla="*/ 74 w 497"/>
                <a:gd name="T7" fmla="*/ 35 h 493"/>
                <a:gd name="T8" fmla="*/ 74 w 497"/>
                <a:gd name="T9" fmla="*/ 38 h 493"/>
                <a:gd name="T10" fmla="*/ 74 w 497"/>
                <a:gd name="T11" fmla="*/ 40 h 493"/>
                <a:gd name="T12" fmla="*/ 75 w 497"/>
                <a:gd name="T13" fmla="*/ 44 h 493"/>
                <a:gd name="T14" fmla="*/ 76 w 497"/>
                <a:gd name="T15" fmla="*/ 46 h 493"/>
                <a:gd name="T16" fmla="*/ 77 w 497"/>
                <a:gd name="T17" fmla="*/ 48 h 493"/>
                <a:gd name="T18" fmla="*/ 78 w 497"/>
                <a:gd name="T19" fmla="*/ 49 h 493"/>
                <a:gd name="T20" fmla="*/ 80 w 497"/>
                <a:gd name="T21" fmla="*/ 52 h 493"/>
                <a:gd name="T22" fmla="*/ 83 w 497"/>
                <a:gd name="T23" fmla="*/ 53 h 493"/>
                <a:gd name="T24" fmla="*/ 69 w 497"/>
                <a:gd name="T25" fmla="*/ 58 h 493"/>
                <a:gd name="T26" fmla="*/ 65 w 497"/>
                <a:gd name="T27" fmla="*/ 57 h 493"/>
                <a:gd name="T28" fmla="*/ 55 w 497"/>
                <a:gd name="T29" fmla="*/ 59 h 493"/>
                <a:gd name="T30" fmla="*/ 51 w 497"/>
                <a:gd name="T31" fmla="*/ 60 h 493"/>
                <a:gd name="T32" fmla="*/ 48 w 497"/>
                <a:gd name="T33" fmla="*/ 59 h 493"/>
                <a:gd name="T34" fmla="*/ 40 w 497"/>
                <a:gd name="T35" fmla="*/ 59 h 493"/>
                <a:gd name="T36" fmla="*/ 38 w 497"/>
                <a:gd name="T37" fmla="*/ 56 h 493"/>
                <a:gd name="T38" fmla="*/ 36 w 497"/>
                <a:gd name="T39" fmla="*/ 49 h 493"/>
                <a:gd name="T40" fmla="*/ 32 w 497"/>
                <a:gd name="T41" fmla="*/ 48 h 493"/>
                <a:gd name="T42" fmla="*/ 31 w 497"/>
                <a:gd name="T43" fmla="*/ 48 h 493"/>
                <a:gd name="T44" fmla="*/ 28 w 497"/>
                <a:gd name="T45" fmla="*/ 47 h 493"/>
                <a:gd name="T46" fmla="*/ 25 w 497"/>
                <a:gd name="T47" fmla="*/ 46 h 493"/>
                <a:gd name="T48" fmla="*/ 13 w 497"/>
                <a:gd name="T49" fmla="*/ 42 h 493"/>
                <a:gd name="T50" fmla="*/ 6 w 497"/>
                <a:gd name="T51" fmla="*/ 35 h 493"/>
                <a:gd name="T52" fmla="*/ 1 w 497"/>
                <a:gd name="T53" fmla="*/ 30 h 493"/>
                <a:gd name="T54" fmla="*/ 2 w 497"/>
                <a:gd name="T55" fmla="*/ 27 h 493"/>
                <a:gd name="T56" fmla="*/ 1 w 497"/>
                <a:gd name="T57" fmla="*/ 23 h 493"/>
                <a:gd name="T58" fmla="*/ 1 w 497"/>
                <a:gd name="T59" fmla="*/ 19 h 493"/>
                <a:gd name="T60" fmla="*/ 9 w 497"/>
                <a:gd name="T61" fmla="*/ 12 h 493"/>
                <a:gd name="T62" fmla="*/ 7 w 497"/>
                <a:gd name="T63" fmla="*/ 10 h 493"/>
                <a:gd name="T64" fmla="*/ 6 w 497"/>
                <a:gd name="T65" fmla="*/ 9 h 493"/>
                <a:gd name="T66" fmla="*/ 6 w 497"/>
                <a:gd name="T67" fmla="*/ 1 h 493"/>
                <a:gd name="T68" fmla="*/ 10 w 497"/>
                <a:gd name="T69" fmla="*/ 0 h 493"/>
                <a:gd name="T70" fmla="*/ 17 w 497"/>
                <a:gd name="T71" fmla="*/ 9 h 493"/>
                <a:gd name="T72" fmla="*/ 18 w 497"/>
                <a:gd name="T73" fmla="*/ 10 h 493"/>
                <a:gd name="T74" fmla="*/ 19 w 497"/>
                <a:gd name="T75" fmla="*/ 8 h 493"/>
                <a:gd name="T76" fmla="*/ 23 w 497"/>
                <a:gd name="T77" fmla="*/ 9 h 493"/>
                <a:gd name="T78" fmla="*/ 25 w 497"/>
                <a:gd name="T79" fmla="*/ 10 h 493"/>
                <a:gd name="T80" fmla="*/ 26 w 497"/>
                <a:gd name="T81" fmla="*/ 9 h 493"/>
                <a:gd name="T82" fmla="*/ 31 w 497"/>
                <a:gd name="T83" fmla="*/ 7 h 493"/>
                <a:gd name="T84" fmla="*/ 29 w 497"/>
                <a:gd name="T85" fmla="*/ 6 h 493"/>
                <a:gd name="T86" fmla="*/ 29 w 497"/>
                <a:gd name="T87" fmla="*/ 5 h 493"/>
                <a:gd name="T88" fmla="*/ 30 w 497"/>
                <a:gd name="T89" fmla="*/ 5 h 493"/>
                <a:gd name="T90" fmla="*/ 31 w 497"/>
                <a:gd name="T91" fmla="*/ 3 h 493"/>
                <a:gd name="T92" fmla="*/ 33 w 497"/>
                <a:gd name="T93" fmla="*/ 2 h 493"/>
                <a:gd name="T94" fmla="*/ 33 w 497"/>
                <a:gd name="T95" fmla="*/ 1 h 49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97"/>
                <a:gd name="T145" fmla="*/ 0 h 493"/>
                <a:gd name="T146" fmla="*/ 497 w 497"/>
                <a:gd name="T147" fmla="*/ 493 h 49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97" h="493">
                  <a:moveTo>
                    <a:pt x="369" y="94"/>
                  </a:moveTo>
                  <a:lnTo>
                    <a:pt x="379" y="129"/>
                  </a:lnTo>
                  <a:lnTo>
                    <a:pt x="443" y="168"/>
                  </a:lnTo>
                  <a:lnTo>
                    <a:pt x="421" y="234"/>
                  </a:lnTo>
                  <a:lnTo>
                    <a:pt x="423" y="249"/>
                  </a:lnTo>
                  <a:lnTo>
                    <a:pt x="437" y="258"/>
                  </a:lnTo>
                  <a:lnTo>
                    <a:pt x="442" y="265"/>
                  </a:lnTo>
                  <a:lnTo>
                    <a:pt x="449" y="271"/>
                  </a:lnTo>
                  <a:lnTo>
                    <a:pt x="454" y="281"/>
                  </a:lnTo>
                  <a:lnTo>
                    <a:pt x="454" y="285"/>
                  </a:lnTo>
                  <a:lnTo>
                    <a:pt x="452" y="286"/>
                  </a:lnTo>
                  <a:lnTo>
                    <a:pt x="448" y="292"/>
                  </a:lnTo>
                  <a:lnTo>
                    <a:pt x="445" y="308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9" y="322"/>
                  </a:lnTo>
                  <a:lnTo>
                    <a:pt x="448" y="330"/>
                  </a:lnTo>
                  <a:lnTo>
                    <a:pt x="443" y="330"/>
                  </a:lnTo>
                  <a:lnTo>
                    <a:pt x="441" y="337"/>
                  </a:lnTo>
                  <a:lnTo>
                    <a:pt x="448" y="355"/>
                  </a:lnTo>
                  <a:lnTo>
                    <a:pt x="452" y="358"/>
                  </a:lnTo>
                  <a:lnTo>
                    <a:pt x="452" y="361"/>
                  </a:lnTo>
                  <a:lnTo>
                    <a:pt x="449" y="363"/>
                  </a:lnTo>
                  <a:lnTo>
                    <a:pt x="459" y="380"/>
                  </a:lnTo>
                  <a:lnTo>
                    <a:pt x="461" y="385"/>
                  </a:lnTo>
                  <a:lnTo>
                    <a:pt x="459" y="390"/>
                  </a:lnTo>
                  <a:lnTo>
                    <a:pt x="464" y="394"/>
                  </a:lnTo>
                  <a:lnTo>
                    <a:pt x="466" y="400"/>
                  </a:lnTo>
                  <a:lnTo>
                    <a:pt x="466" y="406"/>
                  </a:lnTo>
                  <a:lnTo>
                    <a:pt x="469" y="409"/>
                  </a:lnTo>
                  <a:lnTo>
                    <a:pt x="469" y="415"/>
                  </a:lnTo>
                  <a:lnTo>
                    <a:pt x="478" y="420"/>
                  </a:lnTo>
                  <a:lnTo>
                    <a:pt x="482" y="428"/>
                  </a:lnTo>
                  <a:lnTo>
                    <a:pt x="489" y="429"/>
                  </a:lnTo>
                  <a:lnTo>
                    <a:pt x="495" y="433"/>
                  </a:lnTo>
                  <a:lnTo>
                    <a:pt x="497" y="434"/>
                  </a:lnTo>
                  <a:lnTo>
                    <a:pt x="497" y="439"/>
                  </a:lnTo>
                  <a:lnTo>
                    <a:pt x="471" y="459"/>
                  </a:lnTo>
                  <a:lnTo>
                    <a:pt x="416" y="477"/>
                  </a:lnTo>
                  <a:lnTo>
                    <a:pt x="408" y="477"/>
                  </a:lnTo>
                  <a:lnTo>
                    <a:pt x="398" y="472"/>
                  </a:lnTo>
                  <a:lnTo>
                    <a:pt x="389" y="474"/>
                  </a:lnTo>
                  <a:lnTo>
                    <a:pt x="378" y="475"/>
                  </a:lnTo>
                  <a:lnTo>
                    <a:pt x="367" y="486"/>
                  </a:lnTo>
                  <a:lnTo>
                    <a:pt x="333" y="486"/>
                  </a:lnTo>
                  <a:lnTo>
                    <a:pt x="323" y="492"/>
                  </a:lnTo>
                  <a:lnTo>
                    <a:pt x="316" y="492"/>
                  </a:lnTo>
                  <a:lnTo>
                    <a:pt x="309" y="493"/>
                  </a:lnTo>
                  <a:lnTo>
                    <a:pt x="306" y="493"/>
                  </a:lnTo>
                  <a:lnTo>
                    <a:pt x="296" y="485"/>
                  </a:lnTo>
                  <a:lnTo>
                    <a:pt x="290" y="483"/>
                  </a:lnTo>
                  <a:lnTo>
                    <a:pt x="284" y="483"/>
                  </a:lnTo>
                  <a:lnTo>
                    <a:pt x="279" y="487"/>
                  </a:lnTo>
                  <a:lnTo>
                    <a:pt x="242" y="487"/>
                  </a:lnTo>
                  <a:lnTo>
                    <a:pt x="242" y="483"/>
                  </a:lnTo>
                  <a:lnTo>
                    <a:pt x="238" y="477"/>
                  </a:lnTo>
                  <a:lnTo>
                    <a:pt x="229" y="468"/>
                  </a:lnTo>
                  <a:lnTo>
                    <a:pt x="228" y="466"/>
                  </a:lnTo>
                  <a:lnTo>
                    <a:pt x="229" y="450"/>
                  </a:lnTo>
                  <a:lnTo>
                    <a:pt x="217" y="407"/>
                  </a:lnTo>
                  <a:lnTo>
                    <a:pt x="208" y="397"/>
                  </a:lnTo>
                  <a:lnTo>
                    <a:pt x="197" y="395"/>
                  </a:lnTo>
                  <a:lnTo>
                    <a:pt x="193" y="401"/>
                  </a:lnTo>
                  <a:lnTo>
                    <a:pt x="190" y="396"/>
                  </a:lnTo>
                  <a:lnTo>
                    <a:pt x="188" y="394"/>
                  </a:lnTo>
                  <a:lnTo>
                    <a:pt x="185" y="394"/>
                  </a:lnTo>
                  <a:lnTo>
                    <a:pt x="175" y="397"/>
                  </a:lnTo>
                  <a:lnTo>
                    <a:pt x="173" y="396"/>
                  </a:lnTo>
                  <a:lnTo>
                    <a:pt x="169" y="392"/>
                  </a:lnTo>
                  <a:lnTo>
                    <a:pt x="161" y="392"/>
                  </a:lnTo>
                  <a:lnTo>
                    <a:pt x="152" y="387"/>
                  </a:lnTo>
                  <a:lnTo>
                    <a:pt x="149" y="383"/>
                  </a:lnTo>
                  <a:lnTo>
                    <a:pt x="147" y="382"/>
                  </a:lnTo>
                  <a:lnTo>
                    <a:pt x="97" y="365"/>
                  </a:lnTo>
                  <a:lnTo>
                    <a:pt x="79" y="349"/>
                  </a:lnTo>
                  <a:lnTo>
                    <a:pt x="72" y="348"/>
                  </a:lnTo>
                  <a:lnTo>
                    <a:pt x="66" y="348"/>
                  </a:lnTo>
                  <a:lnTo>
                    <a:pt x="40" y="293"/>
                  </a:lnTo>
                  <a:lnTo>
                    <a:pt x="40" y="275"/>
                  </a:lnTo>
                  <a:lnTo>
                    <a:pt x="25" y="258"/>
                  </a:lnTo>
                  <a:lnTo>
                    <a:pt x="7" y="249"/>
                  </a:lnTo>
                  <a:lnTo>
                    <a:pt x="4" y="237"/>
                  </a:lnTo>
                  <a:lnTo>
                    <a:pt x="10" y="232"/>
                  </a:lnTo>
                  <a:lnTo>
                    <a:pt x="12" y="227"/>
                  </a:lnTo>
                  <a:lnTo>
                    <a:pt x="6" y="205"/>
                  </a:lnTo>
                  <a:lnTo>
                    <a:pt x="6" y="193"/>
                  </a:lnTo>
                  <a:lnTo>
                    <a:pt x="3" y="189"/>
                  </a:lnTo>
                  <a:lnTo>
                    <a:pt x="0" y="186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3" y="149"/>
                  </a:lnTo>
                  <a:lnTo>
                    <a:pt x="53" y="101"/>
                  </a:lnTo>
                  <a:lnTo>
                    <a:pt x="53" y="95"/>
                  </a:lnTo>
                  <a:lnTo>
                    <a:pt x="51" y="90"/>
                  </a:lnTo>
                  <a:lnTo>
                    <a:pt x="48" y="87"/>
                  </a:lnTo>
                  <a:lnTo>
                    <a:pt x="43" y="86"/>
                  </a:lnTo>
                  <a:lnTo>
                    <a:pt x="39" y="83"/>
                  </a:lnTo>
                  <a:lnTo>
                    <a:pt x="39" y="75"/>
                  </a:lnTo>
                  <a:lnTo>
                    <a:pt x="40" y="69"/>
                  </a:lnTo>
                  <a:lnTo>
                    <a:pt x="54" y="53"/>
                  </a:lnTo>
                  <a:lnTo>
                    <a:pt x="57" y="44"/>
                  </a:lnTo>
                  <a:lnTo>
                    <a:pt x="36" y="2"/>
                  </a:lnTo>
                  <a:lnTo>
                    <a:pt x="55" y="4"/>
                  </a:lnTo>
                  <a:lnTo>
                    <a:pt x="60" y="2"/>
                  </a:lnTo>
                  <a:lnTo>
                    <a:pt x="60" y="0"/>
                  </a:lnTo>
                  <a:lnTo>
                    <a:pt x="98" y="1"/>
                  </a:lnTo>
                  <a:lnTo>
                    <a:pt x="94" y="51"/>
                  </a:lnTo>
                  <a:lnTo>
                    <a:pt x="97" y="69"/>
                  </a:lnTo>
                  <a:lnTo>
                    <a:pt x="97" y="75"/>
                  </a:lnTo>
                  <a:lnTo>
                    <a:pt x="101" y="83"/>
                  </a:lnTo>
                  <a:lnTo>
                    <a:pt x="108" y="80"/>
                  </a:lnTo>
                  <a:lnTo>
                    <a:pt x="111" y="73"/>
                  </a:lnTo>
                  <a:lnTo>
                    <a:pt x="116" y="72"/>
                  </a:lnTo>
                  <a:lnTo>
                    <a:pt x="115" y="65"/>
                  </a:lnTo>
                  <a:lnTo>
                    <a:pt x="119" y="60"/>
                  </a:lnTo>
                  <a:lnTo>
                    <a:pt x="136" y="75"/>
                  </a:lnTo>
                  <a:lnTo>
                    <a:pt x="141" y="72"/>
                  </a:lnTo>
                  <a:lnTo>
                    <a:pt x="145" y="72"/>
                  </a:lnTo>
                  <a:lnTo>
                    <a:pt x="147" y="90"/>
                  </a:lnTo>
                  <a:lnTo>
                    <a:pt x="152" y="85"/>
                  </a:lnTo>
                  <a:lnTo>
                    <a:pt x="152" y="79"/>
                  </a:lnTo>
                  <a:lnTo>
                    <a:pt x="154" y="70"/>
                  </a:lnTo>
                  <a:lnTo>
                    <a:pt x="157" y="69"/>
                  </a:lnTo>
                  <a:lnTo>
                    <a:pt x="172" y="69"/>
                  </a:lnTo>
                  <a:lnTo>
                    <a:pt x="179" y="66"/>
                  </a:lnTo>
                  <a:lnTo>
                    <a:pt x="187" y="60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74" y="55"/>
                  </a:lnTo>
                  <a:lnTo>
                    <a:pt x="166" y="52"/>
                  </a:lnTo>
                  <a:lnTo>
                    <a:pt x="168" y="49"/>
                  </a:lnTo>
                  <a:lnTo>
                    <a:pt x="177" y="43"/>
                  </a:lnTo>
                  <a:lnTo>
                    <a:pt x="174" y="40"/>
                  </a:lnTo>
                  <a:lnTo>
                    <a:pt x="177" y="38"/>
                  </a:lnTo>
                  <a:lnTo>
                    <a:pt x="182" y="38"/>
                  </a:lnTo>
                  <a:lnTo>
                    <a:pt x="183" y="35"/>
                  </a:lnTo>
                  <a:lnTo>
                    <a:pt x="188" y="29"/>
                  </a:lnTo>
                  <a:lnTo>
                    <a:pt x="188" y="25"/>
                  </a:lnTo>
                  <a:lnTo>
                    <a:pt x="192" y="24"/>
                  </a:lnTo>
                  <a:lnTo>
                    <a:pt x="194" y="17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197" y="9"/>
                  </a:lnTo>
                  <a:lnTo>
                    <a:pt x="199" y="4"/>
                  </a:lnTo>
                  <a:lnTo>
                    <a:pt x="209" y="0"/>
                  </a:lnTo>
                  <a:lnTo>
                    <a:pt x="369" y="9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7" name="Freeform 125"/>
            <p:cNvSpPr>
              <a:spLocks/>
            </p:cNvSpPr>
            <p:nvPr/>
          </p:nvSpPr>
          <p:spPr bwMode="auto">
            <a:xfrm>
              <a:off x="2532320" y="2731552"/>
              <a:ext cx="172636" cy="137297"/>
            </a:xfrm>
            <a:custGeom>
              <a:avLst/>
              <a:gdLst>
                <a:gd name="T0" fmla="*/ 1 w 139"/>
                <a:gd name="T1" fmla="*/ 5 h 139"/>
                <a:gd name="T2" fmla="*/ 3 w 139"/>
                <a:gd name="T3" fmla="*/ 5 h 139"/>
                <a:gd name="T4" fmla="*/ 4 w 139"/>
                <a:gd name="T5" fmla="*/ 4 h 139"/>
                <a:gd name="T6" fmla="*/ 5 w 139"/>
                <a:gd name="T7" fmla="*/ 3 h 139"/>
                <a:gd name="T8" fmla="*/ 7 w 139"/>
                <a:gd name="T9" fmla="*/ 2 h 139"/>
                <a:gd name="T10" fmla="*/ 8 w 139"/>
                <a:gd name="T11" fmla="*/ 1 h 139"/>
                <a:gd name="T12" fmla="*/ 10 w 139"/>
                <a:gd name="T13" fmla="*/ 1 h 139"/>
                <a:gd name="T14" fmla="*/ 12 w 139"/>
                <a:gd name="T15" fmla="*/ 0 h 139"/>
                <a:gd name="T16" fmla="*/ 19 w 139"/>
                <a:gd name="T17" fmla="*/ 1 h 139"/>
                <a:gd name="T18" fmla="*/ 21 w 139"/>
                <a:gd name="T19" fmla="*/ 2 h 139"/>
                <a:gd name="T20" fmla="*/ 21 w 139"/>
                <a:gd name="T21" fmla="*/ 3 h 139"/>
                <a:gd name="T22" fmla="*/ 21 w 139"/>
                <a:gd name="T23" fmla="*/ 3 h 139"/>
                <a:gd name="T24" fmla="*/ 23 w 139"/>
                <a:gd name="T25" fmla="*/ 3 h 139"/>
                <a:gd name="T26" fmla="*/ 23 w 139"/>
                <a:gd name="T27" fmla="*/ 4 h 139"/>
                <a:gd name="T28" fmla="*/ 23 w 139"/>
                <a:gd name="T29" fmla="*/ 5 h 139"/>
                <a:gd name="T30" fmla="*/ 23 w 139"/>
                <a:gd name="T31" fmla="*/ 5 h 139"/>
                <a:gd name="T32" fmla="*/ 24 w 139"/>
                <a:gd name="T33" fmla="*/ 6 h 139"/>
                <a:gd name="T34" fmla="*/ 25 w 139"/>
                <a:gd name="T35" fmla="*/ 7 h 139"/>
                <a:gd name="T36" fmla="*/ 24 w 139"/>
                <a:gd name="T37" fmla="*/ 7 h 139"/>
                <a:gd name="T38" fmla="*/ 23 w 139"/>
                <a:gd name="T39" fmla="*/ 9 h 139"/>
                <a:gd name="T40" fmla="*/ 26 w 139"/>
                <a:gd name="T41" fmla="*/ 8 h 139"/>
                <a:gd name="T42" fmla="*/ 26 w 139"/>
                <a:gd name="T43" fmla="*/ 9 h 139"/>
                <a:gd name="T44" fmla="*/ 27 w 139"/>
                <a:gd name="T45" fmla="*/ 10 h 139"/>
                <a:gd name="T46" fmla="*/ 25 w 139"/>
                <a:gd name="T47" fmla="*/ 10 h 139"/>
                <a:gd name="T48" fmla="*/ 24 w 139"/>
                <a:gd name="T49" fmla="*/ 11 h 139"/>
                <a:gd name="T50" fmla="*/ 24 w 139"/>
                <a:gd name="T51" fmla="*/ 12 h 139"/>
                <a:gd name="T52" fmla="*/ 23 w 139"/>
                <a:gd name="T53" fmla="*/ 13 h 139"/>
                <a:gd name="T54" fmla="*/ 21 w 139"/>
                <a:gd name="T55" fmla="*/ 13 h 139"/>
                <a:gd name="T56" fmla="*/ 18 w 139"/>
                <a:gd name="T57" fmla="*/ 15 h 139"/>
                <a:gd name="T58" fmla="*/ 18 w 139"/>
                <a:gd name="T59" fmla="*/ 15 h 139"/>
                <a:gd name="T60" fmla="*/ 17 w 139"/>
                <a:gd name="T61" fmla="*/ 16 h 139"/>
                <a:gd name="T62" fmla="*/ 17 w 139"/>
                <a:gd name="T63" fmla="*/ 16 h 139"/>
                <a:gd name="T64" fmla="*/ 8 w 139"/>
                <a:gd name="T65" fmla="*/ 14 h 139"/>
                <a:gd name="T66" fmla="*/ 4 w 139"/>
                <a:gd name="T67" fmla="*/ 12 h 139"/>
                <a:gd name="T68" fmla="*/ 4 w 139"/>
                <a:gd name="T69" fmla="*/ 11 h 139"/>
                <a:gd name="T70" fmla="*/ 2 w 139"/>
                <a:gd name="T71" fmla="*/ 10 h 139"/>
                <a:gd name="T72" fmla="*/ 1 w 139"/>
                <a:gd name="T73" fmla="*/ 9 h 139"/>
                <a:gd name="T74" fmla="*/ 1 w 139"/>
                <a:gd name="T75" fmla="*/ 9 h 139"/>
                <a:gd name="T76" fmla="*/ 2 w 139"/>
                <a:gd name="T77" fmla="*/ 9 h 139"/>
                <a:gd name="T78" fmla="*/ 2 w 139"/>
                <a:gd name="T79" fmla="*/ 8 h 139"/>
                <a:gd name="T80" fmla="*/ 1 w 139"/>
                <a:gd name="T81" fmla="*/ 7 h 139"/>
                <a:gd name="T82" fmla="*/ 1 w 139"/>
                <a:gd name="T83" fmla="*/ 6 h 139"/>
                <a:gd name="T84" fmla="*/ 0 w 139"/>
                <a:gd name="T85" fmla="*/ 6 h 139"/>
                <a:gd name="T86" fmla="*/ 1 w 139"/>
                <a:gd name="T87" fmla="*/ 5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9"/>
                <a:gd name="T133" fmla="*/ 0 h 139"/>
                <a:gd name="T134" fmla="*/ 139 w 139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9" h="139">
                  <a:moveTo>
                    <a:pt x="2" y="42"/>
                  </a:moveTo>
                  <a:lnTo>
                    <a:pt x="7" y="44"/>
                  </a:lnTo>
                  <a:lnTo>
                    <a:pt x="14" y="43"/>
                  </a:lnTo>
                  <a:lnTo>
                    <a:pt x="16" y="41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6" y="31"/>
                  </a:lnTo>
                  <a:lnTo>
                    <a:pt x="26" y="27"/>
                  </a:lnTo>
                  <a:lnTo>
                    <a:pt x="31" y="25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0" y="6"/>
                  </a:lnTo>
                  <a:lnTo>
                    <a:pt x="48" y="5"/>
                  </a:lnTo>
                  <a:lnTo>
                    <a:pt x="51" y="7"/>
                  </a:lnTo>
                  <a:lnTo>
                    <a:pt x="63" y="5"/>
                  </a:lnTo>
                  <a:lnTo>
                    <a:pt x="64" y="0"/>
                  </a:lnTo>
                  <a:lnTo>
                    <a:pt x="96" y="2"/>
                  </a:lnTo>
                  <a:lnTo>
                    <a:pt x="99" y="8"/>
                  </a:lnTo>
                  <a:lnTo>
                    <a:pt x="104" y="10"/>
                  </a:lnTo>
                  <a:lnTo>
                    <a:pt x="107" y="15"/>
                  </a:lnTo>
                  <a:lnTo>
                    <a:pt x="111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9" y="29"/>
                  </a:lnTo>
                  <a:lnTo>
                    <a:pt x="121" y="30"/>
                  </a:lnTo>
                  <a:lnTo>
                    <a:pt x="121" y="32"/>
                  </a:lnTo>
                  <a:lnTo>
                    <a:pt x="120" y="35"/>
                  </a:lnTo>
                  <a:lnTo>
                    <a:pt x="121" y="38"/>
                  </a:lnTo>
                  <a:lnTo>
                    <a:pt x="120" y="39"/>
                  </a:lnTo>
                  <a:lnTo>
                    <a:pt x="121" y="43"/>
                  </a:lnTo>
                  <a:lnTo>
                    <a:pt x="122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9" y="59"/>
                  </a:lnTo>
                  <a:lnTo>
                    <a:pt x="128" y="60"/>
                  </a:lnTo>
                  <a:lnTo>
                    <a:pt x="124" y="61"/>
                  </a:lnTo>
                  <a:lnTo>
                    <a:pt x="120" y="76"/>
                  </a:lnTo>
                  <a:lnTo>
                    <a:pt x="120" y="78"/>
                  </a:lnTo>
                  <a:lnTo>
                    <a:pt x="130" y="74"/>
                  </a:lnTo>
                  <a:lnTo>
                    <a:pt x="135" y="70"/>
                  </a:lnTo>
                  <a:lnTo>
                    <a:pt x="136" y="70"/>
                  </a:lnTo>
                  <a:lnTo>
                    <a:pt x="137" y="72"/>
                  </a:lnTo>
                  <a:lnTo>
                    <a:pt x="136" y="79"/>
                  </a:lnTo>
                  <a:lnTo>
                    <a:pt x="139" y="82"/>
                  </a:lnTo>
                  <a:lnTo>
                    <a:pt x="139" y="83"/>
                  </a:lnTo>
                  <a:lnTo>
                    <a:pt x="131" y="84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5" y="104"/>
                  </a:lnTo>
                  <a:lnTo>
                    <a:pt x="122" y="104"/>
                  </a:lnTo>
                  <a:lnTo>
                    <a:pt x="120" y="108"/>
                  </a:lnTo>
                  <a:lnTo>
                    <a:pt x="117" y="109"/>
                  </a:lnTo>
                  <a:lnTo>
                    <a:pt x="114" y="114"/>
                  </a:lnTo>
                  <a:lnTo>
                    <a:pt x="109" y="115"/>
                  </a:lnTo>
                  <a:lnTo>
                    <a:pt x="98" y="125"/>
                  </a:lnTo>
                  <a:lnTo>
                    <a:pt x="94" y="125"/>
                  </a:lnTo>
                  <a:lnTo>
                    <a:pt x="93" y="127"/>
                  </a:lnTo>
                  <a:lnTo>
                    <a:pt x="93" y="131"/>
                  </a:lnTo>
                  <a:lnTo>
                    <a:pt x="91" y="132"/>
                  </a:lnTo>
                  <a:lnTo>
                    <a:pt x="90" y="137"/>
                  </a:lnTo>
                  <a:lnTo>
                    <a:pt x="86" y="139"/>
                  </a:lnTo>
                  <a:lnTo>
                    <a:pt x="85" y="139"/>
                  </a:lnTo>
                  <a:lnTo>
                    <a:pt x="43" y="122"/>
                  </a:lnTo>
                  <a:lnTo>
                    <a:pt x="42" y="117"/>
                  </a:lnTo>
                  <a:lnTo>
                    <a:pt x="39" y="113"/>
                  </a:lnTo>
                  <a:lnTo>
                    <a:pt x="19" y="100"/>
                  </a:lnTo>
                  <a:lnTo>
                    <a:pt x="20" y="94"/>
                  </a:lnTo>
                  <a:lnTo>
                    <a:pt x="18" y="92"/>
                  </a:lnTo>
                  <a:lnTo>
                    <a:pt x="18" y="89"/>
                  </a:lnTo>
                  <a:lnTo>
                    <a:pt x="14" y="86"/>
                  </a:lnTo>
                  <a:lnTo>
                    <a:pt x="8" y="85"/>
                  </a:lnTo>
                  <a:lnTo>
                    <a:pt x="4" y="78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9" y="70"/>
                  </a:lnTo>
                  <a:lnTo>
                    <a:pt x="6" y="69"/>
                  </a:lnTo>
                  <a:lnTo>
                    <a:pt x="4" y="66"/>
                  </a:lnTo>
                  <a:lnTo>
                    <a:pt x="5" y="60"/>
                  </a:lnTo>
                  <a:lnTo>
                    <a:pt x="4" y="55"/>
                  </a:lnTo>
                  <a:lnTo>
                    <a:pt x="3" y="53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8" name="Freeform 126"/>
            <p:cNvSpPr>
              <a:spLocks/>
            </p:cNvSpPr>
            <p:nvPr/>
          </p:nvSpPr>
          <p:spPr bwMode="auto">
            <a:xfrm>
              <a:off x="2532320" y="2731552"/>
              <a:ext cx="172636" cy="137297"/>
            </a:xfrm>
            <a:custGeom>
              <a:avLst/>
              <a:gdLst>
                <a:gd name="T0" fmla="*/ 1 w 139"/>
                <a:gd name="T1" fmla="*/ 5 h 139"/>
                <a:gd name="T2" fmla="*/ 3 w 139"/>
                <a:gd name="T3" fmla="*/ 5 h 139"/>
                <a:gd name="T4" fmla="*/ 4 w 139"/>
                <a:gd name="T5" fmla="*/ 4 h 139"/>
                <a:gd name="T6" fmla="*/ 5 w 139"/>
                <a:gd name="T7" fmla="*/ 3 h 139"/>
                <a:gd name="T8" fmla="*/ 7 w 139"/>
                <a:gd name="T9" fmla="*/ 2 h 139"/>
                <a:gd name="T10" fmla="*/ 8 w 139"/>
                <a:gd name="T11" fmla="*/ 1 h 139"/>
                <a:gd name="T12" fmla="*/ 10 w 139"/>
                <a:gd name="T13" fmla="*/ 1 h 139"/>
                <a:gd name="T14" fmla="*/ 12 w 139"/>
                <a:gd name="T15" fmla="*/ 0 h 139"/>
                <a:gd name="T16" fmla="*/ 19 w 139"/>
                <a:gd name="T17" fmla="*/ 1 h 139"/>
                <a:gd name="T18" fmla="*/ 21 w 139"/>
                <a:gd name="T19" fmla="*/ 2 h 139"/>
                <a:gd name="T20" fmla="*/ 21 w 139"/>
                <a:gd name="T21" fmla="*/ 3 h 139"/>
                <a:gd name="T22" fmla="*/ 21 w 139"/>
                <a:gd name="T23" fmla="*/ 3 h 139"/>
                <a:gd name="T24" fmla="*/ 23 w 139"/>
                <a:gd name="T25" fmla="*/ 3 h 139"/>
                <a:gd name="T26" fmla="*/ 23 w 139"/>
                <a:gd name="T27" fmla="*/ 4 h 139"/>
                <a:gd name="T28" fmla="*/ 23 w 139"/>
                <a:gd name="T29" fmla="*/ 5 h 139"/>
                <a:gd name="T30" fmla="*/ 23 w 139"/>
                <a:gd name="T31" fmla="*/ 5 h 139"/>
                <a:gd name="T32" fmla="*/ 24 w 139"/>
                <a:gd name="T33" fmla="*/ 6 h 139"/>
                <a:gd name="T34" fmla="*/ 25 w 139"/>
                <a:gd name="T35" fmla="*/ 7 h 139"/>
                <a:gd name="T36" fmla="*/ 24 w 139"/>
                <a:gd name="T37" fmla="*/ 7 h 139"/>
                <a:gd name="T38" fmla="*/ 23 w 139"/>
                <a:gd name="T39" fmla="*/ 9 h 139"/>
                <a:gd name="T40" fmla="*/ 26 w 139"/>
                <a:gd name="T41" fmla="*/ 8 h 139"/>
                <a:gd name="T42" fmla="*/ 26 w 139"/>
                <a:gd name="T43" fmla="*/ 9 h 139"/>
                <a:gd name="T44" fmla="*/ 27 w 139"/>
                <a:gd name="T45" fmla="*/ 10 h 139"/>
                <a:gd name="T46" fmla="*/ 25 w 139"/>
                <a:gd name="T47" fmla="*/ 10 h 139"/>
                <a:gd name="T48" fmla="*/ 24 w 139"/>
                <a:gd name="T49" fmla="*/ 11 h 139"/>
                <a:gd name="T50" fmla="*/ 24 w 139"/>
                <a:gd name="T51" fmla="*/ 12 h 139"/>
                <a:gd name="T52" fmla="*/ 23 w 139"/>
                <a:gd name="T53" fmla="*/ 13 h 139"/>
                <a:gd name="T54" fmla="*/ 21 w 139"/>
                <a:gd name="T55" fmla="*/ 13 h 139"/>
                <a:gd name="T56" fmla="*/ 18 w 139"/>
                <a:gd name="T57" fmla="*/ 15 h 139"/>
                <a:gd name="T58" fmla="*/ 18 w 139"/>
                <a:gd name="T59" fmla="*/ 15 h 139"/>
                <a:gd name="T60" fmla="*/ 17 w 139"/>
                <a:gd name="T61" fmla="*/ 16 h 139"/>
                <a:gd name="T62" fmla="*/ 17 w 139"/>
                <a:gd name="T63" fmla="*/ 16 h 139"/>
                <a:gd name="T64" fmla="*/ 8 w 139"/>
                <a:gd name="T65" fmla="*/ 14 h 139"/>
                <a:gd name="T66" fmla="*/ 4 w 139"/>
                <a:gd name="T67" fmla="*/ 12 h 139"/>
                <a:gd name="T68" fmla="*/ 4 w 139"/>
                <a:gd name="T69" fmla="*/ 11 h 139"/>
                <a:gd name="T70" fmla="*/ 2 w 139"/>
                <a:gd name="T71" fmla="*/ 10 h 139"/>
                <a:gd name="T72" fmla="*/ 1 w 139"/>
                <a:gd name="T73" fmla="*/ 9 h 139"/>
                <a:gd name="T74" fmla="*/ 1 w 139"/>
                <a:gd name="T75" fmla="*/ 9 h 139"/>
                <a:gd name="T76" fmla="*/ 2 w 139"/>
                <a:gd name="T77" fmla="*/ 9 h 139"/>
                <a:gd name="T78" fmla="*/ 2 w 139"/>
                <a:gd name="T79" fmla="*/ 8 h 139"/>
                <a:gd name="T80" fmla="*/ 1 w 139"/>
                <a:gd name="T81" fmla="*/ 7 h 139"/>
                <a:gd name="T82" fmla="*/ 1 w 139"/>
                <a:gd name="T83" fmla="*/ 6 h 139"/>
                <a:gd name="T84" fmla="*/ 0 w 139"/>
                <a:gd name="T85" fmla="*/ 6 h 139"/>
                <a:gd name="T86" fmla="*/ 1 w 139"/>
                <a:gd name="T87" fmla="*/ 5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9"/>
                <a:gd name="T133" fmla="*/ 0 h 139"/>
                <a:gd name="T134" fmla="*/ 139 w 139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9" h="139">
                  <a:moveTo>
                    <a:pt x="2" y="42"/>
                  </a:moveTo>
                  <a:lnTo>
                    <a:pt x="7" y="44"/>
                  </a:lnTo>
                  <a:lnTo>
                    <a:pt x="14" y="43"/>
                  </a:lnTo>
                  <a:lnTo>
                    <a:pt x="16" y="41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6" y="31"/>
                  </a:lnTo>
                  <a:lnTo>
                    <a:pt x="26" y="27"/>
                  </a:lnTo>
                  <a:lnTo>
                    <a:pt x="31" y="25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0" y="6"/>
                  </a:lnTo>
                  <a:lnTo>
                    <a:pt x="48" y="5"/>
                  </a:lnTo>
                  <a:lnTo>
                    <a:pt x="51" y="7"/>
                  </a:lnTo>
                  <a:lnTo>
                    <a:pt x="63" y="5"/>
                  </a:lnTo>
                  <a:lnTo>
                    <a:pt x="64" y="0"/>
                  </a:lnTo>
                  <a:lnTo>
                    <a:pt x="96" y="2"/>
                  </a:lnTo>
                  <a:lnTo>
                    <a:pt x="99" y="8"/>
                  </a:lnTo>
                  <a:lnTo>
                    <a:pt x="104" y="10"/>
                  </a:lnTo>
                  <a:lnTo>
                    <a:pt x="107" y="15"/>
                  </a:lnTo>
                  <a:lnTo>
                    <a:pt x="111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9" y="29"/>
                  </a:lnTo>
                  <a:lnTo>
                    <a:pt x="121" y="30"/>
                  </a:lnTo>
                  <a:lnTo>
                    <a:pt x="121" y="32"/>
                  </a:lnTo>
                  <a:lnTo>
                    <a:pt x="120" y="35"/>
                  </a:lnTo>
                  <a:lnTo>
                    <a:pt x="121" y="38"/>
                  </a:lnTo>
                  <a:lnTo>
                    <a:pt x="120" y="39"/>
                  </a:lnTo>
                  <a:lnTo>
                    <a:pt x="121" y="43"/>
                  </a:lnTo>
                  <a:lnTo>
                    <a:pt x="122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9" y="59"/>
                  </a:lnTo>
                  <a:lnTo>
                    <a:pt x="128" y="60"/>
                  </a:lnTo>
                  <a:lnTo>
                    <a:pt x="124" y="61"/>
                  </a:lnTo>
                  <a:lnTo>
                    <a:pt x="120" y="76"/>
                  </a:lnTo>
                  <a:lnTo>
                    <a:pt x="120" y="78"/>
                  </a:lnTo>
                  <a:lnTo>
                    <a:pt x="130" y="74"/>
                  </a:lnTo>
                  <a:lnTo>
                    <a:pt x="135" y="70"/>
                  </a:lnTo>
                  <a:lnTo>
                    <a:pt x="136" y="70"/>
                  </a:lnTo>
                  <a:lnTo>
                    <a:pt x="137" y="72"/>
                  </a:lnTo>
                  <a:lnTo>
                    <a:pt x="136" y="79"/>
                  </a:lnTo>
                  <a:lnTo>
                    <a:pt x="139" y="82"/>
                  </a:lnTo>
                  <a:lnTo>
                    <a:pt x="139" y="83"/>
                  </a:lnTo>
                  <a:lnTo>
                    <a:pt x="131" y="84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5" y="104"/>
                  </a:lnTo>
                  <a:lnTo>
                    <a:pt x="122" y="104"/>
                  </a:lnTo>
                  <a:lnTo>
                    <a:pt x="120" y="108"/>
                  </a:lnTo>
                  <a:lnTo>
                    <a:pt x="117" y="109"/>
                  </a:lnTo>
                  <a:lnTo>
                    <a:pt x="114" y="114"/>
                  </a:lnTo>
                  <a:lnTo>
                    <a:pt x="109" y="115"/>
                  </a:lnTo>
                  <a:lnTo>
                    <a:pt x="98" y="125"/>
                  </a:lnTo>
                  <a:lnTo>
                    <a:pt x="94" y="125"/>
                  </a:lnTo>
                  <a:lnTo>
                    <a:pt x="93" y="127"/>
                  </a:lnTo>
                  <a:lnTo>
                    <a:pt x="93" y="131"/>
                  </a:lnTo>
                  <a:lnTo>
                    <a:pt x="91" y="132"/>
                  </a:lnTo>
                  <a:lnTo>
                    <a:pt x="90" y="137"/>
                  </a:lnTo>
                  <a:lnTo>
                    <a:pt x="86" y="139"/>
                  </a:lnTo>
                  <a:lnTo>
                    <a:pt x="85" y="139"/>
                  </a:lnTo>
                  <a:lnTo>
                    <a:pt x="43" y="122"/>
                  </a:lnTo>
                  <a:lnTo>
                    <a:pt x="42" y="117"/>
                  </a:lnTo>
                  <a:lnTo>
                    <a:pt x="39" y="113"/>
                  </a:lnTo>
                  <a:lnTo>
                    <a:pt x="19" y="100"/>
                  </a:lnTo>
                  <a:lnTo>
                    <a:pt x="20" y="94"/>
                  </a:lnTo>
                  <a:lnTo>
                    <a:pt x="18" y="92"/>
                  </a:lnTo>
                  <a:lnTo>
                    <a:pt x="18" y="89"/>
                  </a:lnTo>
                  <a:lnTo>
                    <a:pt x="14" y="86"/>
                  </a:lnTo>
                  <a:lnTo>
                    <a:pt x="8" y="85"/>
                  </a:lnTo>
                  <a:lnTo>
                    <a:pt x="4" y="78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9" y="70"/>
                  </a:lnTo>
                  <a:lnTo>
                    <a:pt x="6" y="69"/>
                  </a:lnTo>
                  <a:lnTo>
                    <a:pt x="4" y="66"/>
                  </a:lnTo>
                  <a:lnTo>
                    <a:pt x="5" y="60"/>
                  </a:lnTo>
                  <a:lnTo>
                    <a:pt x="4" y="55"/>
                  </a:lnTo>
                  <a:lnTo>
                    <a:pt x="3" y="53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2" y="4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9" name="Freeform 127"/>
            <p:cNvSpPr>
              <a:spLocks/>
            </p:cNvSpPr>
            <p:nvPr/>
          </p:nvSpPr>
          <p:spPr bwMode="auto">
            <a:xfrm>
              <a:off x="2798385" y="2694447"/>
              <a:ext cx="337149" cy="295003"/>
            </a:xfrm>
            <a:custGeom>
              <a:avLst/>
              <a:gdLst>
                <a:gd name="T0" fmla="*/ 33 w 282"/>
                <a:gd name="T1" fmla="*/ 31 h 297"/>
                <a:gd name="T2" fmla="*/ 44 w 282"/>
                <a:gd name="T3" fmla="*/ 31 h 297"/>
                <a:gd name="T4" fmla="*/ 44 w 282"/>
                <a:gd name="T5" fmla="*/ 28 h 297"/>
                <a:gd name="T6" fmla="*/ 41 w 282"/>
                <a:gd name="T7" fmla="*/ 21 h 297"/>
                <a:gd name="T8" fmla="*/ 43 w 282"/>
                <a:gd name="T9" fmla="*/ 18 h 297"/>
                <a:gd name="T10" fmla="*/ 46 w 282"/>
                <a:gd name="T11" fmla="*/ 14 h 297"/>
                <a:gd name="T12" fmla="*/ 45 w 282"/>
                <a:gd name="T13" fmla="*/ 9 h 297"/>
                <a:gd name="T14" fmla="*/ 44 w 282"/>
                <a:gd name="T15" fmla="*/ 7 h 297"/>
                <a:gd name="T16" fmla="*/ 44 w 282"/>
                <a:gd name="T17" fmla="*/ 7 h 297"/>
                <a:gd name="T18" fmla="*/ 41 w 282"/>
                <a:gd name="T19" fmla="*/ 5 h 297"/>
                <a:gd name="T20" fmla="*/ 32 w 282"/>
                <a:gd name="T21" fmla="*/ 5 h 297"/>
                <a:gd name="T22" fmla="*/ 31 w 282"/>
                <a:gd name="T23" fmla="*/ 5 h 297"/>
                <a:gd name="T24" fmla="*/ 29 w 282"/>
                <a:gd name="T25" fmla="*/ 6 h 297"/>
                <a:gd name="T26" fmla="*/ 28 w 282"/>
                <a:gd name="T27" fmla="*/ 5 h 297"/>
                <a:gd name="T28" fmla="*/ 26 w 282"/>
                <a:gd name="T29" fmla="*/ 3 h 297"/>
                <a:gd name="T30" fmla="*/ 26 w 282"/>
                <a:gd name="T31" fmla="*/ 3 h 297"/>
                <a:gd name="T32" fmla="*/ 23 w 282"/>
                <a:gd name="T33" fmla="*/ 2 h 297"/>
                <a:gd name="T34" fmla="*/ 20 w 282"/>
                <a:gd name="T35" fmla="*/ 3 h 297"/>
                <a:gd name="T36" fmla="*/ 18 w 282"/>
                <a:gd name="T37" fmla="*/ 2 h 297"/>
                <a:gd name="T38" fmla="*/ 17 w 282"/>
                <a:gd name="T39" fmla="*/ 0 h 297"/>
                <a:gd name="T40" fmla="*/ 15 w 282"/>
                <a:gd name="T41" fmla="*/ 1 h 297"/>
                <a:gd name="T42" fmla="*/ 14 w 282"/>
                <a:gd name="T43" fmla="*/ 2 h 297"/>
                <a:gd name="T44" fmla="*/ 12 w 282"/>
                <a:gd name="T45" fmla="*/ 3 h 297"/>
                <a:gd name="T46" fmla="*/ 11 w 282"/>
                <a:gd name="T47" fmla="*/ 3 h 297"/>
                <a:gd name="T48" fmla="*/ 9 w 282"/>
                <a:gd name="T49" fmla="*/ 3 h 297"/>
                <a:gd name="T50" fmla="*/ 8 w 282"/>
                <a:gd name="T51" fmla="*/ 2 h 297"/>
                <a:gd name="T52" fmla="*/ 5 w 282"/>
                <a:gd name="T53" fmla="*/ 2 h 297"/>
                <a:gd name="T54" fmla="*/ 5 w 282"/>
                <a:gd name="T55" fmla="*/ 3 h 297"/>
                <a:gd name="T56" fmla="*/ 3 w 282"/>
                <a:gd name="T57" fmla="*/ 7 h 297"/>
                <a:gd name="T58" fmla="*/ 5 w 282"/>
                <a:gd name="T59" fmla="*/ 9 h 297"/>
                <a:gd name="T60" fmla="*/ 5 w 282"/>
                <a:gd name="T61" fmla="*/ 10 h 297"/>
                <a:gd name="T62" fmla="*/ 5 w 282"/>
                <a:gd name="T63" fmla="*/ 11 h 297"/>
                <a:gd name="T64" fmla="*/ 6 w 282"/>
                <a:gd name="T65" fmla="*/ 13 h 297"/>
                <a:gd name="T66" fmla="*/ 5 w 282"/>
                <a:gd name="T67" fmla="*/ 13 h 297"/>
                <a:gd name="T68" fmla="*/ 2 w 282"/>
                <a:gd name="T69" fmla="*/ 13 h 297"/>
                <a:gd name="T70" fmla="*/ 2 w 282"/>
                <a:gd name="T71" fmla="*/ 14 h 297"/>
                <a:gd name="T72" fmla="*/ 4 w 282"/>
                <a:gd name="T73" fmla="*/ 14 h 297"/>
                <a:gd name="T74" fmla="*/ 4 w 282"/>
                <a:gd name="T75" fmla="*/ 17 h 297"/>
                <a:gd name="T76" fmla="*/ 1 w 282"/>
                <a:gd name="T77" fmla="*/ 18 h 297"/>
                <a:gd name="T78" fmla="*/ 2 w 282"/>
                <a:gd name="T79" fmla="*/ 20 h 297"/>
                <a:gd name="T80" fmla="*/ 0 w 282"/>
                <a:gd name="T81" fmla="*/ 23 h 297"/>
                <a:gd name="T82" fmla="*/ 1 w 282"/>
                <a:gd name="T83" fmla="*/ 24 h 297"/>
                <a:gd name="T84" fmla="*/ 3 w 282"/>
                <a:gd name="T85" fmla="*/ 25 h 297"/>
                <a:gd name="T86" fmla="*/ 5 w 282"/>
                <a:gd name="T87" fmla="*/ 26 h 297"/>
                <a:gd name="T88" fmla="*/ 8 w 282"/>
                <a:gd name="T89" fmla="*/ 27 h 297"/>
                <a:gd name="T90" fmla="*/ 9 w 282"/>
                <a:gd name="T91" fmla="*/ 29 h 297"/>
                <a:gd name="T92" fmla="*/ 8 w 282"/>
                <a:gd name="T93" fmla="*/ 30 h 297"/>
                <a:gd name="T94" fmla="*/ 8 w 282"/>
                <a:gd name="T95" fmla="*/ 31 h 29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2"/>
                <a:gd name="T145" fmla="*/ 0 h 297"/>
                <a:gd name="T146" fmla="*/ 282 w 282"/>
                <a:gd name="T147" fmla="*/ 297 h 29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2" h="297">
                  <a:moveTo>
                    <a:pt x="46" y="292"/>
                  </a:moveTo>
                  <a:lnTo>
                    <a:pt x="47" y="296"/>
                  </a:lnTo>
                  <a:lnTo>
                    <a:pt x="61" y="297"/>
                  </a:lnTo>
                  <a:lnTo>
                    <a:pt x="200" y="257"/>
                  </a:lnTo>
                  <a:lnTo>
                    <a:pt x="249" y="265"/>
                  </a:lnTo>
                  <a:lnTo>
                    <a:pt x="254" y="258"/>
                  </a:lnTo>
                  <a:lnTo>
                    <a:pt x="256" y="257"/>
                  </a:lnTo>
                  <a:lnTo>
                    <a:pt x="261" y="257"/>
                  </a:lnTo>
                  <a:lnTo>
                    <a:pt x="264" y="258"/>
                  </a:lnTo>
                  <a:lnTo>
                    <a:pt x="269" y="258"/>
                  </a:lnTo>
                  <a:lnTo>
                    <a:pt x="267" y="236"/>
                  </a:lnTo>
                  <a:lnTo>
                    <a:pt x="266" y="235"/>
                  </a:lnTo>
                  <a:lnTo>
                    <a:pt x="259" y="234"/>
                  </a:lnTo>
                  <a:lnTo>
                    <a:pt x="256" y="230"/>
                  </a:lnTo>
                  <a:lnTo>
                    <a:pt x="247" y="200"/>
                  </a:lnTo>
                  <a:lnTo>
                    <a:pt x="248" y="178"/>
                  </a:lnTo>
                  <a:lnTo>
                    <a:pt x="251" y="173"/>
                  </a:lnTo>
                  <a:lnTo>
                    <a:pt x="256" y="167"/>
                  </a:lnTo>
                  <a:lnTo>
                    <a:pt x="258" y="162"/>
                  </a:lnTo>
                  <a:lnTo>
                    <a:pt x="260" y="146"/>
                  </a:lnTo>
                  <a:lnTo>
                    <a:pt x="268" y="127"/>
                  </a:lnTo>
                  <a:lnTo>
                    <a:pt x="271" y="126"/>
                  </a:lnTo>
                  <a:lnTo>
                    <a:pt x="273" y="122"/>
                  </a:lnTo>
                  <a:lnTo>
                    <a:pt x="276" y="121"/>
                  </a:lnTo>
                  <a:lnTo>
                    <a:pt x="276" y="116"/>
                  </a:lnTo>
                  <a:lnTo>
                    <a:pt x="282" y="116"/>
                  </a:lnTo>
                  <a:lnTo>
                    <a:pt x="272" y="80"/>
                  </a:lnTo>
                  <a:lnTo>
                    <a:pt x="270" y="77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71" y="70"/>
                  </a:lnTo>
                  <a:lnTo>
                    <a:pt x="269" y="64"/>
                  </a:lnTo>
                  <a:lnTo>
                    <a:pt x="271" y="62"/>
                  </a:lnTo>
                  <a:lnTo>
                    <a:pt x="270" y="57"/>
                  </a:lnTo>
                  <a:lnTo>
                    <a:pt x="268" y="59"/>
                  </a:lnTo>
                  <a:lnTo>
                    <a:pt x="263" y="59"/>
                  </a:lnTo>
                  <a:lnTo>
                    <a:pt x="261" y="57"/>
                  </a:lnTo>
                  <a:lnTo>
                    <a:pt x="256" y="46"/>
                  </a:lnTo>
                  <a:lnTo>
                    <a:pt x="252" y="45"/>
                  </a:lnTo>
                  <a:lnTo>
                    <a:pt x="247" y="37"/>
                  </a:lnTo>
                  <a:lnTo>
                    <a:pt x="246" y="37"/>
                  </a:lnTo>
                  <a:lnTo>
                    <a:pt x="241" y="41"/>
                  </a:lnTo>
                  <a:lnTo>
                    <a:pt x="226" y="37"/>
                  </a:lnTo>
                  <a:lnTo>
                    <a:pt x="197" y="45"/>
                  </a:lnTo>
                  <a:lnTo>
                    <a:pt x="194" y="50"/>
                  </a:lnTo>
                  <a:lnTo>
                    <a:pt x="192" y="52"/>
                  </a:lnTo>
                  <a:lnTo>
                    <a:pt x="186" y="49"/>
                  </a:lnTo>
                  <a:lnTo>
                    <a:pt x="184" y="46"/>
                  </a:lnTo>
                  <a:lnTo>
                    <a:pt x="183" y="46"/>
                  </a:lnTo>
                  <a:lnTo>
                    <a:pt x="182" y="48"/>
                  </a:lnTo>
                  <a:lnTo>
                    <a:pt x="178" y="48"/>
                  </a:lnTo>
                  <a:lnTo>
                    <a:pt x="177" y="49"/>
                  </a:lnTo>
                  <a:lnTo>
                    <a:pt x="171" y="46"/>
                  </a:lnTo>
                  <a:lnTo>
                    <a:pt x="171" y="43"/>
                  </a:lnTo>
                  <a:lnTo>
                    <a:pt x="168" y="40"/>
                  </a:lnTo>
                  <a:lnTo>
                    <a:pt x="165" y="40"/>
                  </a:lnTo>
                  <a:lnTo>
                    <a:pt x="165" y="35"/>
                  </a:lnTo>
                  <a:lnTo>
                    <a:pt x="164" y="33"/>
                  </a:lnTo>
                  <a:lnTo>
                    <a:pt x="162" y="32"/>
                  </a:lnTo>
                  <a:lnTo>
                    <a:pt x="159" y="27"/>
                  </a:lnTo>
                  <a:lnTo>
                    <a:pt x="157" y="26"/>
                  </a:lnTo>
                  <a:lnTo>
                    <a:pt x="156" y="25"/>
                  </a:lnTo>
                  <a:lnTo>
                    <a:pt x="156" y="21"/>
                  </a:lnTo>
                  <a:lnTo>
                    <a:pt x="155" y="20"/>
                  </a:lnTo>
                  <a:lnTo>
                    <a:pt x="154" y="19"/>
                  </a:lnTo>
                  <a:lnTo>
                    <a:pt x="143" y="21"/>
                  </a:lnTo>
                  <a:lnTo>
                    <a:pt x="142" y="20"/>
                  </a:lnTo>
                  <a:lnTo>
                    <a:pt x="139" y="15"/>
                  </a:lnTo>
                  <a:lnTo>
                    <a:pt x="136" y="14"/>
                  </a:lnTo>
                  <a:lnTo>
                    <a:pt x="125" y="15"/>
                  </a:lnTo>
                  <a:lnTo>
                    <a:pt x="122" y="20"/>
                  </a:lnTo>
                  <a:lnTo>
                    <a:pt x="119" y="20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9" y="21"/>
                  </a:lnTo>
                  <a:lnTo>
                    <a:pt x="108" y="12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7" y="3"/>
                  </a:lnTo>
                  <a:lnTo>
                    <a:pt x="105" y="0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6"/>
                  </a:lnTo>
                  <a:lnTo>
                    <a:pt x="86" y="18"/>
                  </a:lnTo>
                  <a:lnTo>
                    <a:pt x="76" y="18"/>
                  </a:lnTo>
                  <a:lnTo>
                    <a:pt x="71" y="20"/>
                  </a:lnTo>
                  <a:lnTo>
                    <a:pt x="71" y="23"/>
                  </a:lnTo>
                  <a:lnTo>
                    <a:pt x="69" y="27"/>
                  </a:lnTo>
                  <a:lnTo>
                    <a:pt x="66" y="27"/>
                  </a:lnTo>
                  <a:lnTo>
                    <a:pt x="63" y="25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2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3" y="18"/>
                  </a:lnTo>
                  <a:lnTo>
                    <a:pt x="49" y="14"/>
                  </a:lnTo>
                  <a:lnTo>
                    <a:pt x="46" y="13"/>
                  </a:lnTo>
                  <a:lnTo>
                    <a:pt x="43" y="16"/>
                  </a:lnTo>
                  <a:lnTo>
                    <a:pt x="39" y="15"/>
                  </a:lnTo>
                  <a:lnTo>
                    <a:pt x="37" y="16"/>
                  </a:lnTo>
                  <a:lnTo>
                    <a:pt x="35" y="18"/>
                  </a:lnTo>
                  <a:lnTo>
                    <a:pt x="34" y="21"/>
                  </a:lnTo>
                  <a:lnTo>
                    <a:pt x="32" y="24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5"/>
                  </a:lnTo>
                  <a:lnTo>
                    <a:pt x="18" y="38"/>
                  </a:lnTo>
                  <a:lnTo>
                    <a:pt x="18" y="59"/>
                  </a:lnTo>
                  <a:lnTo>
                    <a:pt x="20" y="60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0" y="75"/>
                  </a:lnTo>
                  <a:lnTo>
                    <a:pt x="33" y="75"/>
                  </a:lnTo>
                  <a:lnTo>
                    <a:pt x="36" y="79"/>
                  </a:lnTo>
                  <a:lnTo>
                    <a:pt x="36" y="80"/>
                  </a:lnTo>
                  <a:lnTo>
                    <a:pt x="34" y="81"/>
                  </a:lnTo>
                  <a:lnTo>
                    <a:pt x="32" y="85"/>
                  </a:lnTo>
                  <a:lnTo>
                    <a:pt x="29" y="92"/>
                  </a:lnTo>
                  <a:lnTo>
                    <a:pt x="31" y="91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6" y="97"/>
                  </a:lnTo>
                  <a:lnTo>
                    <a:pt x="39" y="101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6" y="108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8" y="105"/>
                  </a:lnTo>
                  <a:lnTo>
                    <a:pt x="21" y="105"/>
                  </a:lnTo>
                  <a:lnTo>
                    <a:pt x="13" y="108"/>
                  </a:lnTo>
                  <a:lnTo>
                    <a:pt x="15" y="109"/>
                  </a:lnTo>
                  <a:lnTo>
                    <a:pt x="16" y="113"/>
                  </a:lnTo>
                  <a:lnTo>
                    <a:pt x="14" y="117"/>
                  </a:lnTo>
                  <a:lnTo>
                    <a:pt x="15" y="118"/>
                  </a:lnTo>
                  <a:lnTo>
                    <a:pt x="22" y="118"/>
                  </a:lnTo>
                  <a:lnTo>
                    <a:pt x="25" y="119"/>
                  </a:lnTo>
                  <a:lnTo>
                    <a:pt x="25" y="122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7" y="125"/>
                  </a:lnTo>
                  <a:lnTo>
                    <a:pt x="23" y="128"/>
                  </a:lnTo>
                  <a:lnTo>
                    <a:pt x="22" y="139"/>
                  </a:lnTo>
                  <a:lnTo>
                    <a:pt x="18" y="145"/>
                  </a:lnTo>
                  <a:lnTo>
                    <a:pt x="17" y="148"/>
                  </a:lnTo>
                  <a:lnTo>
                    <a:pt x="6" y="148"/>
                  </a:lnTo>
                  <a:lnTo>
                    <a:pt x="3" y="149"/>
                  </a:lnTo>
                  <a:lnTo>
                    <a:pt x="6" y="161"/>
                  </a:lnTo>
                  <a:lnTo>
                    <a:pt x="8" y="161"/>
                  </a:lnTo>
                  <a:lnTo>
                    <a:pt x="10" y="165"/>
                  </a:lnTo>
                  <a:lnTo>
                    <a:pt x="10" y="167"/>
                  </a:lnTo>
                  <a:lnTo>
                    <a:pt x="13" y="169"/>
                  </a:lnTo>
                  <a:lnTo>
                    <a:pt x="9" y="184"/>
                  </a:lnTo>
                  <a:lnTo>
                    <a:pt x="2" y="190"/>
                  </a:lnTo>
                  <a:lnTo>
                    <a:pt x="0" y="195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9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8" y="201"/>
                  </a:lnTo>
                  <a:lnTo>
                    <a:pt x="12" y="201"/>
                  </a:lnTo>
                  <a:lnTo>
                    <a:pt x="17" y="205"/>
                  </a:lnTo>
                  <a:lnTo>
                    <a:pt x="26" y="205"/>
                  </a:lnTo>
                  <a:lnTo>
                    <a:pt x="28" y="206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4" y="215"/>
                  </a:lnTo>
                  <a:lnTo>
                    <a:pt x="37" y="223"/>
                  </a:lnTo>
                  <a:lnTo>
                    <a:pt x="42" y="223"/>
                  </a:lnTo>
                  <a:lnTo>
                    <a:pt x="46" y="227"/>
                  </a:lnTo>
                  <a:lnTo>
                    <a:pt x="52" y="226"/>
                  </a:lnTo>
                  <a:lnTo>
                    <a:pt x="52" y="231"/>
                  </a:lnTo>
                  <a:lnTo>
                    <a:pt x="54" y="235"/>
                  </a:lnTo>
                  <a:lnTo>
                    <a:pt x="55" y="240"/>
                  </a:lnTo>
                  <a:lnTo>
                    <a:pt x="53" y="246"/>
                  </a:lnTo>
                  <a:lnTo>
                    <a:pt x="55" y="250"/>
                  </a:lnTo>
                  <a:lnTo>
                    <a:pt x="55" y="251"/>
                  </a:lnTo>
                  <a:lnTo>
                    <a:pt x="50" y="251"/>
                  </a:lnTo>
                  <a:lnTo>
                    <a:pt x="49" y="254"/>
                  </a:lnTo>
                  <a:lnTo>
                    <a:pt x="49" y="260"/>
                  </a:lnTo>
                  <a:lnTo>
                    <a:pt x="47" y="260"/>
                  </a:lnTo>
                  <a:lnTo>
                    <a:pt x="46" y="262"/>
                  </a:lnTo>
                  <a:lnTo>
                    <a:pt x="47" y="267"/>
                  </a:lnTo>
                  <a:lnTo>
                    <a:pt x="46" y="271"/>
                  </a:lnTo>
                  <a:lnTo>
                    <a:pt x="46" y="2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0" name="Freeform 128"/>
            <p:cNvSpPr>
              <a:spLocks/>
            </p:cNvSpPr>
            <p:nvPr/>
          </p:nvSpPr>
          <p:spPr bwMode="auto">
            <a:xfrm>
              <a:off x="2798385" y="2694447"/>
              <a:ext cx="337149" cy="295003"/>
            </a:xfrm>
            <a:custGeom>
              <a:avLst/>
              <a:gdLst>
                <a:gd name="T0" fmla="*/ 33 w 282"/>
                <a:gd name="T1" fmla="*/ 31 h 297"/>
                <a:gd name="T2" fmla="*/ 44 w 282"/>
                <a:gd name="T3" fmla="*/ 31 h 297"/>
                <a:gd name="T4" fmla="*/ 44 w 282"/>
                <a:gd name="T5" fmla="*/ 28 h 297"/>
                <a:gd name="T6" fmla="*/ 41 w 282"/>
                <a:gd name="T7" fmla="*/ 21 h 297"/>
                <a:gd name="T8" fmla="*/ 43 w 282"/>
                <a:gd name="T9" fmla="*/ 18 h 297"/>
                <a:gd name="T10" fmla="*/ 46 w 282"/>
                <a:gd name="T11" fmla="*/ 14 h 297"/>
                <a:gd name="T12" fmla="*/ 45 w 282"/>
                <a:gd name="T13" fmla="*/ 9 h 297"/>
                <a:gd name="T14" fmla="*/ 44 w 282"/>
                <a:gd name="T15" fmla="*/ 7 h 297"/>
                <a:gd name="T16" fmla="*/ 44 w 282"/>
                <a:gd name="T17" fmla="*/ 7 h 297"/>
                <a:gd name="T18" fmla="*/ 41 w 282"/>
                <a:gd name="T19" fmla="*/ 5 h 297"/>
                <a:gd name="T20" fmla="*/ 32 w 282"/>
                <a:gd name="T21" fmla="*/ 5 h 297"/>
                <a:gd name="T22" fmla="*/ 31 w 282"/>
                <a:gd name="T23" fmla="*/ 5 h 297"/>
                <a:gd name="T24" fmla="*/ 29 w 282"/>
                <a:gd name="T25" fmla="*/ 6 h 297"/>
                <a:gd name="T26" fmla="*/ 28 w 282"/>
                <a:gd name="T27" fmla="*/ 5 h 297"/>
                <a:gd name="T28" fmla="*/ 26 w 282"/>
                <a:gd name="T29" fmla="*/ 3 h 297"/>
                <a:gd name="T30" fmla="*/ 26 w 282"/>
                <a:gd name="T31" fmla="*/ 3 h 297"/>
                <a:gd name="T32" fmla="*/ 23 w 282"/>
                <a:gd name="T33" fmla="*/ 2 h 297"/>
                <a:gd name="T34" fmla="*/ 20 w 282"/>
                <a:gd name="T35" fmla="*/ 3 h 297"/>
                <a:gd name="T36" fmla="*/ 18 w 282"/>
                <a:gd name="T37" fmla="*/ 2 h 297"/>
                <a:gd name="T38" fmla="*/ 17 w 282"/>
                <a:gd name="T39" fmla="*/ 0 h 297"/>
                <a:gd name="T40" fmla="*/ 15 w 282"/>
                <a:gd name="T41" fmla="*/ 1 h 297"/>
                <a:gd name="T42" fmla="*/ 14 w 282"/>
                <a:gd name="T43" fmla="*/ 2 h 297"/>
                <a:gd name="T44" fmla="*/ 12 w 282"/>
                <a:gd name="T45" fmla="*/ 3 h 297"/>
                <a:gd name="T46" fmla="*/ 11 w 282"/>
                <a:gd name="T47" fmla="*/ 3 h 297"/>
                <a:gd name="T48" fmla="*/ 9 w 282"/>
                <a:gd name="T49" fmla="*/ 3 h 297"/>
                <a:gd name="T50" fmla="*/ 8 w 282"/>
                <a:gd name="T51" fmla="*/ 2 h 297"/>
                <a:gd name="T52" fmla="*/ 5 w 282"/>
                <a:gd name="T53" fmla="*/ 2 h 297"/>
                <a:gd name="T54" fmla="*/ 5 w 282"/>
                <a:gd name="T55" fmla="*/ 3 h 297"/>
                <a:gd name="T56" fmla="*/ 3 w 282"/>
                <a:gd name="T57" fmla="*/ 7 h 297"/>
                <a:gd name="T58" fmla="*/ 5 w 282"/>
                <a:gd name="T59" fmla="*/ 9 h 297"/>
                <a:gd name="T60" fmla="*/ 5 w 282"/>
                <a:gd name="T61" fmla="*/ 10 h 297"/>
                <a:gd name="T62" fmla="*/ 5 w 282"/>
                <a:gd name="T63" fmla="*/ 11 h 297"/>
                <a:gd name="T64" fmla="*/ 6 w 282"/>
                <a:gd name="T65" fmla="*/ 13 h 297"/>
                <a:gd name="T66" fmla="*/ 5 w 282"/>
                <a:gd name="T67" fmla="*/ 13 h 297"/>
                <a:gd name="T68" fmla="*/ 2 w 282"/>
                <a:gd name="T69" fmla="*/ 13 h 297"/>
                <a:gd name="T70" fmla="*/ 2 w 282"/>
                <a:gd name="T71" fmla="*/ 14 h 297"/>
                <a:gd name="T72" fmla="*/ 4 w 282"/>
                <a:gd name="T73" fmla="*/ 14 h 297"/>
                <a:gd name="T74" fmla="*/ 4 w 282"/>
                <a:gd name="T75" fmla="*/ 17 h 297"/>
                <a:gd name="T76" fmla="*/ 1 w 282"/>
                <a:gd name="T77" fmla="*/ 18 h 297"/>
                <a:gd name="T78" fmla="*/ 2 w 282"/>
                <a:gd name="T79" fmla="*/ 20 h 297"/>
                <a:gd name="T80" fmla="*/ 0 w 282"/>
                <a:gd name="T81" fmla="*/ 23 h 297"/>
                <a:gd name="T82" fmla="*/ 1 w 282"/>
                <a:gd name="T83" fmla="*/ 24 h 297"/>
                <a:gd name="T84" fmla="*/ 3 w 282"/>
                <a:gd name="T85" fmla="*/ 25 h 297"/>
                <a:gd name="T86" fmla="*/ 5 w 282"/>
                <a:gd name="T87" fmla="*/ 26 h 297"/>
                <a:gd name="T88" fmla="*/ 8 w 282"/>
                <a:gd name="T89" fmla="*/ 27 h 297"/>
                <a:gd name="T90" fmla="*/ 9 w 282"/>
                <a:gd name="T91" fmla="*/ 29 h 297"/>
                <a:gd name="T92" fmla="*/ 8 w 282"/>
                <a:gd name="T93" fmla="*/ 30 h 297"/>
                <a:gd name="T94" fmla="*/ 8 w 282"/>
                <a:gd name="T95" fmla="*/ 31 h 29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2"/>
                <a:gd name="T145" fmla="*/ 0 h 297"/>
                <a:gd name="T146" fmla="*/ 282 w 282"/>
                <a:gd name="T147" fmla="*/ 297 h 29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2" h="297">
                  <a:moveTo>
                    <a:pt x="46" y="292"/>
                  </a:moveTo>
                  <a:lnTo>
                    <a:pt x="47" y="296"/>
                  </a:lnTo>
                  <a:lnTo>
                    <a:pt x="61" y="297"/>
                  </a:lnTo>
                  <a:lnTo>
                    <a:pt x="200" y="257"/>
                  </a:lnTo>
                  <a:lnTo>
                    <a:pt x="249" y="265"/>
                  </a:lnTo>
                  <a:lnTo>
                    <a:pt x="254" y="258"/>
                  </a:lnTo>
                  <a:lnTo>
                    <a:pt x="256" y="257"/>
                  </a:lnTo>
                  <a:lnTo>
                    <a:pt x="261" y="257"/>
                  </a:lnTo>
                  <a:lnTo>
                    <a:pt x="264" y="258"/>
                  </a:lnTo>
                  <a:lnTo>
                    <a:pt x="269" y="258"/>
                  </a:lnTo>
                  <a:lnTo>
                    <a:pt x="267" y="236"/>
                  </a:lnTo>
                  <a:lnTo>
                    <a:pt x="266" y="235"/>
                  </a:lnTo>
                  <a:lnTo>
                    <a:pt x="259" y="234"/>
                  </a:lnTo>
                  <a:lnTo>
                    <a:pt x="256" y="230"/>
                  </a:lnTo>
                  <a:lnTo>
                    <a:pt x="247" y="200"/>
                  </a:lnTo>
                  <a:lnTo>
                    <a:pt x="248" y="178"/>
                  </a:lnTo>
                  <a:lnTo>
                    <a:pt x="251" y="173"/>
                  </a:lnTo>
                  <a:lnTo>
                    <a:pt x="256" y="167"/>
                  </a:lnTo>
                  <a:lnTo>
                    <a:pt x="258" y="162"/>
                  </a:lnTo>
                  <a:lnTo>
                    <a:pt x="260" y="146"/>
                  </a:lnTo>
                  <a:lnTo>
                    <a:pt x="268" y="127"/>
                  </a:lnTo>
                  <a:lnTo>
                    <a:pt x="271" y="126"/>
                  </a:lnTo>
                  <a:lnTo>
                    <a:pt x="273" y="122"/>
                  </a:lnTo>
                  <a:lnTo>
                    <a:pt x="276" y="121"/>
                  </a:lnTo>
                  <a:lnTo>
                    <a:pt x="276" y="116"/>
                  </a:lnTo>
                  <a:lnTo>
                    <a:pt x="282" y="116"/>
                  </a:lnTo>
                  <a:lnTo>
                    <a:pt x="272" y="80"/>
                  </a:lnTo>
                  <a:lnTo>
                    <a:pt x="270" y="77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71" y="70"/>
                  </a:lnTo>
                  <a:lnTo>
                    <a:pt x="269" y="64"/>
                  </a:lnTo>
                  <a:lnTo>
                    <a:pt x="271" y="62"/>
                  </a:lnTo>
                  <a:lnTo>
                    <a:pt x="270" y="57"/>
                  </a:lnTo>
                  <a:lnTo>
                    <a:pt x="268" y="59"/>
                  </a:lnTo>
                  <a:lnTo>
                    <a:pt x="263" y="59"/>
                  </a:lnTo>
                  <a:lnTo>
                    <a:pt x="261" y="57"/>
                  </a:lnTo>
                  <a:lnTo>
                    <a:pt x="256" y="46"/>
                  </a:lnTo>
                  <a:lnTo>
                    <a:pt x="252" y="45"/>
                  </a:lnTo>
                  <a:lnTo>
                    <a:pt x="247" y="37"/>
                  </a:lnTo>
                  <a:lnTo>
                    <a:pt x="246" y="37"/>
                  </a:lnTo>
                  <a:lnTo>
                    <a:pt x="241" y="41"/>
                  </a:lnTo>
                  <a:lnTo>
                    <a:pt x="226" y="37"/>
                  </a:lnTo>
                  <a:lnTo>
                    <a:pt x="197" y="45"/>
                  </a:lnTo>
                  <a:lnTo>
                    <a:pt x="194" y="50"/>
                  </a:lnTo>
                  <a:lnTo>
                    <a:pt x="192" y="52"/>
                  </a:lnTo>
                  <a:lnTo>
                    <a:pt x="186" y="49"/>
                  </a:lnTo>
                  <a:lnTo>
                    <a:pt x="184" y="46"/>
                  </a:lnTo>
                  <a:lnTo>
                    <a:pt x="183" y="46"/>
                  </a:lnTo>
                  <a:lnTo>
                    <a:pt x="182" y="48"/>
                  </a:lnTo>
                  <a:lnTo>
                    <a:pt x="178" y="48"/>
                  </a:lnTo>
                  <a:lnTo>
                    <a:pt x="177" y="49"/>
                  </a:lnTo>
                  <a:lnTo>
                    <a:pt x="171" y="46"/>
                  </a:lnTo>
                  <a:lnTo>
                    <a:pt x="171" y="43"/>
                  </a:lnTo>
                  <a:lnTo>
                    <a:pt x="168" y="40"/>
                  </a:lnTo>
                  <a:lnTo>
                    <a:pt x="165" y="40"/>
                  </a:lnTo>
                  <a:lnTo>
                    <a:pt x="165" y="35"/>
                  </a:lnTo>
                  <a:lnTo>
                    <a:pt x="164" y="33"/>
                  </a:lnTo>
                  <a:lnTo>
                    <a:pt x="162" y="32"/>
                  </a:lnTo>
                  <a:lnTo>
                    <a:pt x="159" y="27"/>
                  </a:lnTo>
                  <a:lnTo>
                    <a:pt x="157" y="26"/>
                  </a:lnTo>
                  <a:lnTo>
                    <a:pt x="156" y="25"/>
                  </a:lnTo>
                  <a:lnTo>
                    <a:pt x="156" y="21"/>
                  </a:lnTo>
                  <a:lnTo>
                    <a:pt x="155" y="20"/>
                  </a:lnTo>
                  <a:lnTo>
                    <a:pt x="154" y="19"/>
                  </a:lnTo>
                  <a:lnTo>
                    <a:pt x="143" y="21"/>
                  </a:lnTo>
                  <a:lnTo>
                    <a:pt x="142" y="20"/>
                  </a:lnTo>
                  <a:lnTo>
                    <a:pt x="139" y="15"/>
                  </a:lnTo>
                  <a:lnTo>
                    <a:pt x="136" y="14"/>
                  </a:lnTo>
                  <a:lnTo>
                    <a:pt x="125" y="15"/>
                  </a:lnTo>
                  <a:lnTo>
                    <a:pt x="122" y="20"/>
                  </a:lnTo>
                  <a:lnTo>
                    <a:pt x="119" y="20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9" y="21"/>
                  </a:lnTo>
                  <a:lnTo>
                    <a:pt x="108" y="12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7" y="3"/>
                  </a:lnTo>
                  <a:lnTo>
                    <a:pt x="105" y="0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6"/>
                  </a:lnTo>
                  <a:lnTo>
                    <a:pt x="86" y="18"/>
                  </a:lnTo>
                  <a:lnTo>
                    <a:pt x="76" y="18"/>
                  </a:lnTo>
                  <a:lnTo>
                    <a:pt x="71" y="20"/>
                  </a:lnTo>
                  <a:lnTo>
                    <a:pt x="71" y="23"/>
                  </a:lnTo>
                  <a:lnTo>
                    <a:pt x="69" y="27"/>
                  </a:lnTo>
                  <a:lnTo>
                    <a:pt x="66" y="27"/>
                  </a:lnTo>
                  <a:lnTo>
                    <a:pt x="63" y="25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2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3" y="18"/>
                  </a:lnTo>
                  <a:lnTo>
                    <a:pt x="49" y="14"/>
                  </a:lnTo>
                  <a:lnTo>
                    <a:pt x="46" y="13"/>
                  </a:lnTo>
                  <a:lnTo>
                    <a:pt x="43" y="16"/>
                  </a:lnTo>
                  <a:lnTo>
                    <a:pt x="39" y="15"/>
                  </a:lnTo>
                  <a:lnTo>
                    <a:pt x="37" y="16"/>
                  </a:lnTo>
                  <a:lnTo>
                    <a:pt x="35" y="18"/>
                  </a:lnTo>
                  <a:lnTo>
                    <a:pt x="34" y="21"/>
                  </a:lnTo>
                  <a:lnTo>
                    <a:pt x="32" y="24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5"/>
                  </a:lnTo>
                  <a:lnTo>
                    <a:pt x="18" y="38"/>
                  </a:lnTo>
                  <a:lnTo>
                    <a:pt x="18" y="59"/>
                  </a:lnTo>
                  <a:lnTo>
                    <a:pt x="20" y="60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0" y="75"/>
                  </a:lnTo>
                  <a:lnTo>
                    <a:pt x="33" y="75"/>
                  </a:lnTo>
                  <a:lnTo>
                    <a:pt x="36" y="79"/>
                  </a:lnTo>
                  <a:lnTo>
                    <a:pt x="36" y="80"/>
                  </a:lnTo>
                  <a:lnTo>
                    <a:pt x="34" y="81"/>
                  </a:lnTo>
                  <a:lnTo>
                    <a:pt x="32" y="85"/>
                  </a:lnTo>
                  <a:lnTo>
                    <a:pt x="29" y="92"/>
                  </a:lnTo>
                  <a:lnTo>
                    <a:pt x="31" y="91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6" y="97"/>
                  </a:lnTo>
                  <a:lnTo>
                    <a:pt x="39" y="101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6" y="108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8" y="105"/>
                  </a:lnTo>
                  <a:lnTo>
                    <a:pt x="21" y="105"/>
                  </a:lnTo>
                  <a:lnTo>
                    <a:pt x="13" y="108"/>
                  </a:lnTo>
                  <a:lnTo>
                    <a:pt x="15" y="109"/>
                  </a:lnTo>
                  <a:lnTo>
                    <a:pt x="16" y="113"/>
                  </a:lnTo>
                  <a:lnTo>
                    <a:pt x="14" y="117"/>
                  </a:lnTo>
                  <a:lnTo>
                    <a:pt x="15" y="118"/>
                  </a:lnTo>
                  <a:lnTo>
                    <a:pt x="22" y="118"/>
                  </a:lnTo>
                  <a:lnTo>
                    <a:pt x="25" y="119"/>
                  </a:lnTo>
                  <a:lnTo>
                    <a:pt x="25" y="122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7" y="125"/>
                  </a:lnTo>
                  <a:lnTo>
                    <a:pt x="23" y="128"/>
                  </a:lnTo>
                  <a:lnTo>
                    <a:pt x="22" y="139"/>
                  </a:lnTo>
                  <a:lnTo>
                    <a:pt x="18" y="145"/>
                  </a:lnTo>
                  <a:lnTo>
                    <a:pt x="17" y="148"/>
                  </a:lnTo>
                  <a:lnTo>
                    <a:pt x="6" y="148"/>
                  </a:lnTo>
                  <a:lnTo>
                    <a:pt x="3" y="149"/>
                  </a:lnTo>
                  <a:lnTo>
                    <a:pt x="6" y="161"/>
                  </a:lnTo>
                  <a:lnTo>
                    <a:pt x="8" y="161"/>
                  </a:lnTo>
                  <a:lnTo>
                    <a:pt x="10" y="165"/>
                  </a:lnTo>
                  <a:lnTo>
                    <a:pt x="10" y="167"/>
                  </a:lnTo>
                  <a:lnTo>
                    <a:pt x="13" y="169"/>
                  </a:lnTo>
                  <a:lnTo>
                    <a:pt x="9" y="184"/>
                  </a:lnTo>
                  <a:lnTo>
                    <a:pt x="2" y="190"/>
                  </a:lnTo>
                  <a:lnTo>
                    <a:pt x="0" y="195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9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8" y="201"/>
                  </a:lnTo>
                  <a:lnTo>
                    <a:pt x="12" y="201"/>
                  </a:lnTo>
                  <a:lnTo>
                    <a:pt x="17" y="205"/>
                  </a:lnTo>
                  <a:lnTo>
                    <a:pt x="26" y="205"/>
                  </a:lnTo>
                  <a:lnTo>
                    <a:pt x="28" y="206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4" y="215"/>
                  </a:lnTo>
                  <a:lnTo>
                    <a:pt x="37" y="223"/>
                  </a:lnTo>
                  <a:lnTo>
                    <a:pt x="42" y="223"/>
                  </a:lnTo>
                  <a:lnTo>
                    <a:pt x="46" y="227"/>
                  </a:lnTo>
                  <a:lnTo>
                    <a:pt x="52" y="226"/>
                  </a:lnTo>
                  <a:lnTo>
                    <a:pt x="52" y="231"/>
                  </a:lnTo>
                  <a:lnTo>
                    <a:pt x="54" y="235"/>
                  </a:lnTo>
                  <a:lnTo>
                    <a:pt x="55" y="240"/>
                  </a:lnTo>
                  <a:lnTo>
                    <a:pt x="53" y="246"/>
                  </a:lnTo>
                  <a:lnTo>
                    <a:pt x="55" y="250"/>
                  </a:lnTo>
                  <a:lnTo>
                    <a:pt x="55" y="251"/>
                  </a:lnTo>
                  <a:lnTo>
                    <a:pt x="50" y="251"/>
                  </a:lnTo>
                  <a:lnTo>
                    <a:pt x="49" y="254"/>
                  </a:lnTo>
                  <a:lnTo>
                    <a:pt x="49" y="260"/>
                  </a:lnTo>
                  <a:lnTo>
                    <a:pt x="47" y="260"/>
                  </a:lnTo>
                  <a:lnTo>
                    <a:pt x="46" y="262"/>
                  </a:lnTo>
                  <a:lnTo>
                    <a:pt x="47" y="267"/>
                  </a:lnTo>
                  <a:lnTo>
                    <a:pt x="46" y="271"/>
                  </a:lnTo>
                  <a:lnTo>
                    <a:pt x="46" y="2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1" name="Freeform 129"/>
            <p:cNvSpPr>
              <a:spLocks/>
            </p:cNvSpPr>
            <p:nvPr/>
          </p:nvSpPr>
          <p:spPr bwMode="auto">
            <a:xfrm>
              <a:off x="3253332" y="2677748"/>
              <a:ext cx="121861" cy="235631"/>
            </a:xfrm>
            <a:custGeom>
              <a:avLst/>
              <a:gdLst>
                <a:gd name="T0" fmla="*/ 12 w 100"/>
                <a:gd name="T1" fmla="*/ 29 h 235"/>
                <a:gd name="T2" fmla="*/ 11 w 100"/>
                <a:gd name="T3" fmla="*/ 29 h 235"/>
                <a:gd name="T4" fmla="*/ 8 w 100"/>
                <a:gd name="T5" fmla="*/ 26 h 235"/>
                <a:gd name="T6" fmla="*/ 6 w 100"/>
                <a:gd name="T7" fmla="*/ 10 h 235"/>
                <a:gd name="T8" fmla="*/ 5 w 100"/>
                <a:gd name="T9" fmla="*/ 9 h 235"/>
                <a:gd name="T10" fmla="*/ 5 w 100"/>
                <a:gd name="T11" fmla="*/ 5 h 235"/>
                <a:gd name="T12" fmla="*/ 2 w 100"/>
                <a:gd name="T13" fmla="*/ 3 h 235"/>
                <a:gd name="T14" fmla="*/ 1 w 100"/>
                <a:gd name="T15" fmla="*/ 3 h 235"/>
                <a:gd name="T16" fmla="*/ 1 w 100"/>
                <a:gd name="T17" fmla="*/ 2 h 235"/>
                <a:gd name="T18" fmla="*/ 1 w 100"/>
                <a:gd name="T19" fmla="*/ 2 h 235"/>
                <a:gd name="T20" fmla="*/ 1 w 100"/>
                <a:gd name="T21" fmla="*/ 1 h 235"/>
                <a:gd name="T22" fmla="*/ 1 w 100"/>
                <a:gd name="T23" fmla="*/ 1 h 235"/>
                <a:gd name="T24" fmla="*/ 1 w 100"/>
                <a:gd name="T25" fmla="*/ 1 h 235"/>
                <a:gd name="T26" fmla="*/ 1 w 100"/>
                <a:gd name="T27" fmla="*/ 1 h 235"/>
                <a:gd name="T28" fmla="*/ 0 w 100"/>
                <a:gd name="T29" fmla="*/ 1 h 235"/>
                <a:gd name="T30" fmla="*/ 0 w 100"/>
                <a:gd name="T31" fmla="*/ 0 h 235"/>
                <a:gd name="T32" fmla="*/ 1 w 100"/>
                <a:gd name="T33" fmla="*/ 1 h 235"/>
                <a:gd name="T34" fmla="*/ 5 w 100"/>
                <a:gd name="T35" fmla="*/ 1 h 235"/>
                <a:gd name="T36" fmla="*/ 6 w 100"/>
                <a:gd name="T37" fmla="*/ 1 h 235"/>
                <a:gd name="T38" fmla="*/ 6 w 100"/>
                <a:gd name="T39" fmla="*/ 1 h 235"/>
                <a:gd name="T40" fmla="*/ 7 w 100"/>
                <a:gd name="T41" fmla="*/ 1 h 235"/>
                <a:gd name="T42" fmla="*/ 8 w 100"/>
                <a:gd name="T43" fmla="*/ 1 h 235"/>
                <a:gd name="T44" fmla="*/ 9 w 100"/>
                <a:gd name="T45" fmla="*/ 1 h 235"/>
                <a:gd name="T46" fmla="*/ 8 w 100"/>
                <a:gd name="T47" fmla="*/ 1 h 235"/>
                <a:gd name="T48" fmla="*/ 8 w 100"/>
                <a:gd name="T49" fmla="*/ 2 h 235"/>
                <a:gd name="T50" fmla="*/ 8 w 100"/>
                <a:gd name="T51" fmla="*/ 3 h 235"/>
                <a:gd name="T52" fmla="*/ 8 w 100"/>
                <a:gd name="T53" fmla="*/ 3 h 235"/>
                <a:gd name="T54" fmla="*/ 8 w 100"/>
                <a:gd name="T55" fmla="*/ 4 h 235"/>
                <a:gd name="T56" fmla="*/ 8 w 100"/>
                <a:gd name="T57" fmla="*/ 5 h 235"/>
                <a:gd name="T58" fmla="*/ 10 w 100"/>
                <a:gd name="T59" fmla="*/ 5 h 235"/>
                <a:gd name="T60" fmla="*/ 10 w 100"/>
                <a:gd name="T61" fmla="*/ 5 h 235"/>
                <a:gd name="T62" fmla="*/ 10 w 100"/>
                <a:gd name="T63" fmla="*/ 5 h 235"/>
                <a:gd name="T64" fmla="*/ 12 w 100"/>
                <a:gd name="T65" fmla="*/ 7 h 235"/>
                <a:gd name="T66" fmla="*/ 16 w 100"/>
                <a:gd name="T67" fmla="*/ 27 h 235"/>
                <a:gd name="T68" fmla="*/ 17 w 100"/>
                <a:gd name="T69" fmla="*/ 28 h 235"/>
                <a:gd name="T70" fmla="*/ 17 w 100"/>
                <a:gd name="T71" fmla="*/ 28 h 235"/>
                <a:gd name="T72" fmla="*/ 12 w 100"/>
                <a:gd name="T73" fmla="*/ 29 h 2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0"/>
                <a:gd name="T112" fmla="*/ 0 h 235"/>
                <a:gd name="T113" fmla="*/ 100 w 100"/>
                <a:gd name="T114" fmla="*/ 235 h 2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0" h="235">
                  <a:moveTo>
                    <a:pt x="68" y="235"/>
                  </a:moveTo>
                  <a:lnTo>
                    <a:pt x="64" y="233"/>
                  </a:lnTo>
                  <a:lnTo>
                    <a:pt x="44" y="210"/>
                  </a:lnTo>
                  <a:lnTo>
                    <a:pt x="32" y="78"/>
                  </a:lnTo>
                  <a:lnTo>
                    <a:pt x="29" y="74"/>
                  </a:lnTo>
                  <a:lnTo>
                    <a:pt x="25" y="44"/>
                  </a:lnTo>
                  <a:lnTo>
                    <a:pt x="11" y="28"/>
                  </a:lnTo>
                  <a:lnTo>
                    <a:pt x="4" y="23"/>
                  </a:lnTo>
                  <a:lnTo>
                    <a:pt x="4" y="17"/>
                  </a:lnTo>
                  <a:lnTo>
                    <a:pt x="7" y="13"/>
                  </a:lnTo>
                  <a:lnTo>
                    <a:pt x="7" y="9"/>
                  </a:lnTo>
                  <a:lnTo>
                    <a:pt x="9" y="5"/>
                  </a:lnTo>
                  <a:lnTo>
                    <a:pt x="9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lnTo>
                    <a:pt x="29" y="5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7"/>
                  </a:lnTo>
                  <a:lnTo>
                    <a:pt x="49" y="7"/>
                  </a:lnTo>
                  <a:lnTo>
                    <a:pt x="50" y="6"/>
                  </a:lnTo>
                  <a:lnTo>
                    <a:pt x="48" y="8"/>
                  </a:lnTo>
                  <a:lnTo>
                    <a:pt x="47" y="15"/>
                  </a:lnTo>
                  <a:lnTo>
                    <a:pt x="45" y="20"/>
                  </a:lnTo>
                  <a:lnTo>
                    <a:pt x="43" y="30"/>
                  </a:lnTo>
                  <a:lnTo>
                    <a:pt x="44" y="36"/>
                  </a:lnTo>
                  <a:lnTo>
                    <a:pt x="47" y="40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60" y="44"/>
                  </a:lnTo>
                  <a:lnTo>
                    <a:pt x="70" y="58"/>
                  </a:lnTo>
                  <a:lnTo>
                    <a:pt x="92" y="218"/>
                  </a:lnTo>
                  <a:lnTo>
                    <a:pt x="95" y="225"/>
                  </a:lnTo>
                  <a:lnTo>
                    <a:pt x="100" y="226"/>
                  </a:lnTo>
                  <a:lnTo>
                    <a:pt x="68" y="23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2" name="Freeform 130"/>
            <p:cNvSpPr>
              <a:spLocks/>
            </p:cNvSpPr>
            <p:nvPr/>
          </p:nvSpPr>
          <p:spPr bwMode="auto">
            <a:xfrm>
              <a:off x="5524009" y="2642496"/>
              <a:ext cx="558529" cy="621547"/>
            </a:xfrm>
            <a:custGeom>
              <a:avLst/>
              <a:gdLst>
                <a:gd name="T0" fmla="*/ 4 w 470"/>
                <a:gd name="T1" fmla="*/ 76 h 620"/>
                <a:gd name="T2" fmla="*/ 0 w 470"/>
                <a:gd name="T3" fmla="*/ 51 h 620"/>
                <a:gd name="T4" fmla="*/ 6 w 470"/>
                <a:gd name="T5" fmla="*/ 45 h 620"/>
                <a:gd name="T6" fmla="*/ 7 w 470"/>
                <a:gd name="T7" fmla="*/ 45 h 620"/>
                <a:gd name="T8" fmla="*/ 17 w 470"/>
                <a:gd name="T9" fmla="*/ 41 h 620"/>
                <a:gd name="T10" fmla="*/ 30 w 470"/>
                <a:gd name="T11" fmla="*/ 39 h 620"/>
                <a:gd name="T12" fmla="*/ 52 w 470"/>
                <a:gd name="T13" fmla="*/ 22 h 620"/>
                <a:gd name="T14" fmla="*/ 23 w 470"/>
                <a:gd name="T15" fmla="*/ 16 h 620"/>
                <a:gd name="T16" fmla="*/ 19 w 470"/>
                <a:gd name="T17" fmla="*/ 14 h 620"/>
                <a:gd name="T18" fmla="*/ 17 w 470"/>
                <a:gd name="T19" fmla="*/ 12 h 620"/>
                <a:gd name="T20" fmla="*/ 15 w 470"/>
                <a:gd name="T21" fmla="*/ 10 h 620"/>
                <a:gd name="T22" fmla="*/ 13 w 470"/>
                <a:gd name="T23" fmla="*/ 9 h 620"/>
                <a:gd name="T24" fmla="*/ 16 w 470"/>
                <a:gd name="T25" fmla="*/ 3 h 620"/>
                <a:gd name="T26" fmla="*/ 17 w 470"/>
                <a:gd name="T27" fmla="*/ 3 h 620"/>
                <a:gd name="T28" fmla="*/ 23 w 470"/>
                <a:gd name="T29" fmla="*/ 8 h 620"/>
                <a:gd name="T30" fmla="*/ 26 w 470"/>
                <a:gd name="T31" fmla="*/ 9 h 620"/>
                <a:gd name="T32" fmla="*/ 35 w 470"/>
                <a:gd name="T33" fmla="*/ 6 h 620"/>
                <a:gd name="T34" fmla="*/ 35 w 470"/>
                <a:gd name="T35" fmla="*/ 6 h 620"/>
                <a:gd name="T36" fmla="*/ 36 w 470"/>
                <a:gd name="T37" fmla="*/ 6 h 620"/>
                <a:gd name="T38" fmla="*/ 37 w 470"/>
                <a:gd name="T39" fmla="*/ 6 h 620"/>
                <a:gd name="T40" fmla="*/ 39 w 470"/>
                <a:gd name="T41" fmla="*/ 7 h 620"/>
                <a:gd name="T42" fmla="*/ 43 w 470"/>
                <a:gd name="T43" fmla="*/ 6 h 620"/>
                <a:gd name="T44" fmla="*/ 46 w 470"/>
                <a:gd name="T45" fmla="*/ 5 h 620"/>
                <a:gd name="T46" fmla="*/ 49 w 470"/>
                <a:gd name="T47" fmla="*/ 5 h 620"/>
                <a:gd name="T48" fmla="*/ 56 w 470"/>
                <a:gd name="T49" fmla="*/ 3 h 620"/>
                <a:gd name="T50" fmla="*/ 61 w 470"/>
                <a:gd name="T51" fmla="*/ 3 h 620"/>
                <a:gd name="T52" fmla="*/ 62 w 470"/>
                <a:gd name="T53" fmla="*/ 3 h 620"/>
                <a:gd name="T54" fmla="*/ 70 w 470"/>
                <a:gd name="T55" fmla="*/ 1 h 620"/>
                <a:gd name="T56" fmla="*/ 71 w 470"/>
                <a:gd name="T57" fmla="*/ 0 h 620"/>
                <a:gd name="T58" fmla="*/ 74 w 470"/>
                <a:gd name="T59" fmla="*/ 1 h 620"/>
                <a:gd name="T60" fmla="*/ 75 w 470"/>
                <a:gd name="T61" fmla="*/ 1 h 620"/>
                <a:gd name="T62" fmla="*/ 75 w 470"/>
                <a:gd name="T63" fmla="*/ 2 h 620"/>
                <a:gd name="T64" fmla="*/ 74 w 470"/>
                <a:gd name="T65" fmla="*/ 3 h 620"/>
                <a:gd name="T66" fmla="*/ 75 w 470"/>
                <a:gd name="T67" fmla="*/ 5 h 620"/>
                <a:gd name="T68" fmla="*/ 75 w 470"/>
                <a:gd name="T69" fmla="*/ 6 h 620"/>
                <a:gd name="T70" fmla="*/ 75 w 470"/>
                <a:gd name="T71" fmla="*/ 8 h 620"/>
                <a:gd name="T72" fmla="*/ 74 w 470"/>
                <a:gd name="T73" fmla="*/ 9 h 620"/>
                <a:gd name="T74" fmla="*/ 75 w 470"/>
                <a:gd name="T75" fmla="*/ 9 h 620"/>
                <a:gd name="T76" fmla="*/ 75 w 470"/>
                <a:gd name="T77" fmla="*/ 9 h 620"/>
                <a:gd name="T78" fmla="*/ 75 w 470"/>
                <a:gd name="T79" fmla="*/ 9 h 620"/>
                <a:gd name="T80" fmla="*/ 75 w 470"/>
                <a:gd name="T81" fmla="*/ 9 h 620"/>
                <a:gd name="T82" fmla="*/ 75 w 470"/>
                <a:gd name="T83" fmla="*/ 9 h 620"/>
                <a:gd name="T84" fmla="*/ 73 w 470"/>
                <a:gd name="T85" fmla="*/ 9 h 620"/>
                <a:gd name="T86" fmla="*/ 72 w 470"/>
                <a:gd name="T87" fmla="*/ 15 h 620"/>
                <a:gd name="T88" fmla="*/ 71 w 470"/>
                <a:gd name="T89" fmla="*/ 16 h 620"/>
                <a:gd name="T90" fmla="*/ 67 w 470"/>
                <a:gd name="T91" fmla="*/ 21 h 620"/>
                <a:gd name="T92" fmla="*/ 65 w 470"/>
                <a:gd name="T93" fmla="*/ 23 h 620"/>
                <a:gd name="T94" fmla="*/ 58 w 470"/>
                <a:gd name="T95" fmla="*/ 36 h 620"/>
                <a:gd name="T96" fmla="*/ 57 w 470"/>
                <a:gd name="T97" fmla="*/ 37 h 620"/>
                <a:gd name="T98" fmla="*/ 56 w 470"/>
                <a:gd name="T99" fmla="*/ 37 h 620"/>
                <a:gd name="T100" fmla="*/ 53 w 470"/>
                <a:gd name="T101" fmla="*/ 40 h 620"/>
                <a:gd name="T102" fmla="*/ 49 w 470"/>
                <a:gd name="T103" fmla="*/ 44 h 620"/>
                <a:gd name="T104" fmla="*/ 40 w 470"/>
                <a:gd name="T105" fmla="*/ 51 h 620"/>
                <a:gd name="T106" fmla="*/ 37 w 470"/>
                <a:gd name="T107" fmla="*/ 53 h 620"/>
                <a:gd name="T108" fmla="*/ 31 w 470"/>
                <a:gd name="T109" fmla="*/ 57 h 620"/>
                <a:gd name="T110" fmla="*/ 13 w 470"/>
                <a:gd name="T111" fmla="*/ 68 h 620"/>
                <a:gd name="T112" fmla="*/ 12 w 470"/>
                <a:gd name="T113" fmla="*/ 68 h 620"/>
                <a:gd name="T114" fmla="*/ 12 w 470"/>
                <a:gd name="T115" fmla="*/ 69 h 620"/>
                <a:gd name="T116" fmla="*/ 12 w 470"/>
                <a:gd name="T117" fmla="*/ 70 h 620"/>
                <a:gd name="T118" fmla="*/ 11 w 470"/>
                <a:gd name="T119" fmla="*/ 71 h 620"/>
                <a:gd name="T120" fmla="*/ 4 w 470"/>
                <a:gd name="T121" fmla="*/ 77 h 6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70"/>
                <a:gd name="T184" fmla="*/ 0 h 620"/>
                <a:gd name="T185" fmla="*/ 470 w 470"/>
                <a:gd name="T186" fmla="*/ 620 h 6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70" h="620">
                  <a:moveTo>
                    <a:pt x="25" y="620"/>
                  </a:moveTo>
                  <a:lnTo>
                    <a:pt x="25" y="616"/>
                  </a:lnTo>
                  <a:lnTo>
                    <a:pt x="0" y="585"/>
                  </a:lnTo>
                  <a:lnTo>
                    <a:pt x="0" y="417"/>
                  </a:lnTo>
                  <a:lnTo>
                    <a:pt x="3" y="415"/>
                  </a:lnTo>
                  <a:lnTo>
                    <a:pt x="40" y="370"/>
                  </a:lnTo>
                  <a:lnTo>
                    <a:pt x="41" y="366"/>
                  </a:lnTo>
                  <a:lnTo>
                    <a:pt x="43" y="362"/>
                  </a:lnTo>
                  <a:lnTo>
                    <a:pt x="85" y="347"/>
                  </a:lnTo>
                  <a:lnTo>
                    <a:pt x="107" y="329"/>
                  </a:lnTo>
                  <a:lnTo>
                    <a:pt x="130" y="318"/>
                  </a:lnTo>
                  <a:lnTo>
                    <a:pt x="185" y="317"/>
                  </a:lnTo>
                  <a:lnTo>
                    <a:pt x="320" y="179"/>
                  </a:lnTo>
                  <a:lnTo>
                    <a:pt x="321" y="177"/>
                  </a:lnTo>
                  <a:lnTo>
                    <a:pt x="277" y="179"/>
                  </a:lnTo>
                  <a:lnTo>
                    <a:pt x="139" y="130"/>
                  </a:lnTo>
                  <a:lnTo>
                    <a:pt x="133" y="123"/>
                  </a:lnTo>
                  <a:lnTo>
                    <a:pt x="117" y="111"/>
                  </a:lnTo>
                  <a:lnTo>
                    <a:pt x="111" y="103"/>
                  </a:lnTo>
                  <a:lnTo>
                    <a:pt x="106" y="98"/>
                  </a:lnTo>
                  <a:lnTo>
                    <a:pt x="104" y="93"/>
                  </a:lnTo>
                  <a:lnTo>
                    <a:pt x="94" y="84"/>
                  </a:lnTo>
                  <a:lnTo>
                    <a:pt x="93" y="80"/>
                  </a:lnTo>
                  <a:lnTo>
                    <a:pt x="86" y="74"/>
                  </a:lnTo>
                  <a:lnTo>
                    <a:pt x="82" y="54"/>
                  </a:lnTo>
                  <a:lnTo>
                    <a:pt x="100" y="21"/>
                  </a:lnTo>
                  <a:lnTo>
                    <a:pt x="103" y="20"/>
                  </a:lnTo>
                  <a:lnTo>
                    <a:pt x="105" y="23"/>
                  </a:lnTo>
                  <a:lnTo>
                    <a:pt x="109" y="26"/>
                  </a:lnTo>
                  <a:lnTo>
                    <a:pt x="140" y="62"/>
                  </a:lnTo>
                  <a:lnTo>
                    <a:pt x="156" y="71"/>
                  </a:lnTo>
                  <a:lnTo>
                    <a:pt x="161" y="69"/>
                  </a:lnTo>
                  <a:lnTo>
                    <a:pt x="180" y="70"/>
                  </a:lnTo>
                  <a:lnTo>
                    <a:pt x="212" y="53"/>
                  </a:lnTo>
                  <a:lnTo>
                    <a:pt x="214" y="50"/>
                  </a:lnTo>
                  <a:lnTo>
                    <a:pt x="216" y="49"/>
                  </a:lnTo>
                  <a:lnTo>
                    <a:pt x="218" y="49"/>
                  </a:lnTo>
                  <a:lnTo>
                    <a:pt x="222" y="51"/>
                  </a:lnTo>
                  <a:lnTo>
                    <a:pt x="225" y="51"/>
                  </a:lnTo>
                  <a:lnTo>
                    <a:pt x="227" y="52"/>
                  </a:lnTo>
                  <a:lnTo>
                    <a:pt x="237" y="52"/>
                  </a:lnTo>
                  <a:lnTo>
                    <a:pt x="244" y="57"/>
                  </a:lnTo>
                  <a:lnTo>
                    <a:pt x="260" y="54"/>
                  </a:lnTo>
                  <a:lnTo>
                    <a:pt x="269" y="47"/>
                  </a:lnTo>
                  <a:lnTo>
                    <a:pt x="277" y="45"/>
                  </a:lnTo>
                  <a:lnTo>
                    <a:pt x="281" y="40"/>
                  </a:lnTo>
                  <a:lnTo>
                    <a:pt x="295" y="36"/>
                  </a:lnTo>
                  <a:lnTo>
                    <a:pt x="305" y="39"/>
                  </a:lnTo>
                  <a:lnTo>
                    <a:pt x="333" y="36"/>
                  </a:lnTo>
                  <a:lnTo>
                    <a:pt x="343" y="29"/>
                  </a:lnTo>
                  <a:lnTo>
                    <a:pt x="359" y="31"/>
                  </a:lnTo>
                  <a:lnTo>
                    <a:pt x="377" y="25"/>
                  </a:lnTo>
                  <a:lnTo>
                    <a:pt x="382" y="25"/>
                  </a:lnTo>
                  <a:lnTo>
                    <a:pt x="386" y="21"/>
                  </a:lnTo>
                  <a:lnTo>
                    <a:pt x="414" y="17"/>
                  </a:lnTo>
                  <a:lnTo>
                    <a:pt x="430" y="10"/>
                  </a:lnTo>
                  <a:lnTo>
                    <a:pt x="434" y="2"/>
                  </a:lnTo>
                  <a:lnTo>
                    <a:pt x="440" y="0"/>
                  </a:lnTo>
                  <a:lnTo>
                    <a:pt x="448" y="0"/>
                  </a:lnTo>
                  <a:lnTo>
                    <a:pt x="456" y="6"/>
                  </a:lnTo>
                  <a:lnTo>
                    <a:pt x="464" y="6"/>
                  </a:lnTo>
                  <a:lnTo>
                    <a:pt x="466" y="7"/>
                  </a:lnTo>
                  <a:lnTo>
                    <a:pt x="464" y="12"/>
                  </a:lnTo>
                  <a:lnTo>
                    <a:pt x="465" y="17"/>
                  </a:lnTo>
                  <a:lnTo>
                    <a:pt x="459" y="23"/>
                  </a:lnTo>
                  <a:lnTo>
                    <a:pt x="458" y="28"/>
                  </a:lnTo>
                  <a:lnTo>
                    <a:pt x="459" y="36"/>
                  </a:lnTo>
                  <a:lnTo>
                    <a:pt x="463" y="40"/>
                  </a:lnTo>
                  <a:lnTo>
                    <a:pt x="461" y="44"/>
                  </a:lnTo>
                  <a:lnTo>
                    <a:pt x="462" y="49"/>
                  </a:lnTo>
                  <a:lnTo>
                    <a:pt x="461" y="56"/>
                  </a:lnTo>
                  <a:lnTo>
                    <a:pt x="462" y="64"/>
                  </a:lnTo>
                  <a:lnTo>
                    <a:pt x="461" y="66"/>
                  </a:lnTo>
                  <a:lnTo>
                    <a:pt x="455" y="71"/>
                  </a:lnTo>
                  <a:lnTo>
                    <a:pt x="455" y="72"/>
                  </a:lnTo>
                  <a:lnTo>
                    <a:pt x="461" y="71"/>
                  </a:lnTo>
                  <a:lnTo>
                    <a:pt x="462" y="69"/>
                  </a:lnTo>
                  <a:lnTo>
                    <a:pt x="463" y="69"/>
                  </a:lnTo>
                  <a:lnTo>
                    <a:pt x="465" y="71"/>
                  </a:lnTo>
                  <a:lnTo>
                    <a:pt x="469" y="72"/>
                  </a:lnTo>
                  <a:lnTo>
                    <a:pt x="470" y="75"/>
                  </a:lnTo>
                  <a:lnTo>
                    <a:pt x="468" y="76"/>
                  </a:lnTo>
                  <a:lnTo>
                    <a:pt x="467" y="76"/>
                  </a:lnTo>
                  <a:lnTo>
                    <a:pt x="462" y="74"/>
                  </a:lnTo>
                  <a:lnTo>
                    <a:pt x="455" y="74"/>
                  </a:lnTo>
                  <a:lnTo>
                    <a:pt x="451" y="76"/>
                  </a:lnTo>
                  <a:lnTo>
                    <a:pt x="450" y="77"/>
                  </a:lnTo>
                  <a:lnTo>
                    <a:pt x="445" y="118"/>
                  </a:lnTo>
                  <a:lnTo>
                    <a:pt x="443" y="122"/>
                  </a:lnTo>
                  <a:lnTo>
                    <a:pt x="442" y="131"/>
                  </a:lnTo>
                  <a:lnTo>
                    <a:pt x="434" y="138"/>
                  </a:lnTo>
                  <a:lnTo>
                    <a:pt x="415" y="171"/>
                  </a:lnTo>
                  <a:lnTo>
                    <a:pt x="406" y="179"/>
                  </a:lnTo>
                  <a:lnTo>
                    <a:pt x="402" y="189"/>
                  </a:lnTo>
                  <a:lnTo>
                    <a:pt x="401" y="199"/>
                  </a:lnTo>
                  <a:lnTo>
                    <a:pt x="359" y="288"/>
                  </a:lnTo>
                  <a:lnTo>
                    <a:pt x="353" y="294"/>
                  </a:lnTo>
                  <a:lnTo>
                    <a:pt x="350" y="296"/>
                  </a:lnTo>
                  <a:lnTo>
                    <a:pt x="348" y="299"/>
                  </a:lnTo>
                  <a:lnTo>
                    <a:pt x="346" y="300"/>
                  </a:lnTo>
                  <a:lnTo>
                    <a:pt x="330" y="317"/>
                  </a:lnTo>
                  <a:lnTo>
                    <a:pt x="325" y="325"/>
                  </a:lnTo>
                  <a:lnTo>
                    <a:pt x="325" y="327"/>
                  </a:lnTo>
                  <a:lnTo>
                    <a:pt x="303" y="361"/>
                  </a:lnTo>
                  <a:lnTo>
                    <a:pt x="304" y="362"/>
                  </a:lnTo>
                  <a:lnTo>
                    <a:pt x="248" y="412"/>
                  </a:lnTo>
                  <a:lnTo>
                    <a:pt x="248" y="415"/>
                  </a:lnTo>
                  <a:lnTo>
                    <a:pt x="232" y="435"/>
                  </a:lnTo>
                  <a:lnTo>
                    <a:pt x="209" y="453"/>
                  </a:lnTo>
                  <a:lnTo>
                    <a:pt x="193" y="459"/>
                  </a:lnTo>
                  <a:lnTo>
                    <a:pt x="187" y="460"/>
                  </a:lnTo>
                  <a:lnTo>
                    <a:pt x="86" y="552"/>
                  </a:lnTo>
                  <a:lnTo>
                    <a:pt x="76" y="554"/>
                  </a:lnTo>
                  <a:lnTo>
                    <a:pt x="73" y="553"/>
                  </a:lnTo>
                  <a:lnTo>
                    <a:pt x="71" y="556"/>
                  </a:lnTo>
                  <a:lnTo>
                    <a:pt x="73" y="557"/>
                  </a:lnTo>
                  <a:lnTo>
                    <a:pt x="74" y="559"/>
                  </a:lnTo>
                  <a:lnTo>
                    <a:pt x="73" y="562"/>
                  </a:lnTo>
                  <a:lnTo>
                    <a:pt x="71" y="563"/>
                  </a:lnTo>
                  <a:lnTo>
                    <a:pt x="68" y="571"/>
                  </a:lnTo>
                  <a:lnTo>
                    <a:pt x="27" y="618"/>
                  </a:lnTo>
                  <a:lnTo>
                    <a:pt x="25" y="62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3" name="Freeform 131"/>
            <p:cNvSpPr>
              <a:spLocks/>
            </p:cNvSpPr>
            <p:nvPr/>
          </p:nvSpPr>
          <p:spPr bwMode="auto">
            <a:xfrm>
              <a:off x="5524009" y="2642496"/>
              <a:ext cx="558529" cy="621547"/>
            </a:xfrm>
            <a:custGeom>
              <a:avLst/>
              <a:gdLst>
                <a:gd name="T0" fmla="*/ 4 w 470"/>
                <a:gd name="T1" fmla="*/ 76 h 620"/>
                <a:gd name="T2" fmla="*/ 0 w 470"/>
                <a:gd name="T3" fmla="*/ 51 h 620"/>
                <a:gd name="T4" fmla="*/ 6 w 470"/>
                <a:gd name="T5" fmla="*/ 45 h 620"/>
                <a:gd name="T6" fmla="*/ 7 w 470"/>
                <a:gd name="T7" fmla="*/ 45 h 620"/>
                <a:gd name="T8" fmla="*/ 17 w 470"/>
                <a:gd name="T9" fmla="*/ 41 h 620"/>
                <a:gd name="T10" fmla="*/ 30 w 470"/>
                <a:gd name="T11" fmla="*/ 39 h 620"/>
                <a:gd name="T12" fmla="*/ 52 w 470"/>
                <a:gd name="T13" fmla="*/ 22 h 620"/>
                <a:gd name="T14" fmla="*/ 23 w 470"/>
                <a:gd name="T15" fmla="*/ 16 h 620"/>
                <a:gd name="T16" fmla="*/ 19 w 470"/>
                <a:gd name="T17" fmla="*/ 14 h 620"/>
                <a:gd name="T18" fmla="*/ 17 w 470"/>
                <a:gd name="T19" fmla="*/ 12 h 620"/>
                <a:gd name="T20" fmla="*/ 15 w 470"/>
                <a:gd name="T21" fmla="*/ 10 h 620"/>
                <a:gd name="T22" fmla="*/ 13 w 470"/>
                <a:gd name="T23" fmla="*/ 9 h 620"/>
                <a:gd name="T24" fmla="*/ 16 w 470"/>
                <a:gd name="T25" fmla="*/ 3 h 620"/>
                <a:gd name="T26" fmla="*/ 17 w 470"/>
                <a:gd name="T27" fmla="*/ 3 h 620"/>
                <a:gd name="T28" fmla="*/ 23 w 470"/>
                <a:gd name="T29" fmla="*/ 8 h 620"/>
                <a:gd name="T30" fmla="*/ 26 w 470"/>
                <a:gd name="T31" fmla="*/ 9 h 620"/>
                <a:gd name="T32" fmla="*/ 35 w 470"/>
                <a:gd name="T33" fmla="*/ 6 h 620"/>
                <a:gd name="T34" fmla="*/ 35 w 470"/>
                <a:gd name="T35" fmla="*/ 6 h 620"/>
                <a:gd name="T36" fmla="*/ 36 w 470"/>
                <a:gd name="T37" fmla="*/ 6 h 620"/>
                <a:gd name="T38" fmla="*/ 37 w 470"/>
                <a:gd name="T39" fmla="*/ 6 h 620"/>
                <a:gd name="T40" fmla="*/ 39 w 470"/>
                <a:gd name="T41" fmla="*/ 7 h 620"/>
                <a:gd name="T42" fmla="*/ 43 w 470"/>
                <a:gd name="T43" fmla="*/ 6 h 620"/>
                <a:gd name="T44" fmla="*/ 46 w 470"/>
                <a:gd name="T45" fmla="*/ 5 h 620"/>
                <a:gd name="T46" fmla="*/ 49 w 470"/>
                <a:gd name="T47" fmla="*/ 5 h 620"/>
                <a:gd name="T48" fmla="*/ 56 w 470"/>
                <a:gd name="T49" fmla="*/ 3 h 620"/>
                <a:gd name="T50" fmla="*/ 61 w 470"/>
                <a:gd name="T51" fmla="*/ 3 h 620"/>
                <a:gd name="T52" fmla="*/ 62 w 470"/>
                <a:gd name="T53" fmla="*/ 3 h 620"/>
                <a:gd name="T54" fmla="*/ 70 w 470"/>
                <a:gd name="T55" fmla="*/ 1 h 620"/>
                <a:gd name="T56" fmla="*/ 71 w 470"/>
                <a:gd name="T57" fmla="*/ 0 h 620"/>
                <a:gd name="T58" fmla="*/ 74 w 470"/>
                <a:gd name="T59" fmla="*/ 1 h 620"/>
                <a:gd name="T60" fmla="*/ 75 w 470"/>
                <a:gd name="T61" fmla="*/ 1 h 620"/>
                <a:gd name="T62" fmla="*/ 75 w 470"/>
                <a:gd name="T63" fmla="*/ 2 h 620"/>
                <a:gd name="T64" fmla="*/ 74 w 470"/>
                <a:gd name="T65" fmla="*/ 3 h 620"/>
                <a:gd name="T66" fmla="*/ 75 w 470"/>
                <a:gd name="T67" fmla="*/ 5 h 620"/>
                <a:gd name="T68" fmla="*/ 75 w 470"/>
                <a:gd name="T69" fmla="*/ 6 h 620"/>
                <a:gd name="T70" fmla="*/ 75 w 470"/>
                <a:gd name="T71" fmla="*/ 8 h 620"/>
                <a:gd name="T72" fmla="*/ 74 w 470"/>
                <a:gd name="T73" fmla="*/ 9 h 620"/>
                <a:gd name="T74" fmla="*/ 75 w 470"/>
                <a:gd name="T75" fmla="*/ 9 h 620"/>
                <a:gd name="T76" fmla="*/ 75 w 470"/>
                <a:gd name="T77" fmla="*/ 9 h 620"/>
                <a:gd name="T78" fmla="*/ 75 w 470"/>
                <a:gd name="T79" fmla="*/ 9 h 620"/>
                <a:gd name="T80" fmla="*/ 75 w 470"/>
                <a:gd name="T81" fmla="*/ 9 h 620"/>
                <a:gd name="T82" fmla="*/ 75 w 470"/>
                <a:gd name="T83" fmla="*/ 9 h 620"/>
                <a:gd name="T84" fmla="*/ 73 w 470"/>
                <a:gd name="T85" fmla="*/ 9 h 620"/>
                <a:gd name="T86" fmla="*/ 72 w 470"/>
                <a:gd name="T87" fmla="*/ 15 h 620"/>
                <a:gd name="T88" fmla="*/ 71 w 470"/>
                <a:gd name="T89" fmla="*/ 16 h 620"/>
                <a:gd name="T90" fmla="*/ 67 w 470"/>
                <a:gd name="T91" fmla="*/ 21 h 620"/>
                <a:gd name="T92" fmla="*/ 65 w 470"/>
                <a:gd name="T93" fmla="*/ 23 h 620"/>
                <a:gd name="T94" fmla="*/ 58 w 470"/>
                <a:gd name="T95" fmla="*/ 36 h 620"/>
                <a:gd name="T96" fmla="*/ 57 w 470"/>
                <a:gd name="T97" fmla="*/ 37 h 620"/>
                <a:gd name="T98" fmla="*/ 56 w 470"/>
                <a:gd name="T99" fmla="*/ 37 h 620"/>
                <a:gd name="T100" fmla="*/ 53 w 470"/>
                <a:gd name="T101" fmla="*/ 40 h 620"/>
                <a:gd name="T102" fmla="*/ 49 w 470"/>
                <a:gd name="T103" fmla="*/ 44 h 620"/>
                <a:gd name="T104" fmla="*/ 40 w 470"/>
                <a:gd name="T105" fmla="*/ 51 h 620"/>
                <a:gd name="T106" fmla="*/ 37 w 470"/>
                <a:gd name="T107" fmla="*/ 53 h 620"/>
                <a:gd name="T108" fmla="*/ 31 w 470"/>
                <a:gd name="T109" fmla="*/ 57 h 620"/>
                <a:gd name="T110" fmla="*/ 13 w 470"/>
                <a:gd name="T111" fmla="*/ 68 h 620"/>
                <a:gd name="T112" fmla="*/ 12 w 470"/>
                <a:gd name="T113" fmla="*/ 68 h 620"/>
                <a:gd name="T114" fmla="*/ 12 w 470"/>
                <a:gd name="T115" fmla="*/ 69 h 620"/>
                <a:gd name="T116" fmla="*/ 12 w 470"/>
                <a:gd name="T117" fmla="*/ 70 h 620"/>
                <a:gd name="T118" fmla="*/ 11 w 470"/>
                <a:gd name="T119" fmla="*/ 71 h 620"/>
                <a:gd name="T120" fmla="*/ 4 w 470"/>
                <a:gd name="T121" fmla="*/ 77 h 6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70"/>
                <a:gd name="T184" fmla="*/ 0 h 620"/>
                <a:gd name="T185" fmla="*/ 470 w 470"/>
                <a:gd name="T186" fmla="*/ 620 h 6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70" h="620">
                  <a:moveTo>
                    <a:pt x="25" y="620"/>
                  </a:moveTo>
                  <a:lnTo>
                    <a:pt x="25" y="616"/>
                  </a:lnTo>
                  <a:lnTo>
                    <a:pt x="0" y="585"/>
                  </a:lnTo>
                  <a:lnTo>
                    <a:pt x="0" y="417"/>
                  </a:lnTo>
                  <a:lnTo>
                    <a:pt x="3" y="415"/>
                  </a:lnTo>
                  <a:lnTo>
                    <a:pt x="40" y="370"/>
                  </a:lnTo>
                  <a:lnTo>
                    <a:pt x="41" y="366"/>
                  </a:lnTo>
                  <a:lnTo>
                    <a:pt x="43" y="362"/>
                  </a:lnTo>
                  <a:lnTo>
                    <a:pt x="85" y="347"/>
                  </a:lnTo>
                  <a:lnTo>
                    <a:pt x="107" y="329"/>
                  </a:lnTo>
                  <a:lnTo>
                    <a:pt x="130" y="318"/>
                  </a:lnTo>
                  <a:lnTo>
                    <a:pt x="185" y="317"/>
                  </a:lnTo>
                  <a:lnTo>
                    <a:pt x="320" y="179"/>
                  </a:lnTo>
                  <a:lnTo>
                    <a:pt x="321" y="177"/>
                  </a:lnTo>
                  <a:lnTo>
                    <a:pt x="277" y="179"/>
                  </a:lnTo>
                  <a:lnTo>
                    <a:pt x="139" y="130"/>
                  </a:lnTo>
                  <a:lnTo>
                    <a:pt x="133" y="123"/>
                  </a:lnTo>
                  <a:lnTo>
                    <a:pt x="117" y="111"/>
                  </a:lnTo>
                  <a:lnTo>
                    <a:pt x="111" y="103"/>
                  </a:lnTo>
                  <a:lnTo>
                    <a:pt x="106" y="98"/>
                  </a:lnTo>
                  <a:lnTo>
                    <a:pt x="104" y="93"/>
                  </a:lnTo>
                  <a:lnTo>
                    <a:pt x="94" y="84"/>
                  </a:lnTo>
                  <a:lnTo>
                    <a:pt x="93" y="80"/>
                  </a:lnTo>
                  <a:lnTo>
                    <a:pt x="86" y="74"/>
                  </a:lnTo>
                  <a:lnTo>
                    <a:pt x="82" y="54"/>
                  </a:lnTo>
                  <a:lnTo>
                    <a:pt x="100" y="21"/>
                  </a:lnTo>
                  <a:lnTo>
                    <a:pt x="103" y="20"/>
                  </a:lnTo>
                  <a:lnTo>
                    <a:pt x="105" y="23"/>
                  </a:lnTo>
                  <a:lnTo>
                    <a:pt x="109" y="26"/>
                  </a:lnTo>
                  <a:lnTo>
                    <a:pt x="140" y="62"/>
                  </a:lnTo>
                  <a:lnTo>
                    <a:pt x="156" y="71"/>
                  </a:lnTo>
                  <a:lnTo>
                    <a:pt x="161" y="69"/>
                  </a:lnTo>
                  <a:lnTo>
                    <a:pt x="180" y="70"/>
                  </a:lnTo>
                  <a:lnTo>
                    <a:pt x="212" y="53"/>
                  </a:lnTo>
                  <a:lnTo>
                    <a:pt x="214" y="50"/>
                  </a:lnTo>
                  <a:lnTo>
                    <a:pt x="216" y="49"/>
                  </a:lnTo>
                  <a:lnTo>
                    <a:pt x="218" y="49"/>
                  </a:lnTo>
                  <a:lnTo>
                    <a:pt x="222" y="51"/>
                  </a:lnTo>
                  <a:lnTo>
                    <a:pt x="225" y="51"/>
                  </a:lnTo>
                  <a:lnTo>
                    <a:pt x="227" y="52"/>
                  </a:lnTo>
                  <a:lnTo>
                    <a:pt x="237" y="52"/>
                  </a:lnTo>
                  <a:lnTo>
                    <a:pt x="244" y="57"/>
                  </a:lnTo>
                  <a:lnTo>
                    <a:pt x="260" y="54"/>
                  </a:lnTo>
                  <a:lnTo>
                    <a:pt x="269" y="47"/>
                  </a:lnTo>
                  <a:lnTo>
                    <a:pt x="277" y="45"/>
                  </a:lnTo>
                  <a:lnTo>
                    <a:pt x="281" y="40"/>
                  </a:lnTo>
                  <a:lnTo>
                    <a:pt x="295" y="36"/>
                  </a:lnTo>
                  <a:lnTo>
                    <a:pt x="305" y="39"/>
                  </a:lnTo>
                  <a:lnTo>
                    <a:pt x="333" y="36"/>
                  </a:lnTo>
                  <a:lnTo>
                    <a:pt x="343" y="29"/>
                  </a:lnTo>
                  <a:lnTo>
                    <a:pt x="359" y="31"/>
                  </a:lnTo>
                  <a:lnTo>
                    <a:pt x="377" y="25"/>
                  </a:lnTo>
                  <a:lnTo>
                    <a:pt x="382" y="25"/>
                  </a:lnTo>
                  <a:lnTo>
                    <a:pt x="386" y="21"/>
                  </a:lnTo>
                  <a:lnTo>
                    <a:pt x="414" y="17"/>
                  </a:lnTo>
                  <a:lnTo>
                    <a:pt x="430" y="10"/>
                  </a:lnTo>
                  <a:lnTo>
                    <a:pt x="434" y="2"/>
                  </a:lnTo>
                  <a:lnTo>
                    <a:pt x="440" y="0"/>
                  </a:lnTo>
                  <a:lnTo>
                    <a:pt x="448" y="0"/>
                  </a:lnTo>
                  <a:lnTo>
                    <a:pt x="456" y="6"/>
                  </a:lnTo>
                  <a:lnTo>
                    <a:pt x="464" y="6"/>
                  </a:lnTo>
                  <a:lnTo>
                    <a:pt x="466" y="7"/>
                  </a:lnTo>
                  <a:lnTo>
                    <a:pt x="464" y="12"/>
                  </a:lnTo>
                  <a:lnTo>
                    <a:pt x="465" y="17"/>
                  </a:lnTo>
                  <a:lnTo>
                    <a:pt x="459" y="23"/>
                  </a:lnTo>
                  <a:lnTo>
                    <a:pt x="458" y="28"/>
                  </a:lnTo>
                  <a:lnTo>
                    <a:pt x="459" y="36"/>
                  </a:lnTo>
                  <a:lnTo>
                    <a:pt x="463" y="40"/>
                  </a:lnTo>
                  <a:lnTo>
                    <a:pt x="461" y="44"/>
                  </a:lnTo>
                  <a:lnTo>
                    <a:pt x="462" y="49"/>
                  </a:lnTo>
                  <a:lnTo>
                    <a:pt x="461" y="56"/>
                  </a:lnTo>
                  <a:lnTo>
                    <a:pt x="462" y="64"/>
                  </a:lnTo>
                  <a:lnTo>
                    <a:pt x="461" y="66"/>
                  </a:lnTo>
                  <a:lnTo>
                    <a:pt x="455" y="71"/>
                  </a:lnTo>
                  <a:lnTo>
                    <a:pt x="455" y="72"/>
                  </a:lnTo>
                  <a:lnTo>
                    <a:pt x="461" y="71"/>
                  </a:lnTo>
                  <a:lnTo>
                    <a:pt x="462" y="69"/>
                  </a:lnTo>
                  <a:lnTo>
                    <a:pt x="463" y="69"/>
                  </a:lnTo>
                  <a:lnTo>
                    <a:pt x="465" y="71"/>
                  </a:lnTo>
                  <a:lnTo>
                    <a:pt x="469" y="72"/>
                  </a:lnTo>
                  <a:lnTo>
                    <a:pt x="470" y="75"/>
                  </a:lnTo>
                  <a:lnTo>
                    <a:pt x="468" y="76"/>
                  </a:lnTo>
                  <a:lnTo>
                    <a:pt x="467" y="76"/>
                  </a:lnTo>
                  <a:lnTo>
                    <a:pt x="462" y="74"/>
                  </a:lnTo>
                  <a:lnTo>
                    <a:pt x="455" y="74"/>
                  </a:lnTo>
                  <a:lnTo>
                    <a:pt x="451" y="76"/>
                  </a:lnTo>
                  <a:lnTo>
                    <a:pt x="450" y="77"/>
                  </a:lnTo>
                  <a:lnTo>
                    <a:pt x="445" y="118"/>
                  </a:lnTo>
                  <a:lnTo>
                    <a:pt x="443" y="122"/>
                  </a:lnTo>
                  <a:lnTo>
                    <a:pt x="442" y="131"/>
                  </a:lnTo>
                  <a:lnTo>
                    <a:pt x="434" y="138"/>
                  </a:lnTo>
                  <a:lnTo>
                    <a:pt x="415" y="171"/>
                  </a:lnTo>
                  <a:lnTo>
                    <a:pt x="406" y="179"/>
                  </a:lnTo>
                  <a:lnTo>
                    <a:pt x="402" y="189"/>
                  </a:lnTo>
                  <a:lnTo>
                    <a:pt x="401" y="199"/>
                  </a:lnTo>
                  <a:lnTo>
                    <a:pt x="359" y="288"/>
                  </a:lnTo>
                  <a:lnTo>
                    <a:pt x="353" y="294"/>
                  </a:lnTo>
                  <a:lnTo>
                    <a:pt x="350" y="296"/>
                  </a:lnTo>
                  <a:lnTo>
                    <a:pt x="348" y="299"/>
                  </a:lnTo>
                  <a:lnTo>
                    <a:pt x="346" y="300"/>
                  </a:lnTo>
                  <a:lnTo>
                    <a:pt x="330" y="317"/>
                  </a:lnTo>
                  <a:lnTo>
                    <a:pt x="325" y="325"/>
                  </a:lnTo>
                  <a:lnTo>
                    <a:pt x="325" y="327"/>
                  </a:lnTo>
                  <a:lnTo>
                    <a:pt x="303" y="361"/>
                  </a:lnTo>
                  <a:lnTo>
                    <a:pt x="304" y="362"/>
                  </a:lnTo>
                  <a:lnTo>
                    <a:pt x="248" y="412"/>
                  </a:lnTo>
                  <a:lnTo>
                    <a:pt x="248" y="415"/>
                  </a:lnTo>
                  <a:lnTo>
                    <a:pt x="232" y="435"/>
                  </a:lnTo>
                  <a:lnTo>
                    <a:pt x="209" y="453"/>
                  </a:lnTo>
                  <a:lnTo>
                    <a:pt x="193" y="459"/>
                  </a:lnTo>
                  <a:lnTo>
                    <a:pt x="187" y="460"/>
                  </a:lnTo>
                  <a:lnTo>
                    <a:pt x="86" y="552"/>
                  </a:lnTo>
                  <a:lnTo>
                    <a:pt x="76" y="554"/>
                  </a:lnTo>
                  <a:lnTo>
                    <a:pt x="73" y="553"/>
                  </a:lnTo>
                  <a:lnTo>
                    <a:pt x="71" y="556"/>
                  </a:lnTo>
                  <a:lnTo>
                    <a:pt x="73" y="557"/>
                  </a:lnTo>
                  <a:lnTo>
                    <a:pt x="74" y="559"/>
                  </a:lnTo>
                  <a:lnTo>
                    <a:pt x="73" y="562"/>
                  </a:lnTo>
                  <a:lnTo>
                    <a:pt x="71" y="563"/>
                  </a:lnTo>
                  <a:lnTo>
                    <a:pt x="68" y="571"/>
                  </a:lnTo>
                  <a:lnTo>
                    <a:pt x="27" y="618"/>
                  </a:lnTo>
                  <a:lnTo>
                    <a:pt x="25" y="62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4" name="Freeform 132"/>
            <p:cNvSpPr>
              <a:spLocks/>
            </p:cNvSpPr>
            <p:nvPr/>
          </p:nvSpPr>
          <p:spPr bwMode="auto">
            <a:xfrm>
              <a:off x="4646609" y="3905997"/>
              <a:ext cx="430576" cy="337676"/>
            </a:xfrm>
            <a:custGeom>
              <a:avLst/>
              <a:gdLst>
                <a:gd name="T0" fmla="*/ 28 w 359"/>
                <a:gd name="T1" fmla="*/ 6 h 340"/>
                <a:gd name="T2" fmla="*/ 28 w 359"/>
                <a:gd name="T3" fmla="*/ 7 h 340"/>
                <a:gd name="T4" fmla="*/ 27 w 359"/>
                <a:gd name="T5" fmla="*/ 7 h 340"/>
                <a:gd name="T6" fmla="*/ 25 w 359"/>
                <a:gd name="T7" fmla="*/ 7 h 340"/>
                <a:gd name="T8" fmla="*/ 24 w 359"/>
                <a:gd name="T9" fmla="*/ 7 h 340"/>
                <a:gd name="T10" fmla="*/ 24 w 359"/>
                <a:gd name="T11" fmla="*/ 7 h 340"/>
                <a:gd name="T12" fmla="*/ 23 w 359"/>
                <a:gd name="T13" fmla="*/ 7 h 340"/>
                <a:gd name="T14" fmla="*/ 22 w 359"/>
                <a:gd name="T15" fmla="*/ 7 h 340"/>
                <a:gd name="T16" fmla="*/ 22 w 359"/>
                <a:gd name="T17" fmla="*/ 9 h 340"/>
                <a:gd name="T18" fmla="*/ 22 w 359"/>
                <a:gd name="T19" fmla="*/ 9 h 340"/>
                <a:gd name="T20" fmla="*/ 20 w 359"/>
                <a:gd name="T21" fmla="*/ 9 h 340"/>
                <a:gd name="T22" fmla="*/ 19 w 359"/>
                <a:gd name="T23" fmla="*/ 10 h 340"/>
                <a:gd name="T24" fmla="*/ 18 w 359"/>
                <a:gd name="T25" fmla="*/ 10 h 340"/>
                <a:gd name="T26" fmla="*/ 17 w 359"/>
                <a:gd name="T27" fmla="*/ 11 h 340"/>
                <a:gd name="T28" fmla="*/ 17 w 359"/>
                <a:gd name="T29" fmla="*/ 11 h 340"/>
                <a:gd name="T30" fmla="*/ 14 w 359"/>
                <a:gd name="T31" fmla="*/ 13 h 340"/>
                <a:gd name="T32" fmla="*/ 13 w 359"/>
                <a:gd name="T33" fmla="*/ 14 h 340"/>
                <a:gd name="T34" fmla="*/ 11 w 359"/>
                <a:gd name="T35" fmla="*/ 14 h 340"/>
                <a:gd name="T36" fmla="*/ 11 w 359"/>
                <a:gd name="T37" fmla="*/ 13 h 340"/>
                <a:gd name="T38" fmla="*/ 8 w 359"/>
                <a:gd name="T39" fmla="*/ 13 h 340"/>
                <a:gd name="T40" fmla="*/ 6 w 359"/>
                <a:gd name="T41" fmla="*/ 13 h 340"/>
                <a:gd name="T42" fmla="*/ 1 w 359"/>
                <a:gd name="T43" fmla="*/ 13 h 340"/>
                <a:gd name="T44" fmla="*/ 0 w 359"/>
                <a:gd name="T45" fmla="*/ 13 h 340"/>
                <a:gd name="T46" fmla="*/ 2 w 359"/>
                <a:gd name="T47" fmla="*/ 17 h 340"/>
                <a:gd name="T48" fmla="*/ 4 w 359"/>
                <a:gd name="T49" fmla="*/ 18 h 340"/>
                <a:gd name="T50" fmla="*/ 13 w 359"/>
                <a:gd name="T51" fmla="*/ 25 h 340"/>
                <a:gd name="T52" fmla="*/ 17 w 359"/>
                <a:gd name="T53" fmla="*/ 27 h 340"/>
                <a:gd name="T54" fmla="*/ 19 w 359"/>
                <a:gd name="T55" fmla="*/ 29 h 340"/>
                <a:gd name="T56" fmla="*/ 21 w 359"/>
                <a:gd name="T57" fmla="*/ 34 h 340"/>
                <a:gd name="T58" fmla="*/ 27 w 359"/>
                <a:gd name="T59" fmla="*/ 35 h 340"/>
                <a:gd name="T60" fmla="*/ 34 w 359"/>
                <a:gd name="T61" fmla="*/ 37 h 340"/>
                <a:gd name="T62" fmla="*/ 43 w 359"/>
                <a:gd name="T63" fmla="*/ 38 h 340"/>
                <a:gd name="T64" fmla="*/ 48 w 359"/>
                <a:gd name="T65" fmla="*/ 40 h 340"/>
                <a:gd name="T66" fmla="*/ 49 w 359"/>
                <a:gd name="T67" fmla="*/ 40 h 340"/>
                <a:gd name="T68" fmla="*/ 49 w 359"/>
                <a:gd name="T69" fmla="*/ 39 h 340"/>
                <a:gd name="T70" fmla="*/ 51 w 359"/>
                <a:gd name="T71" fmla="*/ 37 h 340"/>
                <a:gd name="T72" fmla="*/ 59 w 359"/>
                <a:gd name="T73" fmla="*/ 25 h 340"/>
                <a:gd name="T74" fmla="*/ 59 w 359"/>
                <a:gd name="T75" fmla="*/ 18 h 340"/>
                <a:gd name="T76" fmla="*/ 58 w 359"/>
                <a:gd name="T77" fmla="*/ 6 h 340"/>
                <a:gd name="T78" fmla="*/ 45 w 359"/>
                <a:gd name="T79" fmla="*/ 2 h 340"/>
                <a:gd name="T80" fmla="*/ 40 w 359"/>
                <a:gd name="T81" fmla="*/ 1 h 340"/>
                <a:gd name="T82" fmla="*/ 38 w 359"/>
                <a:gd name="T83" fmla="*/ 1 h 340"/>
                <a:gd name="T84" fmla="*/ 36 w 359"/>
                <a:gd name="T85" fmla="*/ 1 h 340"/>
                <a:gd name="T86" fmla="*/ 34 w 359"/>
                <a:gd name="T87" fmla="*/ 0 h 340"/>
                <a:gd name="T88" fmla="*/ 31 w 359"/>
                <a:gd name="T89" fmla="*/ 1 h 340"/>
                <a:gd name="T90" fmla="*/ 28 w 359"/>
                <a:gd name="T91" fmla="*/ 2 h 340"/>
                <a:gd name="T92" fmla="*/ 27 w 359"/>
                <a:gd name="T93" fmla="*/ 5 h 3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59"/>
                <a:gd name="T142" fmla="*/ 0 h 340"/>
                <a:gd name="T143" fmla="*/ 359 w 359"/>
                <a:gd name="T144" fmla="*/ 340 h 3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59" h="340">
                  <a:moveTo>
                    <a:pt x="160" y="46"/>
                  </a:moveTo>
                  <a:lnTo>
                    <a:pt x="169" y="52"/>
                  </a:lnTo>
                  <a:lnTo>
                    <a:pt x="170" y="55"/>
                  </a:lnTo>
                  <a:lnTo>
                    <a:pt x="166" y="57"/>
                  </a:lnTo>
                  <a:lnTo>
                    <a:pt x="163" y="60"/>
                  </a:lnTo>
                  <a:lnTo>
                    <a:pt x="161" y="60"/>
                  </a:lnTo>
                  <a:lnTo>
                    <a:pt x="154" y="57"/>
                  </a:lnTo>
                  <a:lnTo>
                    <a:pt x="150" y="57"/>
                  </a:lnTo>
                  <a:lnTo>
                    <a:pt x="148" y="58"/>
                  </a:lnTo>
                  <a:lnTo>
                    <a:pt x="146" y="61"/>
                  </a:lnTo>
                  <a:lnTo>
                    <a:pt x="143" y="61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38" y="62"/>
                  </a:lnTo>
                  <a:lnTo>
                    <a:pt x="133" y="64"/>
                  </a:lnTo>
                  <a:lnTo>
                    <a:pt x="131" y="66"/>
                  </a:lnTo>
                  <a:lnTo>
                    <a:pt x="130" y="68"/>
                  </a:lnTo>
                  <a:lnTo>
                    <a:pt x="131" y="70"/>
                  </a:lnTo>
                  <a:lnTo>
                    <a:pt x="130" y="72"/>
                  </a:lnTo>
                  <a:lnTo>
                    <a:pt x="129" y="72"/>
                  </a:lnTo>
                  <a:lnTo>
                    <a:pt x="127" y="71"/>
                  </a:lnTo>
                  <a:lnTo>
                    <a:pt x="120" y="74"/>
                  </a:lnTo>
                  <a:lnTo>
                    <a:pt x="117" y="76"/>
                  </a:lnTo>
                  <a:lnTo>
                    <a:pt x="117" y="80"/>
                  </a:lnTo>
                  <a:lnTo>
                    <a:pt x="112" y="81"/>
                  </a:lnTo>
                  <a:lnTo>
                    <a:pt x="109" y="85"/>
                  </a:lnTo>
                  <a:lnTo>
                    <a:pt x="106" y="90"/>
                  </a:lnTo>
                  <a:lnTo>
                    <a:pt x="102" y="93"/>
                  </a:lnTo>
                  <a:lnTo>
                    <a:pt x="101" y="95"/>
                  </a:lnTo>
                  <a:lnTo>
                    <a:pt x="97" y="97"/>
                  </a:lnTo>
                  <a:lnTo>
                    <a:pt x="93" y="104"/>
                  </a:lnTo>
                  <a:lnTo>
                    <a:pt x="86" y="108"/>
                  </a:lnTo>
                  <a:lnTo>
                    <a:pt x="82" y="107"/>
                  </a:lnTo>
                  <a:lnTo>
                    <a:pt x="77" y="115"/>
                  </a:lnTo>
                  <a:lnTo>
                    <a:pt x="73" y="114"/>
                  </a:lnTo>
                  <a:lnTo>
                    <a:pt x="67" y="117"/>
                  </a:lnTo>
                  <a:lnTo>
                    <a:pt x="64" y="116"/>
                  </a:lnTo>
                  <a:lnTo>
                    <a:pt x="62" y="112"/>
                  </a:lnTo>
                  <a:lnTo>
                    <a:pt x="58" y="110"/>
                  </a:lnTo>
                  <a:lnTo>
                    <a:pt x="51" y="111"/>
                  </a:lnTo>
                  <a:lnTo>
                    <a:pt x="47" y="110"/>
                  </a:lnTo>
                  <a:lnTo>
                    <a:pt x="34" y="113"/>
                  </a:lnTo>
                  <a:lnTo>
                    <a:pt x="21" y="107"/>
                  </a:lnTo>
                  <a:lnTo>
                    <a:pt x="6" y="110"/>
                  </a:lnTo>
                  <a:lnTo>
                    <a:pt x="3" y="108"/>
                  </a:lnTo>
                  <a:lnTo>
                    <a:pt x="0" y="105"/>
                  </a:lnTo>
                  <a:lnTo>
                    <a:pt x="1" y="113"/>
                  </a:lnTo>
                  <a:lnTo>
                    <a:pt x="14" y="136"/>
                  </a:lnTo>
                  <a:lnTo>
                    <a:pt x="22" y="145"/>
                  </a:lnTo>
                  <a:lnTo>
                    <a:pt x="23" y="154"/>
                  </a:lnTo>
                  <a:lnTo>
                    <a:pt x="65" y="208"/>
                  </a:lnTo>
                  <a:lnTo>
                    <a:pt x="79" y="211"/>
                  </a:lnTo>
                  <a:lnTo>
                    <a:pt x="90" y="218"/>
                  </a:lnTo>
                  <a:lnTo>
                    <a:pt x="98" y="229"/>
                  </a:lnTo>
                  <a:lnTo>
                    <a:pt x="108" y="233"/>
                  </a:lnTo>
                  <a:lnTo>
                    <a:pt x="116" y="242"/>
                  </a:lnTo>
                  <a:lnTo>
                    <a:pt x="120" y="276"/>
                  </a:lnTo>
                  <a:lnTo>
                    <a:pt x="126" y="286"/>
                  </a:lnTo>
                  <a:lnTo>
                    <a:pt x="140" y="298"/>
                  </a:lnTo>
                  <a:lnTo>
                    <a:pt x="162" y="299"/>
                  </a:lnTo>
                  <a:lnTo>
                    <a:pt x="191" y="315"/>
                  </a:lnTo>
                  <a:lnTo>
                    <a:pt x="200" y="311"/>
                  </a:lnTo>
                  <a:lnTo>
                    <a:pt x="227" y="319"/>
                  </a:lnTo>
                  <a:lnTo>
                    <a:pt x="258" y="320"/>
                  </a:lnTo>
                  <a:lnTo>
                    <a:pt x="275" y="325"/>
                  </a:lnTo>
                  <a:lnTo>
                    <a:pt x="288" y="338"/>
                  </a:lnTo>
                  <a:lnTo>
                    <a:pt x="292" y="339"/>
                  </a:lnTo>
                  <a:lnTo>
                    <a:pt x="293" y="340"/>
                  </a:lnTo>
                  <a:lnTo>
                    <a:pt x="294" y="339"/>
                  </a:lnTo>
                  <a:lnTo>
                    <a:pt x="294" y="326"/>
                  </a:lnTo>
                  <a:lnTo>
                    <a:pt x="296" y="316"/>
                  </a:lnTo>
                  <a:lnTo>
                    <a:pt x="301" y="308"/>
                  </a:lnTo>
                  <a:lnTo>
                    <a:pt x="318" y="296"/>
                  </a:lnTo>
                  <a:lnTo>
                    <a:pt x="353" y="211"/>
                  </a:lnTo>
                  <a:lnTo>
                    <a:pt x="345" y="163"/>
                  </a:lnTo>
                  <a:lnTo>
                    <a:pt x="354" y="148"/>
                  </a:lnTo>
                  <a:lnTo>
                    <a:pt x="359" y="89"/>
                  </a:lnTo>
                  <a:lnTo>
                    <a:pt x="351" y="51"/>
                  </a:lnTo>
                  <a:lnTo>
                    <a:pt x="343" y="43"/>
                  </a:lnTo>
                  <a:lnTo>
                    <a:pt x="269" y="17"/>
                  </a:lnTo>
                  <a:lnTo>
                    <a:pt x="235" y="18"/>
                  </a:lnTo>
                  <a:lnTo>
                    <a:pt x="235" y="1"/>
                  </a:lnTo>
                  <a:lnTo>
                    <a:pt x="234" y="2"/>
                  </a:lnTo>
                  <a:lnTo>
                    <a:pt x="228" y="2"/>
                  </a:lnTo>
                  <a:lnTo>
                    <a:pt x="221" y="4"/>
                  </a:lnTo>
                  <a:lnTo>
                    <a:pt x="215" y="3"/>
                  </a:lnTo>
                  <a:lnTo>
                    <a:pt x="211" y="1"/>
                  </a:lnTo>
                  <a:lnTo>
                    <a:pt x="207" y="0"/>
                  </a:lnTo>
                  <a:lnTo>
                    <a:pt x="198" y="5"/>
                  </a:lnTo>
                  <a:lnTo>
                    <a:pt x="184" y="7"/>
                  </a:lnTo>
                  <a:lnTo>
                    <a:pt x="173" y="16"/>
                  </a:lnTo>
                  <a:lnTo>
                    <a:pt x="167" y="17"/>
                  </a:lnTo>
                  <a:lnTo>
                    <a:pt x="163" y="19"/>
                  </a:lnTo>
                  <a:lnTo>
                    <a:pt x="160" y="4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5" name="Freeform 133"/>
            <p:cNvSpPr>
              <a:spLocks/>
            </p:cNvSpPr>
            <p:nvPr/>
          </p:nvSpPr>
          <p:spPr bwMode="auto">
            <a:xfrm>
              <a:off x="4646609" y="3905997"/>
              <a:ext cx="430576" cy="337676"/>
            </a:xfrm>
            <a:custGeom>
              <a:avLst/>
              <a:gdLst>
                <a:gd name="T0" fmla="*/ 28 w 359"/>
                <a:gd name="T1" fmla="*/ 6 h 340"/>
                <a:gd name="T2" fmla="*/ 28 w 359"/>
                <a:gd name="T3" fmla="*/ 7 h 340"/>
                <a:gd name="T4" fmla="*/ 27 w 359"/>
                <a:gd name="T5" fmla="*/ 7 h 340"/>
                <a:gd name="T6" fmla="*/ 25 w 359"/>
                <a:gd name="T7" fmla="*/ 7 h 340"/>
                <a:gd name="T8" fmla="*/ 24 w 359"/>
                <a:gd name="T9" fmla="*/ 7 h 340"/>
                <a:gd name="T10" fmla="*/ 24 w 359"/>
                <a:gd name="T11" fmla="*/ 7 h 340"/>
                <a:gd name="T12" fmla="*/ 23 w 359"/>
                <a:gd name="T13" fmla="*/ 7 h 340"/>
                <a:gd name="T14" fmla="*/ 22 w 359"/>
                <a:gd name="T15" fmla="*/ 7 h 340"/>
                <a:gd name="T16" fmla="*/ 22 w 359"/>
                <a:gd name="T17" fmla="*/ 9 h 340"/>
                <a:gd name="T18" fmla="*/ 22 w 359"/>
                <a:gd name="T19" fmla="*/ 9 h 340"/>
                <a:gd name="T20" fmla="*/ 20 w 359"/>
                <a:gd name="T21" fmla="*/ 9 h 340"/>
                <a:gd name="T22" fmla="*/ 19 w 359"/>
                <a:gd name="T23" fmla="*/ 10 h 340"/>
                <a:gd name="T24" fmla="*/ 18 w 359"/>
                <a:gd name="T25" fmla="*/ 10 h 340"/>
                <a:gd name="T26" fmla="*/ 17 w 359"/>
                <a:gd name="T27" fmla="*/ 11 h 340"/>
                <a:gd name="T28" fmla="*/ 17 w 359"/>
                <a:gd name="T29" fmla="*/ 11 h 340"/>
                <a:gd name="T30" fmla="*/ 14 w 359"/>
                <a:gd name="T31" fmla="*/ 13 h 340"/>
                <a:gd name="T32" fmla="*/ 13 w 359"/>
                <a:gd name="T33" fmla="*/ 14 h 340"/>
                <a:gd name="T34" fmla="*/ 11 w 359"/>
                <a:gd name="T35" fmla="*/ 14 h 340"/>
                <a:gd name="T36" fmla="*/ 11 w 359"/>
                <a:gd name="T37" fmla="*/ 13 h 340"/>
                <a:gd name="T38" fmla="*/ 8 w 359"/>
                <a:gd name="T39" fmla="*/ 13 h 340"/>
                <a:gd name="T40" fmla="*/ 6 w 359"/>
                <a:gd name="T41" fmla="*/ 13 h 340"/>
                <a:gd name="T42" fmla="*/ 1 w 359"/>
                <a:gd name="T43" fmla="*/ 13 h 340"/>
                <a:gd name="T44" fmla="*/ 0 w 359"/>
                <a:gd name="T45" fmla="*/ 13 h 340"/>
                <a:gd name="T46" fmla="*/ 2 w 359"/>
                <a:gd name="T47" fmla="*/ 17 h 340"/>
                <a:gd name="T48" fmla="*/ 4 w 359"/>
                <a:gd name="T49" fmla="*/ 18 h 340"/>
                <a:gd name="T50" fmla="*/ 13 w 359"/>
                <a:gd name="T51" fmla="*/ 25 h 340"/>
                <a:gd name="T52" fmla="*/ 17 w 359"/>
                <a:gd name="T53" fmla="*/ 27 h 340"/>
                <a:gd name="T54" fmla="*/ 19 w 359"/>
                <a:gd name="T55" fmla="*/ 29 h 340"/>
                <a:gd name="T56" fmla="*/ 21 w 359"/>
                <a:gd name="T57" fmla="*/ 34 h 340"/>
                <a:gd name="T58" fmla="*/ 27 w 359"/>
                <a:gd name="T59" fmla="*/ 35 h 340"/>
                <a:gd name="T60" fmla="*/ 34 w 359"/>
                <a:gd name="T61" fmla="*/ 37 h 340"/>
                <a:gd name="T62" fmla="*/ 43 w 359"/>
                <a:gd name="T63" fmla="*/ 38 h 340"/>
                <a:gd name="T64" fmla="*/ 48 w 359"/>
                <a:gd name="T65" fmla="*/ 40 h 340"/>
                <a:gd name="T66" fmla="*/ 49 w 359"/>
                <a:gd name="T67" fmla="*/ 40 h 340"/>
                <a:gd name="T68" fmla="*/ 49 w 359"/>
                <a:gd name="T69" fmla="*/ 39 h 340"/>
                <a:gd name="T70" fmla="*/ 51 w 359"/>
                <a:gd name="T71" fmla="*/ 37 h 340"/>
                <a:gd name="T72" fmla="*/ 59 w 359"/>
                <a:gd name="T73" fmla="*/ 25 h 340"/>
                <a:gd name="T74" fmla="*/ 59 w 359"/>
                <a:gd name="T75" fmla="*/ 18 h 340"/>
                <a:gd name="T76" fmla="*/ 58 w 359"/>
                <a:gd name="T77" fmla="*/ 6 h 340"/>
                <a:gd name="T78" fmla="*/ 45 w 359"/>
                <a:gd name="T79" fmla="*/ 2 h 340"/>
                <a:gd name="T80" fmla="*/ 40 w 359"/>
                <a:gd name="T81" fmla="*/ 1 h 340"/>
                <a:gd name="T82" fmla="*/ 38 w 359"/>
                <a:gd name="T83" fmla="*/ 1 h 340"/>
                <a:gd name="T84" fmla="*/ 36 w 359"/>
                <a:gd name="T85" fmla="*/ 1 h 340"/>
                <a:gd name="T86" fmla="*/ 34 w 359"/>
                <a:gd name="T87" fmla="*/ 0 h 340"/>
                <a:gd name="T88" fmla="*/ 31 w 359"/>
                <a:gd name="T89" fmla="*/ 1 h 340"/>
                <a:gd name="T90" fmla="*/ 28 w 359"/>
                <a:gd name="T91" fmla="*/ 2 h 340"/>
                <a:gd name="T92" fmla="*/ 27 w 359"/>
                <a:gd name="T93" fmla="*/ 5 h 3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59"/>
                <a:gd name="T142" fmla="*/ 0 h 340"/>
                <a:gd name="T143" fmla="*/ 359 w 359"/>
                <a:gd name="T144" fmla="*/ 340 h 3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59" h="340">
                  <a:moveTo>
                    <a:pt x="160" y="46"/>
                  </a:moveTo>
                  <a:lnTo>
                    <a:pt x="169" y="52"/>
                  </a:lnTo>
                  <a:lnTo>
                    <a:pt x="170" y="55"/>
                  </a:lnTo>
                  <a:lnTo>
                    <a:pt x="166" y="57"/>
                  </a:lnTo>
                  <a:lnTo>
                    <a:pt x="163" y="60"/>
                  </a:lnTo>
                  <a:lnTo>
                    <a:pt x="161" y="60"/>
                  </a:lnTo>
                  <a:lnTo>
                    <a:pt x="154" y="57"/>
                  </a:lnTo>
                  <a:lnTo>
                    <a:pt x="150" y="57"/>
                  </a:lnTo>
                  <a:lnTo>
                    <a:pt x="148" y="58"/>
                  </a:lnTo>
                  <a:lnTo>
                    <a:pt x="146" y="61"/>
                  </a:lnTo>
                  <a:lnTo>
                    <a:pt x="143" y="61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38" y="62"/>
                  </a:lnTo>
                  <a:lnTo>
                    <a:pt x="133" y="64"/>
                  </a:lnTo>
                  <a:lnTo>
                    <a:pt x="131" y="66"/>
                  </a:lnTo>
                  <a:lnTo>
                    <a:pt x="130" y="68"/>
                  </a:lnTo>
                  <a:lnTo>
                    <a:pt x="131" y="70"/>
                  </a:lnTo>
                  <a:lnTo>
                    <a:pt x="130" y="72"/>
                  </a:lnTo>
                  <a:lnTo>
                    <a:pt x="129" y="72"/>
                  </a:lnTo>
                  <a:lnTo>
                    <a:pt x="127" y="71"/>
                  </a:lnTo>
                  <a:lnTo>
                    <a:pt x="120" y="74"/>
                  </a:lnTo>
                  <a:lnTo>
                    <a:pt x="117" y="76"/>
                  </a:lnTo>
                  <a:lnTo>
                    <a:pt x="117" y="80"/>
                  </a:lnTo>
                  <a:lnTo>
                    <a:pt x="112" y="81"/>
                  </a:lnTo>
                  <a:lnTo>
                    <a:pt x="109" y="85"/>
                  </a:lnTo>
                  <a:lnTo>
                    <a:pt x="106" y="90"/>
                  </a:lnTo>
                  <a:lnTo>
                    <a:pt x="102" y="93"/>
                  </a:lnTo>
                  <a:lnTo>
                    <a:pt x="101" y="95"/>
                  </a:lnTo>
                  <a:lnTo>
                    <a:pt x="97" y="97"/>
                  </a:lnTo>
                  <a:lnTo>
                    <a:pt x="93" y="104"/>
                  </a:lnTo>
                  <a:lnTo>
                    <a:pt x="86" y="108"/>
                  </a:lnTo>
                  <a:lnTo>
                    <a:pt x="82" y="107"/>
                  </a:lnTo>
                  <a:lnTo>
                    <a:pt x="77" y="115"/>
                  </a:lnTo>
                  <a:lnTo>
                    <a:pt x="73" y="114"/>
                  </a:lnTo>
                  <a:lnTo>
                    <a:pt x="67" y="117"/>
                  </a:lnTo>
                  <a:lnTo>
                    <a:pt x="64" y="116"/>
                  </a:lnTo>
                  <a:lnTo>
                    <a:pt x="62" y="112"/>
                  </a:lnTo>
                  <a:lnTo>
                    <a:pt x="58" y="110"/>
                  </a:lnTo>
                  <a:lnTo>
                    <a:pt x="51" y="111"/>
                  </a:lnTo>
                  <a:lnTo>
                    <a:pt x="47" y="110"/>
                  </a:lnTo>
                  <a:lnTo>
                    <a:pt x="34" y="113"/>
                  </a:lnTo>
                  <a:lnTo>
                    <a:pt x="21" y="107"/>
                  </a:lnTo>
                  <a:lnTo>
                    <a:pt x="6" y="110"/>
                  </a:lnTo>
                  <a:lnTo>
                    <a:pt x="3" y="108"/>
                  </a:lnTo>
                  <a:lnTo>
                    <a:pt x="0" y="105"/>
                  </a:lnTo>
                  <a:lnTo>
                    <a:pt x="1" y="113"/>
                  </a:lnTo>
                  <a:lnTo>
                    <a:pt x="14" y="136"/>
                  </a:lnTo>
                  <a:lnTo>
                    <a:pt x="22" y="145"/>
                  </a:lnTo>
                  <a:lnTo>
                    <a:pt x="23" y="154"/>
                  </a:lnTo>
                  <a:lnTo>
                    <a:pt x="65" y="208"/>
                  </a:lnTo>
                  <a:lnTo>
                    <a:pt x="79" y="211"/>
                  </a:lnTo>
                  <a:lnTo>
                    <a:pt x="90" y="218"/>
                  </a:lnTo>
                  <a:lnTo>
                    <a:pt x="98" y="229"/>
                  </a:lnTo>
                  <a:lnTo>
                    <a:pt x="108" y="233"/>
                  </a:lnTo>
                  <a:lnTo>
                    <a:pt x="116" y="242"/>
                  </a:lnTo>
                  <a:lnTo>
                    <a:pt x="120" y="276"/>
                  </a:lnTo>
                  <a:lnTo>
                    <a:pt x="126" y="286"/>
                  </a:lnTo>
                  <a:lnTo>
                    <a:pt x="140" y="298"/>
                  </a:lnTo>
                  <a:lnTo>
                    <a:pt x="162" y="299"/>
                  </a:lnTo>
                  <a:lnTo>
                    <a:pt x="191" y="315"/>
                  </a:lnTo>
                  <a:lnTo>
                    <a:pt x="200" y="311"/>
                  </a:lnTo>
                  <a:lnTo>
                    <a:pt x="227" y="319"/>
                  </a:lnTo>
                  <a:lnTo>
                    <a:pt x="258" y="320"/>
                  </a:lnTo>
                  <a:lnTo>
                    <a:pt x="275" y="325"/>
                  </a:lnTo>
                  <a:lnTo>
                    <a:pt x="288" y="338"/>
                  </a:lnTo>
                  <a:lnTo>
                    <a:pt x="292" y="339"/>
                  </a:lnTo>
                  <a:lnTo>
                    <a:pt x="293" y="340"/>
                  </a:lnTo>
                  <a:lnTo>
                    <a:pt x="294" y="339"/>
                  </a:lnTo>
                  <a:lnTo>
                    <a:pt x="294" y="326"/>
                  </a:lnTo>
                  <a:lnTo>
                    <a:pt x="296" y="316"/>
                  </a:lnTo>
                  <a:lnTo>
                    <a:pt x="301" y="308"/>
                  </a:lnTo>
                  <a:lnTo>
                    <a:pt x="318" y="296"/>
                  </a:lnTo>
                  <a:lnTo>
                    <a:pt x="353" y="211"/>
                  </a:lnTo>
                  <a:lnTo>
                    <a:pt x="345" y="163"/>
                  </a:lnTo>
                  <a:lnTo>
                    <a:pt x="354" y="148"/>
                  </a:lnTo>
                  <a:lnTo>
                    <a:pt x="359" y="89"/>
                  </a:lnTo>
                  <a:lnTo>
                    <a:pt x="351" y="51"/>
                  </a:lnTo>
                  <a:lnTo>
                    <a:pt x="343" y="43"/>
                  </a:lnTo>
                  <a:lnTo>
                    <a:pt x="269" y="17"/>
                  </a:lnTo>
                  <a:lnTo>
                    <a:pt x="235" y="18"/>
                  </a:lnTo>
                  <a:lnTo>
                    <a:pt x="235" y="1"/>
                  </a:lnTo>
                  <a:lnTo>
                    <a:pt x="234" y="2"/>
                  </a:lnTo>
                  <a:lnTo>
                    <a:pt x="228" y="2"/>
                  </a:lnTo>
                  <a:lnTo>
                    <a:pt x="221" y="4"/>
                  </a:lnTo>
                  <a:lnTo>
                    <a:pt x="215" y="3"/>
                  </a:lnTo>
                  <a:lnTo>
                    <a:pt x="211" y="1"/>
                  </a:lnTo>
                  <a:lnTo>
                    <a:pt x="207" y="0"/>
                  </a:lnTo>
                  <a:lnTo>
                    <a:pt x="198" y="5"/>
                  </a:lnTo>
                  <a:lnTo>
                    <a:pt x="184" y="7"/>
                  </a:lnTo>
                  <a:lnTo>
                    <a:pt x="173" y="16"/>
                  </a:lnTo>
                  <a:lnTo>
                    <a:pt x="167" y="17"/>
                  </a:lnTo>
                  <a:lnTo>
                    <a:pt x="163" y="19"/>
                  </a:lnTo>
                  <a:lnTo>
                    <a:pt x="160" y="4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6" name="Freeform 134"/>
            <p:cNvSpPr>
              <a:spLocks/>
            </p:cNvSpPr>
            <p:nvPr/>
          </p:nvSpPr>
          <p:spPr bwMode="auto">
            <a:xfrm>
              <a:off x="4467880" y="2111863"/>
              <a:ext cx="911926" cy="912838"/>
            </a:xfrm>
            <a:custGeom>
              <a:avLst/>
              <a:gdLst>
                <a:gd name="T0" fmla="*/ 9 w 759"/>
                <a:gd name="T1" fmla="*/ 43 h 917"/>
                <a:gd name="T2" fmla="*/ 3 w 759"/>
                <a:gd name="T3" fmla="*/ 50 h 917"/>
                <a:gd name="T4" fmla="*/ 3 w 759"/>
                <a:gd name="T5" fmla="*/ 53 h 917"/>
                <a:gd name="T6" fmla="*/ 1 w 759"/>
                <a:gd name="T7" fmla="*/ 56 h 917"/>
                <a:gd name="T8" fmla="*/ 1 w 759"/>
                <a:gd name="T9" fmla="*/ 60 h 917"/>
                <a:gd name="T10" fmla="*/ 6 w 759"/>
                <a:gd name="T11" fmla="*/ 66 h 917"/>
                <a:gd name="T12" fmla="*/ 7 w 759"/>
                <a:gd name="T13" fmla="*/ 67 h 917"/>
                <a:gd name="T14" fmla="*/ 12 w 759"/>
                <a:gd name="T15" fmla="*/ 75 h 917"/>
                <a:gd name="T16" fmla="*/ 12 w 759"/>
                <a:gd name="T17" fmla="*/ 81 h 917"/>
                <a:gd name="T18" fmla="*/ 18 w 759"/>
                <a:gd name="T19" fmla="*/ 84 h 917"/>
                <a:gd name="T20" fmla="*/ 25 w 759"/>
                <a:gd name="T21" fmla="*/ 86 h 917"/>
                <a:gd name="T22" fmla="*/ 26 w 759"/>
                <a:gd name="T23" fmla="*/ 89 h 917"/>
                <a:gd name="T24" fmla="*/ 34 w 759"/>
                <a:gd name="T25" fmla="*/ 92 h 917"/>
                <a:gd name="T26" fmla="*/ 37 w 759"/>
                <a:gd name="T27" fmla="*/ 97 h 917"/>
                <a:gd name="T28" fmla="*/ 43 w 759"/>
                <a:gd name="T29" fmla="*/ 100 h 917"/>
                <a:gd name="T30" fmla="*/ 47 w 759"/>
                <a:gd name="T31" fmla="*/ 104 h 917"/>
                <a:gd name="T32" fmla="*/ 53 w 759"/>
                <a:gd name="T33" fmla="*/ 106 h 917"/>
                <a:gd name="T34" fmla="*/ 59 w 759"/>
                <a:gd name="T35" fmla="*/ 106 h 917"/>
                <a:gd name="T36" fmla="*/ 70 w 759"/>
                <a:gd name="T37" fmla="*/ 110 h 917"/>
                <a:gd name="T38" fmla="*/ 75 w 759"/>
                <a:gd name="T39" fmla="*/ 109 h 917"/>
                <a:gd name="T40" fmla="*/ 79 w 759"/>
                <a:gd name="T41" fmla="*/ 110 h 917"/>
                <a:gd name="T42" fmla="*/ 93 w 759"/>
                <a:gd name="T43" fmla="*/ 107 h 917"/>
                <a:gd name="T44" fmla="*/ 98 w 759"/>
                <a:gd name="T45" fmla="*/ 105 h 917"/>
                <a:gd name="T46" fmla="*/ 107 w 759"/>
                <a:gd name="T47" fmla="*/ 100 h 917"/>
                <a:gd name="T48" fmla="*/ 99 w 759"/>
                <a:gd name="T49" fmla="*/ 93 h 917"/>
                <a:gd name="T50" fmla="*/ 94 w 759"/>
                <a:gd name="T51" fmla="*/ 90 h 917"/>
                <a:gd name="T52" fmla="*/ 91 w 759"/>
                <a:gd name="T53" fmla="*/ 88 h 917"/>
                <a:gd name="T54" fmla="*/ 87 w 759"/>
                <a:gd name="T55" fmla="*/ 87 h 917"/>
                <a:gd name="T56" fmla="*/ 88 w 759"/>
                <a:gd name="T57" fmla="*/ 85 h 917"/>
                <a:gd name="T58" fmla="*/ 92 w 759"/>
                <a:gd name="T59" fmla="*/ 84 h 917"/>
                <a:gd name="T60" fmla="*/ 95 w 759"/>
                <a:gd name="T61" fmla="*/ 72 h 917"/>
                <a:gd name="T62" fmla="*/ 98 w 759"/>
                <a:gd name="T63" fmla="*/ 70 h 917"/>
                <a:gd name="T64" fmla="*/ 102 w 759"/>
                <a:gd name="T65" fmla="*/ 65 h 917"/>
                <a:gd name="T66" fmla="*/ 111 w 759"/>
                <a:gd name="T67" fmla="*/ 58 h 917"/>
                <a:gd name="T68" fmla="*/ 117 w 759"/>
                <a:gd name="T69" fmla="*/ 35 h 917"/>
                <a:gd name="T70" fmla="*/ 121 w 759"/>
                <a:gd name="T71" fmla="*/ 33 h 917"/>
                <a:gd name="T72" fmla="*/ 128 w 759"/>
                <a:gd name="T73" fmla="*/ 28 h 917"/>
                <a:gd name="T74" fmla="*/ 126 w 759"/>
                <a:gd name="T75" fmla="*/ 28 h 917"/>
                <a:gd name="T76" fmla="*/ 120 w 759"/>
                <a:gd name="T77" fmla="*/ 25 h 917"/>
                <a:gd name="T78" fmla="*/ 119 w 759"/>
                <a:gd name="T79" fmla="*/ 12 h 917"/>
                <a:gd name="T80" fmla="*/ 115 w 759"/>
                <a:gd name="T81" fmla="*/ 6 h 917"/>
                <a:gd name="T82" fmla="*/ 111 w 759"/>
                <a:gd name="T83" fmla="*/ 3 h 917"/>
                <a:gd name="T84" fmla="*/ 102 w 759"/>
                <a:gd name="T85" fmla="*/ 2 h 917"/>
                <a:gd name="T86" fmla="*/ 95 w 759"/>
                <a:gd name="T87" fmla="*/ 5 h 917"/>
                <a:gd name="T88" fmla="*/ 88 w 759"/>
                <a:gd name="T89" fmla="*/ 6 h 917"/>
                <a:gd name="T90" fmla="*/ 74 w 759"/>
                <a:gd name="T91" fmla="*/ 5 h 917"/>
                <a:gd name="T92" fmla="*/ 72 w 759"/>
                <a:gd name="T93" fmla="*/ 6 h 917"/>
                <a:gd name="T94" fmla="*/ 17 w 759"/>
                <a:gd name="T95" fmla="*/ 18 h 9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59"/>
                <a:gd name="T145" fmla="*/ 0 h 917"/>
                <a:gd name="T146" fmla="*/ 759 w 759"/>
                <a:gd name="T147" fmla="*/ 917 h 91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59" h="917">
                  <a:moveTo>
                    <a:pt x="98" y="176"/>
                  </a:moveTo>
                  <a:lnTo>
                    <a:pt x="98" y="353"/>
                  </a:lnTo>
                  <a:lnTo>
                    <a:pt x="51" y="356"/>
                  </a:lnTo>
                  <a:lnTo>
                    <a:pt x="50" y="358"/>
                  </a:lnTo>
                  <a:lnTo>
                    <a:pt x="47" y="375"/>
                  </a:lnTo>
                  <a:lnTo>
                    <a:pt x="20" y="413"/>
                  </a:lnTo>
                  <a:lnTo>
                    <a:pt x="21" y="431"/>
                  </a:lnTo>
                  <a:lnTo>
                    <a:pt x="20" y="435"/>
                  </a:lnTo>
                  <a:lnTo>
                    <a:pt x="19" y="436"/>
                  </a:lnTo>
                  <a:lnTo>
                    <a:pt x="13" y="439"/>
                  </a:lnTo>
                  <a:lnTo>
                    <a:pt x="10" y="443"/>
                  </a:lnTo>
                  <a:lnTo>
                    <a:pt x="8" y="464"/>
                  </a:lnTo>
                  <a:lnTo>
                    <a:pt x="1" y="480"/>
                  </a:lnTo>
                  <a:lnTo>
                    <a:pt x="0" y="498"/>
                  </a:lnTo>
                  <a:lnTo>
                    <a:pt x="3" y="498"/>
                  </a:lnTo>
                  <a:lnTo>
                    <a:pt x="21" y="493"/>
                  </a:lnTo>
                  <a:lnTo>
                    <a:pt x="20" y="506"/>
                  </a:lnTo>
                  <a:lnTo>
                    <a:pt x="34" y="548"/>
                  </a:lnTo>
                  <a:lnTo>
                    <a:pt x="35" y="549"/>
                  </a:lnTo>
                  <a:lnTo>
                    <a:pt x="40" y="553"/>
                  </a:lnTo>
                  <a:lnTo>
                    <a:pt x="43" y="556"/>
                  </a:lnTo>
                  <a:lnTo>
                    <a:pt x="46" y="571"/>
                  </a:lnTo>
                  <a:lnTo>
                    <a:pt x="38" y="574"/>
                  </a:lnTo>
                  <a:lnTo>
                    <a:pt x="74" y="620"/>
                  </a:lnTo>
                  <a:lnTo>
                    <a:pt x="79" y="634"/>
                  </a:lnTo>
                  <a:lnTo>
                    <a:pt x="72" y="662"/>
                  </a:lnTo>
                  <a:lnTo>
                    <a:pt x="73" y="673"/>
                  </a:lnTo>
                  <a:lnTo>
                    <a:pt x="83" y="681"/>
                  </a:lnTo>
                  <a:lnTo>
                    <a:pt x="102" y="684"/>
                  </a:lnTo>
                  <a:lnTo>
                    <a:pt x="107" y="697"/>
                  </a:lnTo>
                  <a:lnTo>
                    <a:pt x="117" y="702"/>
                  </a:lnTo>
                  <a:lnTo>
                    <a:pt x="135" y="702"/>
                  </a:lnTo>
                  <a:lnTo>
                    <a:pt x="150" y="713"/>
                  </a:lnTo>
                  <a:lnTo>
                    <a:pt x="152" y="716"/>
                  </a:lnTo>
                  <a:lnTo>
                    <a:pt x="150" y="726"/>
                  </a:lnTo>
                  <a:lnTo>
                    <a:pt x="155" y="735"/>
                  </a:lnTo>
                  <a:lnTo>
                    <a:pt x="186" y="755"/>
                  </a:lnTo>
                  <a:lnTo>
                    <a:pt x="192" y="763"/>
                  </a:lnTo>
                  <a:lnTo>
                    <a:pt x="201" y="768"/>
                  </a:lnTo>
                  <a:lnTo>
                    <a:pt x="209" y="786"/>
                  </a:lnTo>
                  <a:lnTo>
                    <a:pt x="215" y="794"/>
                  </a:lnTo>
                  <a:lnTo>
                    <a:pt x="216" y="803"/>
                  </a:lnTo>
                  <a:lnTo>
                    <a:pt x="224" y="805"/>
                  </a:lnTo>
                  <a:lnTo>
                    <a:pt x="249" y="821"/>
                  </a:lnTo>
                  <a:lnTo>
                    <a:pt x="254" y="829"/>
                  </a:lnTo>
                  <a:lnTo>
                    <a:pt x="255" y="838"/>
                  </a:lnTo>
                  <a:lnTo>
                    <a:pt x="265" y="854"/>
                  </a:lnTo>
                  <a:lnTo>
                    <a:pt x="276" y="861"/>
                  </a:lnTo>
                  <a:lnTo>
                    <a:pt x="285" y="876"/>
                  </a:lnTo>
                  <a:lnTo>
                    <a:pt x="304" y="884"/>
                  </a:lnTo>
                  <a:lnTo>
                    <a:pt x="310" y="882"/>
                  </a:lnTo>
                  <a:lnTo>
                    <a:pt x="315" y="874"/>
                  </a:lnTo>
                  <a:lnTo>
                    <a:pt x="337" y="879"/>
                  </a:lnTo>
                  <a:lnTo>
                    <a:pt x="346" y="878"/>
                  </a:lnTo>
                  <a:lnTo>
                    <a:pt x="357" y="869"/>
                  </a:lnTo>
                  <a:lnTo>
                    <a:pt x="410" y="916"/>
                  </a:lnTo>
                  <a:lnTo>
                    <a:pt x="415" y="915"/>
                  </a:lnTo>
                  <a:lnTo>
                    <a:pt x="421" y="910"/>
                  </a:lnTo>
                  <a:lnTo>
                    <a:pt x="433" y="910"/>
                  </a:lnTo>
                  <a:lnTo>
                    <a:pt x="442" y="913"/>
                  </a:lnTo>
                  <a:lnTo>
                    <a:pt x="450" y="910"/>
                  </a:lnTo>
                  <a:lnTo>
                    <a:pt x="460" y="910"/>
                  </a:lnTo>
                  <a:lnTo>
                    <a:pt x="466" y="917"/>
                  </a:lnTo>
                  <a:lnTo>
                    <a:pt x="532" y="908"/>
                  </a:lnTo>
                  <a:lnTo>
                    <a:pt x="553" y="894"/>
                  </a:lnTo>
                  <a:lnTo>
                    <a:pt x="553" y="892"/>
                  </a:lnTo>
                  <a:lnTo>
                    <a:pt x="553" y="895"/>
                  </a:lnTo>
                  <a:lnTo>
                    <a:pt x="567" y="877"/>
                  </a:lnTo>
                  <a:lnTo>
                    <a:pt x="577" y="872"/>
                  </a:lnTo>
                  <a:lnTo>
                    <a:pt x="640" y="871"/>
                  </a:lnTo>
                  <a:lnTo>
                    <a:pt x="641" y="838"/>
                  </a:lnTo>
                  <a:lnTo>
                    <a:pt x="635" y="834"/>
                  </a:lnTo>
                  <a:lnTo>
                    <a:pt x="616" y="830"/>
                  </a:lnTo>
                  <a:lnTo>
                    <a:pt x="608" y="825"/>
                  </a:lnTo>
                  <a:lnTo>
                    <a:pt x="588" y="777"/>
                  </a:lnTo>
                  <a:lnTo>
                    <a:pt x="564" y="759"/>
                  </a:lnTo>
                  <a:lnTo>
                    <a:pt x="558" y="752"/>
                  </a:lnTo>
                  <a:lnTo>
                    <a:pt x="556" y="743"/>
                  </a:lnTo>
                  <a:lnTo>
                    <a:pt x="550" y="735"/>
                  </a:lnTo>
                  <a:lnTo>
                    <a:pt x="543" y="731"/>
                  </a:lnTo>
                  <a:lnTo>
                    <a:pt x="534" y="729"/>
                  </a:lnTo>
                  <a:lnTo>
                    <a:pt x="526" y="729"/>
                  </a:lnTo>
                  <a:lnTo>
                    <a:pt x="520" y="725"/>
                  </a:lnTo>
                  <a:lnTo>
                    <a:pt x="514" y="724"/>
                  </a:lnTo>
                  <a:lnTo>
                    <a:pt x="510" y="721"/>
                  </a:lnTo>
                  <a:lnTo>
                    <a:pt x="513" y="713"/>
                  </a:lnTo>
                  <a:lnTo>
                    <a:pt x="518" y="710"/>
                  </a:lnTo>
                  <a:lnTo>
                    <a:pt x="518" y="697"/>
                  </a:lnTo>
                  <a:lnTo>
                    <a:pt x="526" y="695"/>
                  </a:lnTo>
                  <a:lnTo>
                    <a:pt x="546" y="697"/>
                  </a:lnTo>
                  <a:lnTo>
                    <a:pt x="554" y="693"/>
                  </a:lnTo>
                  <a:lnTo>
                    <a:pt x="562" y="688"/>
                  </a:lnTo>
                  <a:lnTo>
                    <a:pt x="566" y="600"/>
                  </a:lnTo>
                  <a:lnTo>
                    <a:pt x="569" y="602"/>
                  </a:lnTo>
                  <a:lnTo>
                    <a:pt x="577" y="585"/>
                  </a:lnTo>
                  <a:lnTo>
                    <a:pt x="583" y="581"/>
                  </a:lnTo>
                  <a:lnTo>
                    <a:pt x="594" y="581"/>
                  </a:lnTo>
                  <a:lnTo>
                    <a:pt x="597" y="577"/>
                  </a:lnTo>
                  <a:lnTo>
                    <a:pt x="605" y="543"/>
                  </a:lnTo>
                  <a:lnTo>
                    <a:pt x="642" y="495"/>
                  </a:lnTo>
                  <a:lnTo>
                    <a:pt x="649" y="492"/>
                  </a:lnTo>
                  <a:lnTo>
                    <a:pt x="655" y="486"/>
                  </a:lnTo>
                  <a:lnTo>
                    <a:pt x="670" y="424"/>
                  </a:lnTo>
                  <a:lnTo>
                    <a:pt x="668" y="394"/>
                  </a:lnTo>
                  <a:lnTo>
                    <a:pt x="694" y="291"/>
                  </a:lnTo>
                  <a:lnTo>
                    <a:pt x="705" y="290"/>
                  </a:lnTo>
                  <a:lnTo>
                    <a:pt x="712" y="285"/>
                  </a:lnTo>
                  <a:lnTo>
                    <a:pt x="716" y="279"/>
                  </a:lnTo>
                  <a:lnTo>
                    <a:pt x="751" y="264"/>
                  </a:lnTo>
                  <a:lnTo>
                    <a:pt x="759" y="244"/>
                  </a:lnTo>
                  <a:lnTo>
                    <a:pt x="757" y="235"/>
                  </a:lnTo>
                  <a:lnTo>
                    <a:pt x="752" y="235"/>
                  </a:lnTo>
                  <a:lnTo>
                    <a:pt x="749" y="233"/>
                  </a:lnTo>
                  <a:lnTo>
                    <a:pt x="745" y="234"/>
                  </a:lnTo>
                  <a:lnTo>
                    <a:pt x="741" y="225"/>
                  </a:lnTo>
                  <a:lnTo>
                    <a:pt x="736" y="220"/>
                  </a:lnTo>
                  <a:lnTo>
                    <a:pt x="713" y="211"/>
                  </a:lnTo>
                  <a:lnTo>
                    <a:pt x="708" y="203"/>
                  </a:lnTo>
                  <a:lnTo>
                    <a:pt x="699" y="97"/>
                  </a:lnTo>
                  <a:lnTo>
                    <a:pt x="702" y="98"/>
                  </a:lnTo>
                  <a:lnTo>
                    <a:pt x="700" y="92"/>
                  </a:lnTo>
                  <a:lnTo>
                    <a:pt x="687" y="78"/>
                  </a:lnTo>
                  <a:lnTo>
                    <a:pt x="684" y="54"/>
                  </a:lnTo>
                  <a:lnTo>
                    <a:pt x="675" y="40"/>
                  </a:lnTo>
                  <a:lnTo>
                    <a:pt x="668" y="36"/>
                  </a:lnTo>
                  <a:lnTo>
                    <a:pt x="659" y="25"/>
                  </a:lnTo>
                  <a:lnTo>
                    <a:pt x="637" y="15"/>
                  </a:lnTo>
                  <a:lnTo>
                    <a:pt x="627" y="0"/>
                  </a:lnTo>
                  <a:lnTo>
                    <a:pt x="608" y="16"/>
                  </a:lnTo>
                  <a:lnTo>
                    <a:pt x="597" y="11"/>
                  </a:lnTo>
                  <a:lnTo>
                    <a:pt x="586" y="37"/>
                  </a:lnTo>
                  <a:lnTo>
                    <a:pt x="562" y="43"/>
                  </a:lnTo>
                  <a:lnTo>
                    <a:pt x="555" y="64"/>
                  </a:lnTo>
                  <a:lnTo>
                    <a:pt x="534" y="65"/>
                  </a:lnTo>
                  <a:lnTo>
                    <a:pt x="517" y="55"/>
                  </a:lnTo>
                  <a:lnTo>
                    <a:pt x="437" y="54"/>
                  </a:lnTo>
                  <a:lnTo>
                    <a:pt x="441" y="45"/>
                  </a:lnTo>
                  <a:lnTo>
                    <a:pt x="439" y="45"/>
                  </a:lnTo>
                  <a:lnTo>
                    <a:pt x="437" y="43"/>
                  </a:lnTo>
                  <a:lnTo>
                    <a:pt x="435" y="43"/>
                  </a:lnTo>
                  <a:lnTo>
                    <a:pt x="427" y="54"/>
                  </a:lnTo>
                  <a:lnTo>
                    <a:pt x="144" y="54"/>
                  </a:lnTo>
                  <a:lnTo>
                    <a:pt x="144" y="147"/>
                  </a:lnTo>
                  <a:lnTo>
                    <a:pt x="98" y="148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7" name="Freeform 135"/>
            <p:cNvSpPr>
              <a:spLocks/>
            </p:cNvSpPr>
            <p:nvPr/>
          </p:nvSpPr>
          <p:spPr bwMode="auto">
            <a:xfrm>
              <a:off x="4467880" y="2111863"/>
              <a:ext cx="911926" cy="912838"/>
            </a:xfrm>
            <a:custGeom>
              <a:avLst/>
              <a:gdLst>
                <a:gd name="T0" fmla="*/ 9 w 759"/>
                <a:gd name="T1" fmla="*/ 43 h 917"/>
                <a:gd name="T2" fmla="*/ 3 w 759"/>
                <a:gd name="T3" fmla="*/ 50 h 917"/>
                <a:gd name="T4" fmla="*/ 3 w 759"/>
                <a:gd name="T5" fmla="*/ 53 h 917"/>
                <a:gd name="T6" fmla="*/ 1 w 759"/>
                <a:gd name="T7" fmla="*/ 56 h 917"/>
                <a:gd name="T8" fmla="*/ 1 w 759"/>
                <a:gd name="T9" fmla="*/ 60 h 917"/>
                <a:gd name="T10" fmla="*/ 6 w 759"/>
                <a:gd name="T11" fmla="*/ 66 h 917"/>
                <a:gd name="T12" fmla="*/ 7 w 759"/>
                <a:gd name="T13" fmla="*/ 67 h 917"/>
                <a:gd name="T14" fmla="*/ 12 w 759"/>
                <a:gd name="T15" fmla="*/ 75 h 917"/>
                <a:gd name="T16" fmla="*/ 12 w 759"/>
                <a:gd name="T17" fmla="*/ 81 h 917"/>
                <a:gd name="T18" fmla="*/ 18 w 759"/>
                <a:gd name="T19" fmla="*/ 84 h 917"/>
                <a:gd name="T20" fmla="*/ 25 w 759"/>
                <a:gd name="T21" fmla="*/ 86 h 917"/>
                <a:gd name="T22" fmla="*/ 26 w 759"/>
                <a:gd name="T23" fmla="*/ 89 h 917"/>
                <a:gd name="T24" fmla="*/ 34 w 759"/>
                <a:gd name="T25" fmla="*/ 92 h 917"/>
                <a:gd name="T26" fmla="*/ 37 w 759"/>
                <a:gd name="T27" fmla="*/ 97 h 917"/>
                <a:gd name="T28" fmla="*/ 43 w 759"/>
                <a:gd name="T29" fmla="*/ 100 h 917"/>
                <a:gd name="T30" fmla="*/ 47 w 759"/>
                <a:gd name="T31" fmla="*/ 104 h 917"/>
                <a:gd name="T32" fmla="*/ 53 w 759"/>
                <a:gd name="T33" fmla="*/ 106 h 917"/>
                <a:gd name="T34" fmla="*/ 59 w 759"/>
                <a:gd name="T35" fmla="*/ 106 h 917"/>
                <a:gd name="T36" fmla="*/ 70 w 759"/>
                <a:gd name="T37" fmla="*/ 110 h 917"/>
                <a:gd name="T38" fmla="*/ 75 w 759"/>
                <a:gd name="T39" fmla="*/ 109 h 917"/>
                <a:gd name="T40" fmla="*/ 79 w 759"/>
                <a:gd name="T41" fmla="*/ 110 h 917"/>
                <a:gd name="T42" fmla="*/ 93 w 759"/>
                <a:gd name="T43" fmla="*/ 107 h 917"/>
                <a:gd name="T44" fmla="*/ 98 w 759"/>
                <a:gd name="T45" fmla="*/ 105 h 917"/>
                <a:gd name="T46" fmla="*/ 107 w 759"/>
                <a:gd name="T47" fmla="*/ 100 h 917"/>
                <a:gd name="T48" fmla="*/ 99 w 759"/>
                <a:gd name="T49" fmla="*/ 93 h 917"/>
                <a:gd name="T50" fmla="*/ 94 w 759"/>
                <a:gd name="T51" fmla="*/ 90 h 917"/>
                <a:gd name="T52" fmla="*/ 91 w 759"/>
                <a:gd name="T53" fmla="*/ 88 h 917"/>
                <a:gd name="T54" fmla="*/ 87 w 759"/>
                <a:gd name="T55" fmla="*/ 87 h 917"/>
                <a:gd name="T56" fmla="*/ 88 w 759"/>
                <a:gd name="T57" fmla="*/ 85 h 917"/>
                <a:gd name="T58" fmla="*/ 92 w 759"/>
                <a:gd name="T59" fmla="*/ 84 h 917"/>
                <a:gd name="T60" fmla="*/ 95 w 759"/>
                <a:gd name="T61" fmla="*/ 72 h 917"/>
                <a:gd name="T62" fmla="*/ 98 w 759"/>
                <a:gd name="T63" fmla="*/ 70 h 917"/>
                <a:gd name="T64" fmla="*/ 102 w 759"/>
                <a:gd name="T65" fmla="*/ 65 h 917"/>
                <a:gd name="T66" fmla="*/ 111 w 759"/>
                <a:gd name="T67" fmla="*/ 58 h 917"/>
                <a:gd name="T68" fmla="*/ 117 w 759"/>
                <a:gd name="T69" fmla="*/ 35 h 917"/>
                <a:gd name="T70" fmla="*/ 121 w 759"/>
                <a:gd name="T71" fmla="*/ 33 h 917"/>
                <a:gd name="T72" fmla="*/ 128 w 759"/>
                <a:gd name="T73" fmla="*/ 28 h 917"/>
                <a:gd name="T74" fmla="*/ 126 w 759"/>
                <a:gd name="T75" fmla="*/ 28 h 917"/>
                <a:gd name="T76" fmla="*/ 120 w 759"/>
                <a:gd name="T77" fmla="*/ 25 h 917"/>
                <a:gd name="T78" fmla="*/ 119 w 759"/>
                <a:gd name="T79" fmla="*/ 12 h 917"/>
                <a:gd name="T80" fmla="*/ 115 w 759"/>
                <a:gd name="T81" fmla="*/ 6 h 917"/>
                <a:gd name="T82" fmla="*/ 111 w 759"/>
                <a:gd name="T83" fmla="*/ 3 h 917"/>
                <a:gd name="T84" fmla="*/ 102 w 759"/>
                <a:gd name="T85" fmla="*/ 2 h 917"/>
                <a:gd name="T86" fmla="*/ 95 w 759"/>
                <a:gd name="T87" fmla="*/ 5 h 917"/>
                <a:gd name="T88" fmla="*/ 88 w 759"/>
                <a:gd name="T89" fmla="*/ 6 h 917"/>
                <a:gd name="T90" fmla="*/ 74 w 759"/>
                <a:gd name="T91" fmla="*/ 5 h 917"/>
                <a:gd name="T92" fmla="*/ 72 w 759"/>
                <a:gd name="T93" fmla="*/ 6 h 917"/>
                <a:gd name="T94" fmla="*/ 24 w 759"/>
                <a:gd name="T95" fmla="*/ 18 h 9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59"/>
                <a:gd name="T145" fmla="*/ 0 h 917"/>
                <a:gd name="T146" fmla="*/ 759 w 759"/>
                <a:gd name="T147" fmla="*/ 917 h 91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59" h="917">
                  <a:moveTo>
                    <a:pt x="98" y="176"/>
                  </a:moveTo>
                  <a:lnTo>
                    <a:pt x="98" y="353"/>
                  </a:lnTo>
                  <a:lnTo>
                    <a:pt x="51" y="356"/>
                  </a:lnTo>
                  <a:lnTo>
                    <a:pt x="50" y="358"/>
                  </a:lnTo>
                  <a:lnTo>
                    <a:pt x="47" y="375"/>
                  </a:lnTo>
                  <a:lnTo>
                    <a:pt x="20" y="413"/>
                  </a:lnTo>
                  <a:lnTo>
                    <a:pt x="21" y="431"/>
                  </a:lnTo>
                  <a:lnTo>
                    <a:pt x="20" y="435"/>
                  </a:lnTo>
                  <a:lnTo>
                    <a:pt x="19" y="436"/>
                  </a:lnTo>
                  <a:lnTo>
                    <a:pt x="13" y="439"/>
                  </a:lnTo>
                  <a:lnTo>
                    <a:pt x="10" y="443"/>
                  </a:lnTo>
                  <a:lnTo>
                    <a:pt x="8" y="464"/>
                  </a:lnTo>
                  <a:lnTo>
                    <a:pt x="1" y="480"/>
                  </a:lnTo>
                  <a:lnTo>
                    <a:pt x="0" y="498"/>
                  </a:lnTo>
                  <a:lnTo>
                    <a:pt x="3" y="498"/>
                  </a:lnTo>
                  <a:lnTo>
                    <a:pt x="21" y="493"/>
                  </a:lnTo>
                  <a:lnTo>
                    <a:pt x="20" y="506"/>
                  </a:lnTo>
                  <a:lnTo>
                    <a:pt x="34" y="548"/>
                  </a:lnTo>
                  <a:lnTo>
                    <a:pt x="35" y="549"/>
                  </a:lnTo>
                  <a:lnTo>
                    <a:pt x="40" y="553"/>
                  </a:lnTo>
                  <a:lnTo>
                    <a:pt x="43" y="556"/>
                  </a:lnTo>
                  <a:lnTo>
                    <a:pt x="46" y="571"/>
                  </a:lnTo>
                  <a:lnTo>
                    <a:pt x="38" y="574"/>
                  </a:lnTo>
                  <a:lnTo>
                    <a:pt x="74" y="620"/>
                  </a:lnTo>
                  <a:lnTo>
                    <a:pt x="79" y="634"/>
                  </a:lnTo>
                  <a:lnTo>
                    <a:pt x="72" y="662"/>
                  </a:lnTo>
                  <a:lnTo>
                    <a:pt x="73" y="673"/>
                  </a:lnTo>
                  <a:lnTo>
                    <a:pt x="83" y="681"/>
                  </a:lnTo>
                  <a:lnTo>
                    <a:pt x="102" y="684"/>
                  </a:lnTo>
                  <a:lnTo>
                    <a:pt x="107" y="697"/>
                  </a:lnTo>
                  <a:lnTo>
                    <a:pt x="117" y="702"/>
                  </a:lnTo>
                  <a:lnTo>
                    <a:pt x="135" y="702"/>
                  </a:lnTo>
                  <a:lnTo>
                    <a:pt x="150" y="713"/>
                  </a:lnTo>
                  <a:lnTo>
                    <a:pt x="152" y="716"/>
                  </a:lnTo>
                  <a:lnTo>
                    <a:pt x="150" y="726"/>
                  </a:lnTo>
                  <a:lnTo>
                    <a:pt x="155" y="735"/>
                  </a:lnTo>
                  <a:lnTo>
                    <a:pt x="186" y="755"/>
                  </a:lnTo>
                  <a:lnTo>
                    <a:pt x="192" y="763"/>
                  </a:lnTo>
                  <a:lnTo>
                    <a:pt x="201" y="768"/>
                  </a:lnTo>
                  <a:lnTo>
                    <a:pt x="209" y="786"/>
                  </a:lnTo>
                  <a:lnTo>
                    <a:pt x="215" y="794"/>
                  </a:lnTo>
                  <a:lnTo>
                    <a:pt x="216" y="803"/>
                  </a:lnTo>
                  <a:lnTo>
                    <a:pt x="224" y="805"/>
                  </a:lnTo>
                  <a:lnTo>
                    <a:pt x="249" y="821"/>
                  </a:lnTo>
                  <a:lnTo>
                    <a:pt x="254" y="829"/>
                  </a:lnTo>
                  <a:lnTo>
                    <a:pt x="255" y="838"/>
                  </a:lnTo>
                  <a:lnTo>
                    <a:pt x="265" y="854"/>
                  </a:lnTo>
                  <a:lnTo>
                    <a:pt x="276" y="861"/>
                  </a:lnTo>
                  <a:lnTo>
                    <a:pt x="285" y="876"/>
                  </a:lnTo>
                  <a:lnTo>
                    <a:pt x="304" y="884"/>
                  </a:lnTo>
                  <a:lnTo>
                    <a:pt x="310" y="882"/>
                  </a:lnTo>
                  <a:lnTo>
                    <a:pt x="315" y="874"/>
                  </a:lnTo>
                  <a:lnTo>
                    <a:pt x="337" y="879"/>
                  </a:lnTo>
                  <a:lnTo>
                    <a:pt x="346" y="878"/>
                  </a:lnTo>
                  <a:lnTo>
                    <a:pt x="357" y="869"/>
                  </a:lnTo>
                  <a:lnTo>
                    <a:pt x="410" y="916"/>
                  </a:lnTo>
                  <a:lnTo>
                    <a:pt x="415" y="915"/>
                  </a:lnTo>
                  <a:lnTo>
                    <a:pt x="421" y="910"/>
                  </a:lnTo>
                  <a:lnTo>
                    <a:pt x="433" y="910"/>
                  </a:lnTo>
                  <a:lnTo>
                    <a:pt x="442" y="913"/>
                  </a:lnTo>
                  <a:lnTo>
                    <a:pt x="450" y="910"/>
                  </a:lnTo>
                  <a:lnTo>
                    <a:pt x="460" y="910"/>
                  </a:lnTo>
                  <a:lnTo>
                    <a:pt x="466" y="917"/>
                  </a:lnTo>
                  <a:lnTo>
                    <a:pt x="532" y="908"/>
                  </a:lnTo>
                  <a:lnTo>
                    <a:pt x="553" y="894"/>
                  </a:lnTo>
                  <a:lnTo>
                    <a:pt x="553" y="892"/>
                  </a:lnTo>
                  <a:lnTo>
                    <a:pt x="553" y="895"/>
                  </a:lnTo>
                  <a:lnTo>
                    <a:pt x="567" y="877"/>
                  </a:lnTo>
                  <a:lnTo>
                    <a:pt x="577" y="872"/>
                  </a:lnTo>
                  <a:lnTo>
                    <a:pt x="640" y="871"/>
                  </a:lnTo>
                  <a:lnTo>
                    <a:pt x="641" y="838"/>
                  </a:lnTo>
                  <a:lnTo>
                    <a:pt x="635" y="834"/>
                  </a:lnTo>
                  <a:lnTo>
                    <a:pt x="616" y="830"/>
                  </a:lnTo>
                  <a:lnTo>
                    <a:pt x="608" y="825"/>
                  </a:lnTo>
                  <a:lnTo>
                    <a:pt x="588" y="777"/>
                  </a:lnTo>
                  <a:lnTo>
                    <a:pt x="564" y="759"/>
                  </a:lnTo>
                  <a:lnTo>
                    <a:pt x="558" y="752"/>
                  </a:lnTo>
                  <a:lnTo>
                    <a:pt x="556" y="743"/>
                  </a:lnTo>
                  <a:lnTo>
                    <a:pt x="550" y="735"/>
                  </a:lnTo>
                  <a:lnTo>
                    <a:pt x="543" y="731"/>
                  </a:lnTo>
                  <a:lnTo>
                    <a:pt x="534" y="729"/>
                  </a:lnTo>
                  <a:lnTo>
                    <a:pt x="526" y="729"/>
                  </a:lnTo>
                  <a:lnTo>
                    <a:pt x="520" y="725"/>
                  </a:lnTo>
                  <a:lnTo>
                    <a:pt x="514" y="724"/>
                  </a:lnTo>
                  <a:lnTo>
                    <a:pt x="510" y="721"/>
                  </a:lnTo>
                  <a:lnTo>
                    <a:pt x="513" y="713"/>
                  </a:lnTo>
                  <a:lnTo>
                    <a:pt x="518" y="710"/>
                  </a:lnTo>
                  <a:lnTo>
                    <a:pt x="518" y="697"/>
                  </a:lnTo>
                  <a:lnTo>
                    <a:pt x="526" y="695"/>
                  </a:lnTo>
                  <a:lnTo>
                    <a:pt x="546" y="697"/>
                  </a:lnTo>
                  <a:lnTo>
                    <a:pt x="554" y="693"/>
                  </a:lnTo>
                  <a:lnTo>
                    <a:pt x="562" y="688"/>
                  </a:lnTo>
                  <a:lnTo>
                    <a:pt x="566" y="600"/>
                  </a:lnTo>
                  <a:lnTo>
                    <a:pt x="569" y="602"/>
                  </a:lnTo>
                  <a:lnTo>
                    <a:pt x="577" y="585"/>
                  </a:lnTo>
                  <a:lnTo>
                    <a:pt x="583" y="581"/>
                  </a:lnTo>
                  <a:lnTo>
                    <a:pt x="594" y="581"/>
                  </a:lnTo>
                  <a:lnTo>
                    <a:pt x="597" y="577"/>
                  </a:lnTo>
                  <a:lnTo>
                    <a:pt x="605" y="543"/>
                  </a:lnTo>
                  <a:lnTo>
                    <a:pt x="642" y="495"/>
                  </a:lnTo>
                  <a:lnTo>
                    <a:pt x="649" y="492"/>
                  </a:lnTo>
                  <a:lnTo>
                    <a:pt x="655" y="486"/>
                  </a:lnTo>
                  <a:lnTo>
                    <a:pt x="670" y="424"/>
                  </a:lnTo>
                  <a:lnTo>
                    <a:pt x="668" y="394"/>
                  </a:lnTo>
                  <a:lnTo>
                    <a:pt x="694" y="291"/>
                  </a:lnTo>
                  <a:lnTo>
                    <a:pt x="705" y="290"/>
                  </a:lnTo>
                  <a:lnTo>
                    <a:pt x="712" y="285"/>
                  </a:lnTo>
                  <a:lnTo>
                    <a:pt x="716" y="279"/>
                  </a:lnTo>
                  <a:lnTo>
                    <a:pt x="751" y="264"/>
                  </a:lnTo>
                  <a:lnTo>
                    <a:pt x="759" y="244"/>
                  </a:lnTo>
                  <a:lnTo>
                    <a:pt x="757" y="235"/>
                  </a:lnTo>
                  <a:lnTo>
                    <a:pt x="752" y="235"/>
                  </a:lnTo>
                  <a:lnTo>
                    <a:pt x="749" y="233"/>
                  </a:lnTo>
                  <a:lnTo>
                    <a:pt x="745" y="234"/>
                  </a:lnTo>
                  <a:lnTo>
                    <a:pt x="741" y="225"/>
                  </a:lnTo>
                  <a:lnTo>
                    <a:pt x="736" y="220"/>
                  </a:lnTo>
                  <a:lnTo>
                    <a:pt x="713" y="211"/>
                  </a:lnTo>
                  <a:lnTo>
                    <a:pt x="708" y="203"/>
                  </a:lnTo>
                  <a:lnTo>
                    <a:pt x="699" y="97"/>
                  </a:lnTo>
                  <a:lnTo>
                    <a:pt x="702" y="98"/>
                  </a:lnTo>
                  <a:lnTo>
                    <a:pt x="700" y="92"/>
                  </a:lnTo>
                  <a:lnTo>
                    <a:pt x="687" y="78"/>
                  </a:lnTo>
                  <a:lnTo>
                    <a:pt x="684" y="54"/>
                  </a:lnTo>
                  <a:lnTo>
                    <a:pt x="675" y="40"/>
                  </a:lnTo>
                  <a:lnTo>
                    <a:pt x="668" y="36"/>
                  </a:lnTo>
                  <a:lnTo>
                    <a:pt x="659" y="25"/>
                  </a:lnTo>
                  <a:lnTo>
                    <a:pt x="637" y="15"/>
                  </a:lnTo>
                  <a:lnTo>
                    <a:pt x="627" y="0"/>
                  </a:lnTo>
                  <a:lnTo>
                    <a:pt x="608" y="16"/>
                  </a:lnTo>
                  <a:lnTo>
                    <a:pt x="597" y="11"/>
                  </a:lnTo>
                  <a:lnTo>
                    <a:pt x="586" y="37"/>
                  </a:lnTo>
                  <a:lnTo>
                    <a:pt x="562" y="43"/>
                  </a:lnTo>
                  <a:lnTo>
                    <a:pt x="555" y="64"/>
                  </a:lnTo>
                  <a:lnTo>
                    <a:pt x="534" y="65"/>
                  </a:lnTo>
                  <a:lnTo>
                    <a:pt x="517" y="55"/>
                  </a:lnTo>
                  <a:lnTo>
                    <a:pt x="437" y="54"/>
                  </a:lnTo>
                  <a:lnTo>
                    <a:pt x="441" y="45"/>
                  </a:lnTo>
                  <a:lnTo>
                    <a:pt x="439" y="45"/>
                  </a:lnTo>
                  <a:lnTo>
                    <a:pt x="437" y="43"/>
                  </a:lnTo>
                  <a:lnTo>
                    <a:pt x="435" y="43"/>
                  </a:lnTo>
                  <a:lnTo>
                    <a:pt x="427" y="54"/>
                  </a:lnTo>
                  <a:lnTo>
                    <a:pt x="144" y="54"/>
                  </a:lnTo>
                  <a:lnTo>
                    <a:pt x="144" y="147"/>
                  </a:lnTo>
                  <a:lnTo>
                    <a:pt x="98" y="148"/>
                  </a:lnTo>
                  <a:lnTo>
                    <a:pt x="98" y="17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8" name="Freeform 136"/>
            <p:cNvSpPr>
              <a:spLocks/>
            </p:cNvSpPr>
            <p:nvPr/>
          </p:nvSpPr>
          <p:spPr bwMode="auto">
            <a:xfrm>
              <a:off x="3267549" y="2085888"/>
              <a:ext cx="877399" cy="565885"/>
            </a:xfrm>
            <a:custGeom>
              <a:avLst/>
              <a:gdLst>
                <a:gd name="T0" fmla="*/ 31 w 730"/>
                <a:gd name="T1" fmla="*/ 44 h 567"/>
                <a:gd name="T2" fmla="*/ 30 w 730"/>
                <a:gd name="T3" fmla="*/ 45 h 567"/>
                <a:gd name="T4" fmla="*/ 29 w 730"/>
                <a:gd name="T5" fmla="*/ 46 h 567"/>
                <a:gd name="T6" fmla="*/ 26 w 730"/>
                <a:gd name="T7" fmla="*/ 48 h 567"/>
                <a:gd name="T8" fmla="*/ 22 w 730"/>
                <a:gd name="T9" fmla="*/ 48 h 567"/>
                <a:gd name="T10" fmla="*/ 22 w 730"/>
                <a:gd name="T11" fmla="*/ 48 h 567"/>
                <a:gd name="T12" fmla="*/ 6 w 730"/>
                <a:gd name="T13" fmla="*/ 50 h 567"/>
                <a:gd name="T14" fmla="*/ 1 w 730"/>
                <a:gd name="T15" fmla="*/ 51 h 567"/>
                <a:gd name="T16" fmla="*/ 0 w 730"/>
                <a:gd name="T17" fmla="*/ 53 h 567"/>
                <a:gd name="T18" fmla="*/ 1 w 730"/>
                <a:gd name="T19" fmla="*/ 54 h 567"/>
                <a:gd name="T20" fmla="*/ 2 w 730"/>
                <a:gd name="T21" fmla="*/ 55 h 567"/>
                <a:gd name="T22" fmla="*/ 10 w 730"/>
                <a:gd name="T23" fmla="*/ 63 h 567"/>
                <a:gd name="T24" fmla="*/ 13 w 730"/>
                <a:gd name="T25" fmla="*/ 64 h 567"/>
                <a:gd name="T26" fmla="*/ 14 w 730"/>
                <a:gd name="T27" fmla="*/ 63 h 567"/>
                <a:gd name="T28" fmla="*/ 16 w 730"/>
                <a:gd name="T29" fmla="*/ 63 h 567"/>
                <a:gd name="T30" fmla="*/ 17 w 730"/>
                <a:gd name="T31" fmla="*/ 65 h 567"/>
                <a:gd name="T32" fmla="*/ 15 w 730"/>
                <a:gd name="T33" fmla="*/ 65 h 567"/>
                <a:gd name="T34" fmla="*/ 15 w 730"/>
                <a:gd name="T35" fmla="*/ 66 h 567"/>
                <a:gd name="T36" fmla="*/ 19 w 730"/>
                <a:gd name="T37" fmla="*/ 67 h 567"/>
                <a:gd name="T38" fmla="*/ 18 w 730"/>
                <a:gd name="T39" fmla="*/ 66 h 567"/>
                <a:gd name="T40" fmla="*/ 22 w 730"/>
                <a:gd name="T41" fmla="*/ 65 h 567"/>
                <a:gd name="T42" fmla="*/ 27 w 730"/>
                <a:gd name="T43" fmla="*/ 65 h 567"/>
                <a:gd name="T44" fmla="*/ 28 w 730"/>
                <a:gd name="T45" fmla="*/ 63 h 567"/>
                <a:gd name="T46" fmla="*/ 30 w 730"/>
                <a:gd name="T47" fmla="*/ 62 h 567"/>
                <a:gd name="T48" fmla="*/ 34 w 730"/>
                <a:gd name="T49" fmla="*/ 58 h 567"/>
                <a:gd name="T50" fmla="*/ 49 w 730"/>
                <a:gd name="T51" fmla="*/ 59 h 567"/>
                <a:gd name="T52" fmla="*/ 54 w 730"/>
                <a:gd name="T53" fmla="*/ 62 h 567"/>
                <a:gd name="T54" fmla="*/ 56 w 730"/>
                <a:gd name="T55" fmla="*/ 61 h 567"/>
                <a:gd name="T56" fmla="*/ 60 w 730"/>
                <a:gd name="T57" fmla="*/ 60 h 567"/>
                <a:gd name="T58" fmla="*/ 72 w 730"/>
                <a:gd name="T59" fmla="*/ 63 h 567"/>
                <a:gd name="T60" fmla="*/ 79 w 730"/>
                <a:gd name="T61" fmla="*/ 60 h 567"/>
                <a:gd name="T62" fmla="*/ 94 w 730"/>
                <a:gd name="T63" fmla="*/ 60 h 567"/>
                <a:gd name="T64" fmla="*/ 96 w 730"/>
                <a:gd name="T65" fmla="*/ 60 h 567"/>
                <a:gd name="T66" fmla="*/ 98 w 730"/>
                <a:gd name="T67" fmla="*/ 59 h 567"/>
                <a:gd name="T68" fmla="*/ 99 w 730"/>
                <a:gd name="T69" fmla="*/ 59 h 567"/>
                <a:gd name="T70" fmla="*/ 101 w 730"/>
                <a:gd name="T71" fmla="*/ 57 h 567"/>
                <a:gd name="T72" fmla="*/ 101 w 730"/>
                <a:gd name="T73" fmla="*/ 57 h 567"/>
                <a:gd name="T74" fmla="*/ 100 w 730"/>
                <a:gd name="T75" fmla="*/ 56 h 567"/>
                <a:gd name="T76" fmla="*/ 101 w 730"/>
                <a:gd name="T77" fmla="*/ 54 h 567"/>
                <a:gd name="T78" fmla="*/ 102 w 730"/>
                <a:gd name="T79" fmla="*/ 54 h 567"/>
                <a:gd name="T80" fmla="*/ 103 w 730"/>
                <a:gd name="T81" fmla="*/ 53 h 567"/>
                <a:gd name="T82" fmla="*/ 105 w 730"/>
                <a:gd name="T83" fmla="*/ 52 h 567"/>
                <a:gd name="T84" fmla="*/ 105 w 730"/>
                <a:gd name="T85" fmla="*/ 51 h 567"/>
                <a:gd name="T86" fmla="*/ 118 w 730"/>
                <a:gd name="T87" fmla="*/ 39 h 567"/>
                <a:gd name="T88" fmla="*/ 123 w 730"/>
                <a:gd name="T89" fmla="*/ 18 h 567"/>
                <a:gd name="T90" fmla="*/ 118 w 730"/>
                <a:gd name="T91" fmla="*/ 16 h 567"/>
                <a:gd name="T92" fmla="*/ 117 w 730"/>
                <a:gd name="T93" fmla="*/ 13 h 567"/>
                <a:gd name="T94" fmla="*/ 115 w 730"/>
                <a:gd name="T95" fmla="*/ 3 h 567"/>
                <a:gd name="T96" fmla="*/ 112 w 730"/>
                <a:gd name="T97" fmla="*/ 2 h 567"/>
                <a:gd name="T98" fmla="*/ 109 w 730"/>
                <a:gd name="T99" fmla="*/ 1 h 567"/>
                <a:gd name="T100" fmla="*/ 91 w 730"/>
                <a:gd name="T101" fmla="*/ 0 h 567"/>
                <a:gd name="T102" fmla="*/ 31 w 730"/>
                <a:gd name="T103" fmla="*/ 26 h 567"/>
                <a:gd name="T104" fmla="*/ 31 w 730"/>
                <a:gd name="T105" fmla="*/ 26 h 56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567"/>
                <a:gd name="T161" fmla="*/ 730 w 730"/>
                <a:gd name="T162" fmla="*/ 567 h 56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567">
                  <a:moveTo>
                    <a:pt x="187" y="227"/>
                  </a:moveTo>
                  <a:lnTo>
                    <a:pt x="187" y="364"/>
                  </a:lnTo>
                  <a:lnTo>
                    <a:pt x="183" y="365"/>
                  </a:lnTo>
                  <a:lnTo>
                    <a:pt x="175" y="369"/>
                  </a:lnTo>
                  <a:lnTo>
                    <a:pt x="172" y="374"/>
                  </a:lnTo>
                  <a:lnTo>
                    <a:pt x="170" y="380"/>
                  </a:lnTo>
                  <a:lnTo>
                    <a:pt x="160" y="386"/>
                  </a:lnTo>
                  <a:lnTo>
                    <a:pt x="156" y="392"/>
                  </a:lnTo>
                  <a:lnTo>
                    <a:pt x="155" y="397"/>
                  </a:lnTo>
                  <a:lnTo>
                    <a:pt x="134" y="394"/>
                  </a:lnTo>
                  <a:lnTo>
                    <a:pt x="134" y="397"/>
                  </a:lnTo>
                  <a:lnTo>
                    <a:pt x="130" y="396"/>
                  </a:lnTo>
                  <a:lnTo>
                    <a:pt x="57" y="397"/>
                  </a:lnTo>
                  <a:lnTo>
                    <a:pt x="35" y="413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3" y="427"/>
                  </a:lnTo>
                  <a:lnTo>
                    <a:pt x="0" y="435"/>
                  </a:lnTo>
                  <a:lnTo>
                    <a:pt x="1" y="438"/>
                  </a:lnTo>
                  <a:lnTo>
                    <a:pt x="9" y="444"/>
                  </a:lnTo>
                  <a:lnTo>
                    <a:pt x="10" y="446"/>
                  </a:lnTo>
                  <a:lnTo>
                    <a:pt x="10" y="453"/>
                  </a:lnTo>
                  <a:lnTo>
                    <a:pt x="13" y="460"/>
                  </a:lnTo>
                  <a:lnTo>
                    <a:pt x="60" y="520"/>
                  </a:lnTo>
                  <a:lnTo>
                    <a:pt x="74" y="526"/>
                  </a:lnTo>
                  <a:lnTo>
                    <a:pt x="78" y="526"/>
                  </a:lnTo>
                  <a:lnTo>
                    <a:pt x="82" y="524"/>
                  </a:lnTo>
                  <a:lnTo>
                    <a:pt x="86" y="520"/>
                  </a:lnTo>
                  <a:lnTo>
                    <a:pt x="89" y="520"/>
                  </a:lnTo>
                  <a:lnTo>
                    <a:pt x="94" y="522"/>
                  </a:lnTo>
                  <a:lnTo>
                    <a:pt x="100" y="533"/>
                  </a:lnTo>
                  <a:lnTo>
                    <a:pt x="99" y="535"/>
                  </a:lnTo>
                  <a:lnTo>
                    <a:pt x="95" y="534"/>
                  </a:lnTo>
                  <a:lnTo>
                    <a:pt x="92" y="536"/>
                  </a:lnTo>
                  <a:lnTo>
                    <a:pt x="91" y="538"/>
                  </a:lnTo>
                  <a:lnTo>
                    <a:pt x="92" y="541"/>
                  </a:lnTo>
                  <a:lnTo>
                    <a:pt x="106" y="557"/>
                  </a:lnTo>
                  <a:lnTo>
                    <a:pt x="113" y="553"/>
                  </a:lnTo>
                  <a:lnTo>
                    <a:pt x="106" y="545"/>
                  </a:lnTo>
                  <a:lnTo>
                    <a:pt x="106" y="541"/>
                  </a:lnTo>
                  <a:lnTo>
                    <a:pt x="120" y="539"/>
                  </a:lnTo>
                  <a:lnTo>
                    <a:pt x="127" y="535"/>
                  </a:lnTo>
                  <a:lnTo>
                    <a:pt x="162" y="567"/>
                  </a:lnTo>
                  <a:lnTo>
                    <a:pt x="161" y="532"/>
                  </a:lnTo>
                  <a:lnTo>
                    <a:pt x="163" y="528"/>
                  </a:lnTo>
                  <a:lnTo>
                    <a:pt x="166" y="525"/>
                  </a:lnTo>
                  <a:lnTo>
                    <a:pt x="172" y="522"/>
                  </a:lnTo>
                  <a:lnTo>
                    <a:pt x="178" y="516"/>
                  </a:lnTo>
                  <a:lnTo>
                    <a:pt x="187" y="487"/>
                  </a:lnTo>
                  <a:lnTo>
                    <a:pt x="200" y="476"/>
                  </a:lnTo>
                  <a:lnTo>
                    <a:pt x="256" y="470"/>
                  </a:lnTo>
                  <a:lnTo>
                    <a:pt x="287" y="485"/>
                  </a:lnTo>
                  <a:lnTo>
                    <a:pt x="312" y="507"/>
                  </a:lnTo>
                  <a:lnTo>
                    <a:pt x="316" y="509"/>
                  </a:lnTo>
                  <a:lnTo>
                    <a:pt x="322" y="509"/>
                  </a:lnTo>
                  <a:lnTo>
                    <a:pt x="328" y="501"/>
                  </a:lnTo>
                  <a:lnTo>
                    <a:pt x="349" y="492"/>
                  </a:lnTo>
                  <a:lnTo>
                    <a:pt x="360" y="492"/>
                  </a:lnTo>
                  <a:lnTo>
                    <a:pt x="393" y="511"/>
                  </a:lnTo>
                  <a:lnTo>
                    <a:pt x="423" y="517"/>
                  </a:lnTo>
                  <a:lnTo>
                    <a:pt x="434" y="515"/>
                  </a:lnTo>
                  <a:lnTo>
                    <a:pt x="468" y="492"/>
                  </a:lnTo>
                  <a:lnTo>
                    <a:pt x="530" y="489"/>
                  </a:lnTo>
                  <a:lnTo>
                    <a:pt x="553" y="499"/>
                  </a:lnTo>
                  <a:lnTo>
                    <a:pt x="562" y="498"/>
                  </a:lnTo>
                  <a:lnTo>
                    <a:pt x="568" y="495"/>
                  </a:lnTo>
                  <a:lnTo>
                    <a:pt x="575" y="488"/>
                  </a:lnTo>
                  <a:lnTo>
                    <a:pt x="576" y="485"/>
                  </a:lnTo>
                  <a:lnTo>
                    <a:pt x="581" y="482"/>
                  </a:lnTo>
                  <a:lnTo>
                    <a:pt x="586" y="481"/>
                  </a:lnTo>
                  <a:lnTo>
                    <a:pt x="592" y="481"/>
                  </a:lnTo>
                  <a:lnTo>
                    <a:pt x="597" y="471"/>
                  </a:lnTo>
                  <a:lnTo>
                    <a:pt x="599" y="471"/>
                  </a:lnTo>
                  <a:lnTo>
                    <a:pt x="600" y="469"/>
                  </a:lnTo>
                  <a:lnTo>
                    <a:pt x="596" y="465"/>
                  </a:lnTo>
                  <a:lnTo>
                    <a:pt x="594" y="460"/>
                  </a:lnTo>
                  <a:lnTo>
                    <a:pt x="594" y="456"/>
                  </a:lnTo>
                  <a:lnTo>
                    <a:pt x="597" y="449"/>
                  </a:lnTo>
                  <a:lnTo>
                    <a:pt x="603" y="446"/>
                  </a:lnTo>
                  <a:lnTo>
                    <a:pt x="606" y="445"/>
                  </a:lnTo>
                  <a:lnTo>
                    <a:pt x="610" y="443"/>
                  </a:lnTo>
                  <a:lnTo>
                    <a:pt x="609" y="434"/>
                  </a:lnTo>
                  <a:lnTo>
                    <a:pt x="612" y="430"/>
                  </a:lnTo>
                  <a:lnTo>
                    <a:pt x="619" y="429"/>
                  </a:lnTo>
                  <a:lnTo>
                    <a:pt x="618" y="420"/>
                  </a:lnTo>
                  <a:lnTo>
                    <a:pt x="623" y="418"/>
                  </a:lnTo>
                  <a:lnTo>
                    <a:pt x="623" y="409"/>
                  </a:lnTo>
                  <a:lnTo>
                    <a:pt x="701" y="322"/>
                  </a:lnTo>
                  <a:lnTo>
                    <a:pt x="717" y="174"/>
                  </a:lnTo>
                  <a:lnTo>
                    <a:pt x="730" y="153"/>
                  </a:lnTo>
                  <a:lnTo>
                    <a:pt x="705" y="139"/>
                  </a:lnTo>
                  <a:lnTo>
                    <a:pt x="697" y="128"/>
                  </a:lnTo>
                  <a:lnTo>
                    <a:pt x="691" y="113"/>
                  </a:lnTo>
                  <a:lnTo>
                    <a:pt x="691" y="110"/>
                  </a:lnTo>
                  <a:lnTo>
                    <a:pt x="684" y="97"/>
                  </a:lnTo>
                  <a:lnTo>
                    <a:pt x="684" y="26"/>
                  </a:lnTo>
                  <a:lnTo>
                    <a:pt x="670" y="30"/>
                  </a:lnTo>
                  <a:lnTo>
                    <a:pt x="662" y="19"/>
                  </a:lnTo>
                  <a:lnTo>
                    <a:pt x="650" y="13"/>
                  </a:lnTo>
                  <a:lnTo>
                    <a:pt x="646" y="9"/>
                  </a:lnTo>
                  <a:lnTo>
                    <a:pt x="642" y="6"/>
                  </a:lnTo>
                  <a:lnTo>
                    <a:pt x="538" y="0"/>
                  </a:lnTo>
                  <a:lnTo>
                    <a:pt x="257" y="198"/>
                  </a:lnTo>
                  <a:lnTo>
                    <a:pt x="186" y="215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7" y="227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9" name="Freeform 137"/>
            <p:cNvSpPr>
              <a:spLocks/>
            </p:cNvSpPr>
            <p:nvPr/>
          </p:nvSpPr>
          <p:spPr bwMode="auto">
            <a:xfrm>
              <a:off x="3267549" y="2085888"/>
              <a:ext cx="877399" cy="565885"/>
            </a:xfrm>
            <a:custGeom>
              <a:avLst/>
              <a:gdLst>
                <a:gd name="T0" fmla="*/ 31 w 730"/>
                <a:gd name="T1" fmla="*/ 44 h 567"/>
                <a:gd name="T2" fmla="*/ 30 w 730"/>
                <a:gd name="T3" fmla="*/ 45 h 567"/>
                <a:gd name="T4" fmla="*/ 29 w 730"/>
                <a:gd name="T5" fmla="*/ 46 h 567"/>
                <a:gd name="T6" fmla="*/ 26 w 730"/>
                <a:gd name="T7" fmla="*/ 48 h 567"/>
                <a:gd name="T8" fmla="*/ 22 w 730"/>
                <a:gd name="T9" fmla="*/ 48 h 567"/>
                <a:gd name="T10" fmla="*/ 22 w 730"/>
                <a:gd name="T11" fmla="*/ 48 h 567"/>
                <a:gd name="T12" fmla="*/ 6 w 730"/>
                <a:gd name="T13" fmla="*/ 50 h 567"/>
                <a:gd name="T14" fmla="*/ 1 w 730"/>
                <a:gd name="T15" fmla="*/ 51 h 567"/>
                <a:gd name="T16" fmla="*/ 0 w 730"/>
                <a:gd name="T17" fmla="*/ 53 h 567"/>
                <a:gd name="T18" fmla="*/ 1 w 730"/>
                <a:gd name="T19" fmla="*/ 54 h 567"/>
                <a:gd name="T20" fmla="*/ 2 w 730"/>
                <a:gd name="T21" fmla="*/ 55 h 567"/>
                <a:gd name="T22" fmla="*/ 10 w 730"/>
                <a:gd name="T23" fmla="*/ 63 h 567"/>
                <a:gd name="T24" fmla="*/ 13 w 730"/>
                <a:gd name="T25" fmla="*/ 64 h 567"/>
                <a:gd name="T26" fmla="*/ 14 w 730"/>
                <a:gd name="T27" fmla="*/ 63 h 567"/>
                <a:gd name="T28" fmla="*/ 16 w 730"/>
                <a:gd name="T29" fmla="*/ 63 h 567"/>
                <a:gd name="T30" fmla="*/ 17 w 730"/>
                <a:gd name="T31" fmla="*/ 65 h 567"/>
                <a:gd name="T32" fmla="*/ 15 w 730"/>
                <a:gd name="T33" fmla="*/ 65 h 567"/>
                <a:gd name="T34" fmla="*/ 15 w 730"/>
                <a:gd name="T35" fmla="*/ 66 h 567"/>
                <a:gd name="T36" fmla="*/ 19 w 730"/>
                <a:gd name="T37" fmla="*/ 67 h 567"/>
                <a:gd name="T38" fmla="*/ 18 w 730"/>
                <a:gd name="T39" fmla="*/ 66 h 567"/>
                <a:gd name="T40" fmla="*/ 22 w 730"/>
                <a:gd name="T41" fmla="*/ 65 h 567"/>
                <a:gd name="T42" fmla="*/ 27 w 730"/>
                <a:gd name="T43" fmla="*/ 65 h 567"/>
                <a:gd name="T44" fmla="*/ 28 w 730"/>
                <a:gd name="T45" fmla="*/ 63 h 567"/>
                <a:gd name="T46" fmla="*/ 30 w 730"/>
                <a:gd name="T47" fmla="*/ 62 h 567"/>
                <a:gd name="T48" fmla="*/ 34 w 730"/>
                <a:gd name="T49" fmla="*/ 58 h 567"/>
                <a:gd name="T50" fmla="*/ 49 w 730"/>
                <a:gd name="T51" fmla="*/ 59 h 567"/>
                <a:gd name="T52" fmla="*/ 54 w 730"/>
                <a:gd name="T53" fmla="*/ 62 h 567"/>
                <a:gd name="T54" fmla="*/ 56 w 730"/>
                <a:gd name="T55" fmla="*/ 61 h 567"/>
                <a:gd name="T56" fmla="*/ 60 w 730"/>
                <a:gd name="T57" fmla="*/ 60 h 567"/>
                <a:gd name="T58" fmla="*/ 72 w 730"/>
                <a:gd name="T59" fmla="*/ 63 h 567"/>
                <a:gd name="T60" fmla="*/ 79 w 730"/>
                <a:gd name="T61" fmla="*/ 60 h 567"/>
                <a:gd name="T62" fmla="*/ 94 w 730"/>
                <a:gd name="T63" fmla="*/ 60 h 567"/>
                <a:gd name="T64" fmla="*/ 96 w 730"/>
                <a:gd name="T65" fmla="*/ 60 h 567"/>
                <a:gd name="T66" fmla="*/ 98 w 730"/>
                <a:gd name="T67" fmla="*/ 59 h 567"/>
                <a:gd name="T68" fmla="*/ 99 w 730"/>
                <a:gd name="T69" fmla="*/ 59 h 567"/>
                <a:gd name="T70" fmla="*/ 101 w 730"/>
                <a:gd name="T71" fmla="*/ 57 h 567"/>
                <a:gd name="T72" fmla="*/ 101 w 730"/>
                <a:gd name="T73" fmla="*/ 57 h 567"/>
                <a:gd name="T74" fmla="*/ 100 w 730"/>
                <a:gd name="T75" fmla="*/ 56 h 567"/>
                <a:gd name="T76" fmla="*/ 101 w 730"/>
                <a:gd name="T77" fmla="*/ 54 h 567"/>
                <a:gd name="T78" fmla="*/ 102 w 730"/>
                <a:gd name="T79" fmla="*/ 54 h 567"/>
                <a:gd name="T80" fmla="*/ 103 w 730"/>
                <a:gd name="T81" fmla="*/ 53 h 567"/>
                <a:gd name="T82" fmla="*/ 105 w 730"/>
                <a:gd name="T83" fmla="*/ 52 h 567"/>
                <a:gd name="T84" fmla="*/ 105 w 730"/>
                <a:gd name="T85" fmla="*/ 51 h 567"/>
                <a:gd name="T86" fmla="*/ 118 w 730"/>
                <a:gd name="T87" fmla="*/ 39 h 567"/>
                <a:gd name="T88" fmla="*/ 123 w 730"/>
                <a:gd name="T89" fmla="*/ 18 h 567"/>
                <a:gd name="T90" fmla="*/ 118 w 730"/>
                <a:gd name="T91" fmla="*/ 16 h 567"/>
                <a:gd name="T92" fmla="*/ 117 w 730"/>
                <a:gd name="T93" fmla="*/ 13 h 567"/>
                <a:gd name="T94" fmla="*/ 115 w 730"/>
                <a:gd name="T95" fmla="*/ 3 h 567"/>
                <a:gd name="T96" fmla="*/ 112 w 730"/>
                <a:gd name="T97" fmla="*/ 2 h 567"/>
                <a:gd name="T98" fmla="*/ 109 w 730"/>
                <a:gd name="T99" fmla="*/ 1 h 567"/>
                <a:gd name="T100" fmla="*/ 91 w 730"/>
                <a:gd name="T101" fmla="*/ 0 h 567"/>
                <a:gd name="T102" fmla="*/ 31 w 730"/>
                <a:gd name="T103" fmla="*/ 26 h 567"/>
                <a:gd name="T104" fmla="*/ 31 w 730"/>
                <a:gd name="T105" fmla="*/ 26 h 56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567"/>
                <a:gd name="T161" fmla="*/ 730 w 730"/>
                <a:gd name="T162" fmla="*/ 567 h 56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567">
                  <a:moveTo>
                    <a:pt x="187" y="227"/>
                  </a:moveTo>
                  <a:lnTo>
                    <a:pt x="187" y="364"/>
                  </a:lnTo>
                  <a:lnTo>
                    <a:pt x="183" y="365"/>
                  </a:lnTo>
                  <a:lnTo>
                    <a:pt x="175" y="369"/>
                  </a:lnTo>
                  <a:lnTo>
                    <a:pt x="172" y="374"/>
                  </a:lnTo>
                  <a:lnTo>
                    <a:pt x="170" y="380"/>
                  </a:lnTo>
                  <a:lnTo>
                    <a:pt x="160" y="386"/>
                  </a:lnTo>
                  <a:lnTo>
                    <a:pt x="156" y="392"/>
                  </a:lnTo>
                  <a:lnTo>
                    <a:pt x="155" y="397"/>
                  </a:lnTo>
                  <a:lnTo>
                    <a:pt x="134" y="394"/>
                  </a:lnTo>
                  <a:lnTo>
                    <a:pt x="134" y="397"/>
                  </a:lnTo>
                  <a:lnTo>
                    <a:pt x="130" y="396"/>
                  </a:lnTo>
                  <a:lnTo>
                    <a:pt x="57" y="397"/>
                  </a:lnTo>
                  <a:lnTo>
                    <a:pt x="35" y="413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3" y="427"/>
                  </a:lnTo>
                  <a:lnTo>
                    <a:pt x="0" y="435"/>
                  </a:lnTo>
                  <a:lnTo>
                    <a:pt x="1" y="438"/>
                  </a:lnTo>
                  <a:lnTo>
                    <a:pt x="9" y="444"/>
                  </a:lnTo>
                  <a:lnTo>
                    <a:pt x="10" y="446"/>
                  </a:lnTo>
                  <a:lnTo>
                    <a:pt x="10" y="453"/>
                  </a:lnTo>
                  <a:lnTo>
                    <a:pt x="13" y="460"/>
                  </a:lnTo>
                  <a:lnTo>
                    <a:pt x="60" y="520"/>
                  </a:lnTo>
                  <a:lnTo>
                    <a:pt x="74" y="526"/>
                  </a:lnTo>
                  <a:lnTo>
                    <a:pt x="78" y="526"/>
                  </a:lnTo>
                  <a:lnTo>
                    <a:pt x="82" y="524"/>
                  </a:lnTo>
                  <a:lnTo>
                    <a:pt x="86" y="520"/>
                  </a:lnTo>
                  <a:lnTo>
                    <a:pt x="89" y="520"/>
                  </a:lnTo>
                  <a:lnTo>
                    <a:pt x="94" y="522"/>
                  </a:lnTo>
                  <a:lnTo>
                    <a:pt x="100" y="533"/>
                  </a:lnTo>
                  <a:lnTo>
                    <a:pt x="99" y="535"/>
                  </a:lnTo>
                  <a:lnTo>
                    <a:pt x="95" y="534"/>
                  </a:lnTo>
                  <a:lnTo>
                    <a:pt x="92" y="536"/>
                  </a:lnTo>
                  <a:lnTo>
                    <a:pt x="91" y="538"/>
                  </a:lnTo>
                  <a:lnTo>
                    <a:pt x="92" y="541"/>
                  </a:lnTo>
                  <a:lnTo>
                    <a:pt x="106" y="557"/>
                  </a:lnTo>
                  <a:lnTo>
                    <a:pt x="113" y="553"/>
                  </a:lnTo>
                  <a:lnTo>
                    <a:pt x="106" y="545"/>
                  </a:lnTo>
                  <a:lnTo>
                    <a:pt x="106" y="541"/>
                  </a:lnTo>
                  <a:lnTo>
                    <a:pt x="120" y="539"/>
                  </a:lnTo>
                  <a:lnTo>
                    <a:pt x="127" y="535"/>
                  </a:lnTo>
                  <a:lnTo>
                    <a:pt x="162" y="567"/>
                  </a:lnTo>
                  <a:lnTo>
                    <a:pt x="161" y="532"/>
                  </a:lnTo>
                  <a:lnTo>
                    <a:pt x="163" y="528"/>
                  </a:lnTo>
                  <a:lnTo>
                    <a:pt x="166" y="525"/>
                  </a:lnTo>
                  <a:lnTo>
                    <a:pt x="172" y="522"/>
                  </a:lnTo>
                  <a:lnTo>
                    <a:pt x="178" y="516"/>
                  </a:lnTo>
                  <a:lnTo>
                    <a:pt x="187" y="487"/>
                  </a:lnTo>
                  <a:lnTo>
                    <a:pt x="200" y="476"/>
                  </a:lnTo>
                  <a:lnTo>
                    <a:pt x="256" y="470"/>
                  </a:lnTo>
                  <a:lnTo>
                    <a:pt x="287" y="485"/>
                  </a:lnTo>
                  <a:lnTo>
                    <a:pt x="312" y="507"/>
                  </a:lnTo>
                  <a:lnTo>
                    <a:pt x="316" y="509"/>
                  </a:lnTo>
                  <a:lnTo>
                    <a:pt x="322" y="509"/>
                  </a:lnTo>
                  <a:lnTo>
                    <a:pt x="328" y="501"/>
                  </a:lnTo>
                  <a:lnTo>
                    <a:pt x="349" y="492"/>
                  </a:lnTo>
                  <a:lnTo>
                    <a:pt x="360" y="492"/>
                  </a:lnTo>
                  <a:lnTo>
                    <a:pt x="393" y="511"/>
                  </a:lnTo>
                  <a:lnTo>
                    <a:pt x="423" y="517"/>
                  </a:lnTo>
                  <a:lnTo>
                    <a:pt x="434" y="515"/>
                  </a:lnTo>
                  <a:lnTo>
                    <a:pt x="468" y="492"/>
                  </a:lnTo>
                  <a:lnTo>
                    <a:pt x="530" y="489"/>
                  </a:lnTo>
                  <a:lnTo>
                    <a:pt x="553" y="499"/>
                  </a:lnTo>
                  <a:lnTo>
                    <a:pt x="562" y="498"/>
                  </a:lnTo>
                  <a:lnTo>
                    <a:pt x="568" y="495"/>
                  </a:lnTo>
                  <a:lnTo>
                    <a:pt x="575" y="488"/>
                  </a:lnTo>
                  <a:lnTo>
                    <a:pt x="576" y="485"/>
                  </a:lnTo>
                  <a:lnTo>
                    <a:pt x="581" y="482"/>
                  </a:lnTo>
                  <a:lnTo>
                    <a:pt x="586" y="481"/>
                  </a:lnTo>
                  <a:lnTo>
                    <a:pt x="592" y="481"/>
                  </a:lnTo>
                  <a:lnTo>
                    <a:pt x="597" y="471"/>
                  </a:lnTo>
                  <a:lnTo>
                    <a:pt x="599" y="471"/>
                  </a:lnTo>
                  <a:lnTo>
                    <a:pt x="600" y="469"/>
                  </a:lnTo>
                  <a:lnTo>
                    <a:pt x="596" y="465"/>
                  </a:lnTo>
                  <a:lnTo>
                    <a:pt x="594" y="460"/>
                  </a:lnTo>
                  <a:lnTo>
                    <a:pt x="594" y="456"/>
                  </a:lnTo>
                  <a:lnTo>
                    <a:pt x="597" y="449"/>
                  </a:lnTo>
                  <a:lnTo>
                    <a:pt x="603" y="446"/>
                  </a:lnTo>
                  <a:lnTo>
                    <a:pt x="606" y="445"/>
                  </a:lnTo>
                  <a:lnTo>
                    <a:pt x="610" y="443"/>
                  </a:lnTo>
                  <a:lnTo>
                    <a:pt x="609" y="434"/>
                  </a:lnTo>
                  <a:lnTo>
                    <a:pt x="612" y="430"/>
                  </a:lnTo>
                  <a:lnTo>
                    <a:pt x="619" y="429"/>
                  </a:lnTo>
                  <a:lnTo>
                    <a:pt x="618" y="420"/>
                  </a:lnTo>
                  <a:lnTo>
                    <a:pt x="623" y="418"/>
                  </a:lnTo>
                  <a:lnTo>
                    <a:pt x="623" y="409"/>
                  </a:lnTo>
                  <a:lnTo>
                    <a:pt x="701" y="322"/>
                  </a:lnTo>
                  <a:lnTo>
                    <a:pt x="717" y="174"/>
                  </a:lnTo>
                  <a:lnTo>
                    <a:pt x="730" y="153"/>
                  </a:lnTo>
                  <a:lnTo>
                    <a:pt x="705" y="139"/>
                  </a:lnTo>
                  <a:lnTo>
                    <a:pt x="697" y="128"/>
                  </a:lnTo>
                  <a:lnTo>
                    <a:pt x="691" y="113"/>
                  </a:lnTo>
                  <a:lnTo>
                    <a:pt x="691" y="110"/>
                  </a:lnTo>
                  <a:lnTo>
                    <a:pt x="684" y="97"/>
                  </a:lnTo>
                  <a:lnTo>
                    <a:pt x="684" y="26"/>
                  </a:lnTo>
                  <a:lnTo>
                    <a:pt x="670" y="30"/>
                  </a:lnTo>
                  <a:lnTo>
                    <a:pt x="662" y="19"/>
                  </a:lnTo>
                  <a:lnTo>
                    <a:pt x="650" y="13"/>
                  </a:lnTo>
                  <a:lnTo>
                    <a:pt x="646" y="9"/>
                  </a:lnTo>
                  <a:lnTo>
                    <a:pt x="642" y="6"/>
                  </a:lnTo>
                  <a:lnTo>
                    <a:pt x="538" y="0"/>
                  </a:lnTo>
                  <a:lnTo>
                    <a:pt x="257" y="198"/>
                  </a:lnTo>
                  <a:lnTo>
                    <a:pt x="186" y="215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7" y="22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0" name="Freeform 138"/>
            <p:cNvSpPr>
              <a:spLocks/>
            </p:cNvSpPr>
            <p:nvPr/>
          </p:nvSpPr>
          <p:spPr bwMode="auto">
            <a:xfrm>
              <a:off x="4057614" y="1434656"/>
              <a:ext cx="8124" cy="9277"/>
            </a:xfrm>
            <a:custGeom>
              <a:avLst/>
              <a:gdLst>
                <a:gd name="T0" fmla="*/ 0 w 10"/>
                <a:gd name="T1" fmla="*/ 1 h 9"/>
                <a:gd name="T2" fmla="*/ 0 w 10"/>
                <a:gd name="T3" fmla="*/ 0 h 9"/>
                <a:gd name="T4" fmla="*/ 0 w 10"/>
                <a:gd name="T5" fmla="*/ 1 h 9"/>
                <a:gd name="T6" fmla="*/ 0 w 10"/>
                <a:gd name="T7" fmla="*/ 1 h 9"/>
                <a:gd name="T8" fmla="*/ 0 w 10"/>
                <a:gd name="T9" fmla="*/ 1 h 9"/>
                <a:gd name="T10" fmla="*/ 0 w 10"/>
                <a:gd name="T11" fmla="*/ 1 h 9"/>
                <a:gd name="T12" fmla="*/ 0 w 10"/>
                <a:gd name="T13" fmla="*/ 1 h 9"/>
                <a:gd name="T14" fmla="*/ 0 w 10"/>
                <a:gd name="T15" fmla="*/ 1 h 9"/>
                <a:gd name="T16" fmla="*/ 0 w 10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9"/>
                <a:gd name="T29" fmla="*/ 10 w 10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9">
                  <a:moveTo>
                    <a:pt x="0" y="2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8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5" y="8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1" name="Freeform 139"/>
            <p:cNvSpPr>
              <a:spLocks/>
            </p:cNvSpPr>
            <p:nvPr/>
          </p:nvSpPr>
          <p:spPr bwMode="auto">
            <a:xfrm>
              <a:off x="4057614" y="1434656"/>
              <a:ext cx="8124" cy="9277"/>
            </a:xfrm>
            <a:custGeom>
              <a:avLst/>
              <a:gdLst>
                <a:gd name="T0" fmla="*/ 0 w 10"/>
                <a:gd name="T1" fmla="*/ 1 h 9"/>
                <a:gd name="T2" fmla="*/ 0 w 10"/>
                <a:gd name="T3" fmla="*/ 0 h 9"/>
                <a:gd name="T4" fmla="*/ 0 w 10"/>
                <a:gd name="T5" fmla="*/ 1 h 9"/>
                <a:gd name="T6" fmla="*/ 0 w 10"/>
                <a:gd name="T7" fmla="*/ 1 h 9"/>
                <a:gd name="T8" fmla="*/ 0 w 10"/>
                <a:gd name="T9" fmla="*/ 1 h 9"/>
                <a:gd name="T10" fmla="*/ 0 w 10"/>
                <a:gd name="T11" fmla="*/ 1 h 9"/>
                <a:gd name="T12" fmla="*/ 0 w 10"/>
                <a:gd name="T13" fmla="*/ 1 h 9"/>
                <a:gd name="T14" fmla="*/ 0 w 10"/>
                <a:gd name="T15" fmla="*/ 1 h 9"/>
                <a:gd name="T16" fmla="*/ 0 w 10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9"/>
                <a:gd name="T29" fmla="*/ 10 w 10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9">
                  <a:moveTo>
                    <a:pt x="0" y="2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8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5" y="8"/>
                  </a:lnTo>
                  <a:lnTo>
                    <a:pt x="0" y="4"/>
                  </a:lnTo>
                  <a:lnTo>
                    <a:pt x="0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2" name="Freeform 140"/>
            <p:cNvSpPr>
              <a:spLocks/>
            </p:cNvSpPr>
            <p:nvPr/>
          </p:nvSpPr>
          <p:spPr bwMode="auto">
            <a:xfrm>
              <a:off x="6035825" y="1948591"/>
              <a:ext cx="8124" cy="16699"/>
            </a:xfrm>
            <a:custGeom>
              <a:avLst/>
              <a:gdLst>
                <a:gd name="T0" fmla="*/ 2 w 6"/>
                <a:gd name="T1" fmla="*/ 1 h 17"/>
                <a:gd name="T2" fmla="*/ 0 w 6"/>
                <a:gd name="T3" fmla="*/ 0 h 17"/>
                <a:gd name="T4" fmla="*/ 1 w 6"/>
                <a:gd name="T5" fmla="*/ 2 h 17"/>
                <a:gd name="T6" fmla="*/ 1 w 6"/>
                <a:gd name="T7" fmla="*/ 2 h 17"/>
                <a:gd name="T8" fmla="*/ 2 w 6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7"/>
                <a:gd name="T17" fmla="*/ 6 w 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7">
                  <a:moveTo>
                    <a:pt x="6" y="3"/>
                  </a:moveTo>
                  <a:lnTo>
                    <a:pt x="0" y="0"/>
                  </a:lnTo>
                  <a:lnTo>
                    <a:pt x="1" y="17"/>
                  </a:lnTo>
                  <a:lnTo>
                    <a:pt x="5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3" name="Freeform 141"/>
            <p:cNvSpPr>
              <a:spLocks/>
            </p:cNvSpPr>
            <p:nvPr/>
          </p:nvSpPr>
          <p:spPr bwMode="auto">
            <a:xfrm>
              <a:off x="6035825" y="1948591"/>
              <a:ext cx="8124" cy="16699"/>
            </a:xfrm>
            <a:custGeom>
              <a:avLst/>
              <a:gdLst>
                <a:gd name="T0" fmla="*/ 2 w 6"/>
                <a:gd name="T1" fmla="*/ 1 h 17"/>
                <a:gd name="T2" fmla="*/ 0 w 6"/>
                <a:gd name="T3" fmla="*/ 0 h 17"/>
                <a:gd name="T4" fmla="*/ 1 w 6"/>
                <a:gd name="T5" fmla="*/ 2 h 17"/>
                <a:gd name="T6" fmla="*/ 1 w 6"/>
                <a:gd name="T7" fmla="*/ 2 h 17"/>
                <a:gd name="T8" fmla="*/ 2 w 6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7"/>
                <a:gd name="T17" fmla="*/ 6 w 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7">
                  <a:moveTo>
                    <a:pt x="6" y="3"/>
                  </a:moveTo>
                  <a:lnTo>
                    <a:pt x="0" y="0"/>
                  </a:lnTo>
                  <a:lnTo>
                    <a:pt x="1" y="17"/>
                  </a:lnTo>
                  <a:lnTo>
                    <a:pt x="5" y="15"/>
                  </a:lnTo>
                  <a:lnTo>
                    <a:pt x="6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4" name="Freeform 142"/>
            <p:cNvSpPr>
              <a:spLocks/>
            </p:cNvSpPr>
            <p:nvPr/>
          </p:nvSpPr>
          <p:spPr bwMode="auto">
            <a:xfrm>
              <a:off x="6291733" y="4162037"/>
              <a:ext cx="36558" cy="24119"/>
            </a:xfrm>
            <a:custGeom>
              <a:avLst/>
              <a:gdLst>
                <a:gd name="T0" fmla="*/ 1 w 30"/>
                <a:gd name="T1" fmla="*/ 1 h 25"/>
                <a:gd name="T2" fmla="*/ 0 w 30"/>
                <a:gd name="T3" fmla="*/ 1 h 25"/>
                <a:gd name="T4" fmla="*/ 4 w 30"/>
                <a:gd name="T5" fmla="*/ 0 h 25"/>
                <a:gd name="T6" fmla="*/ 5 w 30"/>
                <a:gd name="T7" fmla="*/ 1 h 25"/>
                <a:gd name="T8" fmla="*/ 6 w 30"/>
                <a:gd name="T9" fmla="*/ 1 h 25"/>
                <a:gd name="T10" fmla="*/ 5 w 30"/>
                <a:gd name="T11" fmla="*/ 3 h 25"/>
                <a:gd name="T12" fmla="*/ 4 w 30"/>
                <a:gd name="T13" fmla="*/ 3 h 25"/>
                <a:gd name="T14" fmla="*/ 2 w 30"/>
                <a:gd name="T15" fmla="*/ 2 h 25"/>
                <a:gd name="T16" fmla="*/ 1 w 30"/>
                <a:gd name="T17" fmla="*/ 2 h 25"/>
                <a:gd name="T18" fmla="*/ 1 w 30"/>
                <a:gd name="T19" fmla="*/ 1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5"/>
                <a:gd name="T32" fmla="*/ 30 w 30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5">
                  <a:moveTo>
                    <a:pt x="3" y="4"/>
                  </a:moveTo>
                  <a:lnTo>
                    <a:pt x="0" y="3"/>
                  </a:lnTo>
                  <a:lnTo>
                    <a:pt x="18" y="0"/>
                  </a:lnTo>
                  <a:lnTo>
                    <a:pt x="25" y="4"/>
                  </a:lnTo>
                  <a:lnTo>
                    <a:pt x="30" y="11"/>
                  </a:lnTo>
                  <a:lnTo>
                    <a:pt x="29" y="24"/>
                  </a:lnTo>
                  <a:lnTo>
                    <a:pt x="21" y="25"/>
                  </a:lnTo>
                  <a:lnTo>
                    <a:pt x="14" y="21"/>
                  </a:lnTo>
                  <a:lnTo>
                    <a:pt x="6" y="1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5" name="Freeform 143"/>
            <p:cNvSpPr>
              <a:spLocks/>
            </p:cNvSpPr>
            <p:nvPr/>
          </p:nvSpPr>
          <p:spPr bwMode="auto">
            <a:xfrm>
              <a:off x="6291733" y="4162037"/>
              <a:ext cx="36558" cy="24119"/>
            </a:xfrm>
            <a:custGeom>
              <a:avLst/>
              <a:gdLst>
                <a:gd name="T0" fmla="*/ 1 w 30"/>
                <a:gd name="T1" fmla="*/ 1 h 25"/>
                <a:gd name="T2" fmla="*/ 0 w 30"/>
                <a:gd name="T3" fmla="*/ 1 h 25"/>
                <a:gd name="T4" fmla="*/ 4 w 30"/>
                <a:gd name="T5" fmla="*/ 0 h 25"/>
                <a:gd name="T6" fmla="*/ 5 w 30"/>
                <a:gd name="T7" fmla="*/ 1 h 25"/>
                <a:gd name="T8" fmla="*/ 6 w 30"/>
                <a:gd name="T9" fmla="*/ 1 h 25"/>
                <a:gd name="T10" fmla="*/ 5 w 30"/>
                <a:gd name="T11" fmla="*/ 3 h 25"/>
                <a:gd name="T12" fmla="*/ 4 w 30"/>
                <a:gd name="T13" fmla="*/ 3 h 25"/>
                <a:gd name="T14" fmla="*/ 2 w 30"/>
                <a:gd name="T15" fmla="*/ 2 h 25"/>
                <a:gd name="T16" fmla="*/ 1 w 30"/>
                <a:gd name="T17" fmla="*/ 2 h 25"/>
                <a:gd name="T18" fmla="*/ 1 w 30"/>
                <a:gd name="T19" fmla="*/ 1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5"/>
                <a:gd name="T32" fmla="*/ 30 w 30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5">
                  <a:moveTo>
                    <a:pt x="3" y="4"/>
                  </a:moveTo>
                  <a:lnTo>
                    <a:pt x="0" y="3"/>
                  </a:lnTo>
                  <a:lnTo>
                    <a:pt x="18" y="0"/>
                  </a:lnTo>
                  <a:lnTo>
                    <a:pt x="25" y="4"/>
                  </a:lnTo>
                  <a:lnTo>
                    <a:pt x="30" y="11"/>
                  </a:lnTo>
                  <a:lnTo>
                    <a:pt x="29" y="24"/>
                  </a:lnTo>
                  <a:lnTo>
                    <a:pt x="21" y="25"/>
                  </a:lnTo>
                  <a:lnTo>
                    <a:pt x="14" y="21"/>
                  </a:lnTo>
                  <a:lnTo>
                    <a:pt x="6" y="12"/>
                  </a:lnTo>
                  <a:lnTo>
                    <a:pt x="3" y="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6" name="Freeform 144"/>
            <p:cNvSpPr>
              <a:spLocks/>
            </p:cNvSpPr>
            <p:nvPr/>
          </p:nvSpPr>
          <p:spPr bwMode="auto">
            <a:xfrm>
              <a:off x="3728589" y="2601678"/>
              <a:ext cx="422452" cy="512080"/>
            </a:xfrm>
            <a:custGeom>
              <a:avLst/>
              <a:gdLst>
                <a:gd name="T0" fmla="*/ 10 w 352"/>
                <a:gd name="T1" fmla="*/ 59 h 515"/>
                <a:gd name="T2" fmla="*/ 11 w 352"/>
                <a:gd name="T3" fmla="*/ 53 h 515"/>
                <a:gd name="T4" fmla="*/ 9 w 352"/>
                <a:gd name="T5" fmla="*/ 51 h 515"/>
                <a:gd name="T6" fmla="*/ 9 w 352"/>
                <a:gd name="T7" fmla="*/ 50 h 515"/>
                <a:gd name="T8" fmla="*/ 9 w 352"/>
                <a:gd name="T9" fmla="*/ 50 h 515"/>
                <a:gd name="T10" fmla="*/ 9 w 352"/>
                <a:gd name="T11" fmla="*/ 49 h 515"/>
                <a:gd name="T12" fmla="*/ 8 w 352"/>
                <a:gd name="T13" fmla="*/ 49 h 515"/>
                <a:gd name="T14" fmla="*/ 5 w 352"/>
                <a:gd name="T15" fmla="*/ 48 h 515"/>
                <a:gd name="T16" fmla="*/ 2 w 352"/>
                <a:gd name="T17" fmla="*/ 46 h 515"/>
                <a:gd name="T18" fmla="*/ 1 w 352"/>
                <a:gd name="T19" fmla="*/ 46 h 515"/>
                <a:gd name="T20" fmla="*/ 0 w 352"/>
                <a:gd name="T21" fmla="*/ 45 h 515"/>
                <a:gd name="T22" fmla="*/ 1 w 352"/>
                <a:gd name="T23" fmla="*/ 43 h 515"/>
                <a:gd name="T24" fmla="*/ 3 w 352"/>
                <a:gd name="T25" fmla="*/ 39 h 515"/>
                <a:gd name="T26" fmla="*/ 8 w 352"/>
                <a:gd name="T27" fmla="*/ 35 h 515"/>
                <a:gd name="T28" fmla="*/ 17 w 352"/>
                <a:gd name="T29" fmla="*/ 33 h 515"/>
                <a:gd name="T30" fmla="*/ 18 w 352"/>
                <a:gd name="T31" fmla="*/ 34 h 515"/>
                <a:gd name="T32" fmla="*/ 19 w 352"/>
                <a:gd name="T33" fmla="*/ 34 h 515"/>
                <a:gd name="T34" fmla="*/ 22 w 352"/>
                <a:gd name="T35" fmla="*/ 35 h 515"/>
                <a:gd name="T36" fmla="*/ 30 w 352"/>
                <a:gd name="T37" fmla="*/ 25 h 515"/>
                <a:gd name="T38" fmla="*/ 33 w 352"/>
                <a:gd name="T39" fmla="*/ 23 h 515"/>
                <a:gd name="T40" fmla="*/ 41 w 352"/>
                <a:gd name="T41" fmla="*/ 9 h 515"/>
                <a:gd name="T42" fmla="*/ 44 w 352"/>
                <a:gd name="T43" fmla="*/ 8 h 515"/>
                <a:gd name="T44" fmla="*/ 46 w 352"/>
                <a:gd name="T45" fmla="*/ 3 h 515"/>
                <a:gd name="T46" fmla="*/ 45 w 352"/>
                <a:gd name="T47" fmla="*/ 2 h 515"/>
                <a:gd name="T48" fmla="*/ 44 w 352"/>
                <a:gd name="T49" fmla="*/ 2 h 515"/>
                <a:gd name="T50" fmla="*/ 46 w 352"/>
                <a:gd name="T51" fmla="*/ 1 h 515"/>
                <a:gd name="T52" fmla="*/ 48 w 352"/>
                <a:gd name="T53" fmla="*/ 1 h 515"/>
                <a:gd name="T54" fmla="*/ 50 w 352"/>
                <a:gd name="T55" fmla="*/ 5 h 515"/>
                <a:gd name="T56" fmla="*/ 53 w 352"/>
                <a:gd name="T57" fmla="*/ 14 h 515"/>
                <a:gd name="T58" fmla="*/ 53 w 352"/>
                <a:gd name="T59" fmla="*/ 16 h 515"/>
                <a:gd name="T60" fmla="*/ 47 w 352"/>
                <a:gd name="T61" fmla="*/ 16 h 515"/>
                <a:gd name="T62" fmla="*/ 44 w 352"/>
                <a:gd name="T63" fmla="*/ 16 h 515"/>
                <a:gd name="T64" fmla="*/ 44 w 352"/>
                <a:gd name="T65" fmla="*/ 18 h 515"/>
                <a:gd name="T66" fmla="*/ 45 w 352"/>
                <a:gd name="T67" fmla="*/ 21 h 515"/>
                <a:gd name="T68" fmla="*/ 49 w 352"/>
                <a:gd name="T69" fmla="*/ 22 h 515"/>
                <a:gd name="T70" fmla="*/ 53 w 352"/>
                <a:gd name="T71" fmla="*/ 29 h 515"/>
                <a:gd name="T72" fmla="*/ 47 w 352"/>
                <a:gd name="T73" fmla="*/ 38 h 515"/>
                <a:gd name="T74" fmla="*/ 47 w 352"/>
                <a:gd name="T75" fmla="*/ 41 h 515"/>
                <a:gd name="T76" fmla="*/ 55 w 352"/>
                <a:gd name="T77" fmla="*/ 53 h 515"/>
                <a:gd name="T78" fmla="*/ 59 w 352"/>
                <a:gd name="T79" fmla="*/ 55 h 515"/>
                <a:gd name="T80" fmla="*/ 59 w 352"/>
                <a:gd name="T81" fmla="*/ 61 h 515"/>
                <a:gd name="T82" fmla="*/ 58 w 352"/>
                <a:gd name="T83" fmla="*/ 62 h 515"/>
                <a:gd name="T84" fmla="*/ 53 w 352"/>
                <a:gd name="T85" fmla="*/ 59 h 515"/>
                <a:gd name="T86" fmla="*/ 48 w 352"/>
                <a:gd name="T87" fmla="*/ 59 h 5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515"/>
                <a:gd name="T134" fmla="*/ 352 w 352"/>
                <a:gd name="T135" fmla="*/ 515 h 5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515">
                  <a:moveTo>
                    <a:pt x="222" y="490"/>
                  </a:moveTo>
                  <a:lnTo>
                    <a:pt x="59" y="491"/>
                  </a:lnTo>
                  <a:lnTo>
                    <a:pt x="67" y="443"/>
                  </a:lnTo>
                  <a:lnTo>
                    <a:pt x="68" y="441"/>
                  </a:lnTo>
                  <a:lnTo>
                    <a:pt x="58" y="430"/>
                  </a:lnTo>
                  <a:lnTo>
                    <a:pt x="57" y="427"/>
                  </a:lnTo>
                  <a:lnTo>
                    <a:pt x="53" y="422"/>
                  </a:lnTo>
                  <a:lnTo>
                    <a:pt x="53" y="418"/>
                  </a:lnTo>
                  <a:lnTo>
                    <a:pt x="56" y="417"/>
                  </a:lnTo>
                  <a:lnTo>
                    <a:pt x="57" y="413"/>
                  </a:lnTo>
                  <a:lnTo>
                    <a:pt x="57" y="407"/>
                  </a:lnTo>
                  <a:lnTo>
                    <a:pt x="54" y="405"/>
                  </a:lnTo>
                  <a:lnTo>
                    <a:pt x="48" y="405"/>
                  </a:lnTo>
                  <a:lnTo>
                    <a:pt x="47" y="408"/>
                  </a:lnTo>
                  <a:lnTo>
                    <a:pt x="43" y="409"/>
                  </a:lnTo>
                  <a:lnTo>
                    <a:pt x="27" y="402"/>
                  </a:lnTo>
                  <a:lnTo>
                    <a:pt x="18" y="382"/>
                  </a:lnTo>
                  <a:lnTo>
                    <a:pt x="10" y="382"/>
                  </a:lnTo>
                  <a:lnTo>
                    <a:pt x="6" y="383"/>
                  </a:lnTo>
                  <a:lnTo>
                    <a:pt x="2" y="381"/>
                  </a:lnTo>
                  <a:lnTo>
                    <a:pt x="3" y="376"/>
                  </a:lnTo>
                  <a:lnTo>
                    <a:pt x="0" y="374"/>
                  </a:lnTo>
                  <a:lnTo>
                    <a:pt x="1" y="368"/>
                  </a:lnTo>
                  <a:lnTo>
                    <a:pt x="6" y="363"/>
                  </a:lnTo>
                  <a:lnTo>
                    <a:pt x="15" y="347"/>
                  </a:lnTo>
                  <a:lnTo>
                    <a:pt x="20" y="322"/>
                  </a:lnTo>
                  <a:lnTo>
                    <a:pt x="39" y="294"/>
                  </a:lnTo>
                  <a:lnTo>
                    <a:pt x="48" y="289"/>
                  </a:lnTo>
                  <a:lnTo>
                    <a:pt x="52" y="276"/>
                  </a:lnTo>
                  <a:lnTo>
                    <a:pt x="97" y="273"/>
                  </a:lnTo>
                  <a:lnTo>
                    <a:pt x="106" y="281"/>
                  </a:lnTo>
                  <a:lnTo>
                    <a:pt x="108" y="284"/>
                  </a:lnTo>
                  <a:lnTo>
                    <a:pt x="108" y="286"/>
                  </a:lnTo>
                  <a:lnTo>
                    <a:pt x="112" y="287"/>
                  </a:lnTo>
                  <a:lnTo>
                    <a:pt x="120" y="294"/>
                  </a:lnTo>
                  <a:lnTo>
                    <a:pt x="131" y="295"/>
                  </a:lnTo>
                  <a:lnTo>
                    <a:pt x="137" y="292"/>
                  </a:lnTo>
                  <a:lnTo>
                    <a:pt x="176" y="203"/>
                  </a:lnTo>
                  <a:lnTo>
                    <a:pt x="185" y="192"/>
                  </a:lnTo>
                  <a:lnTo>
                    <a:pt x="197" y="186"/>
                  </a:lnTo>
                  <a:lnTo>
                    <a:pt x="227" y="91"/>
                  </a:lnTo>
                  <a:lnTo>
                    <a:pt x="240" y="73"/>
                  </a:lnTo>
                  <a:lnTo>
                    <a:pt x="257" y="65"/>
                  </a:lnTo>
                  <a:lnTo>
                    <a:pt x="260" y="63"/>
                  </a:lnTo>
                  <a:lnTo>
                    <a:pt x="276" y="53"/>
                  </a:lnTo>
                  <a:lnTo>
                    <a:pt x="274" y="27"/>
                  </a:lnTo>
                  <a:lnTo>
                    <a:pt x="272" y="22"/>
                  </a:lnTo>
                  <a:lnTo>
                    <a:pt x="269" y="19"/>
                  </a:lnTo>
                  <a:lnTo>
                    <a:pt x="260" y="17"/>
                  </a:lnTo>
                  <a:lnTo>
                    <a:pt x="260" y="14"/>
                  </a:lnTo>
                  <a:lnTo>
                    <a:pt x="263" y="14"/>
                  </a:lnTo>
                  <a:lnTo>
                    <a:pt x="270" y="4"/>
                  </a:lnTo>
                  <a:lnTo>
                    <a:pt x="283" y="0"/>
                  </a:lnTo>
                  <a:lnTo>
                    <a:pt x="285" y="5"/>
                  </a:lnTo>
                  <a:lnTo>
                    <a:pt x="290" y="28"/>
                  </a:lnTo>
                  <a:lnTo>
                    <a:pt x="297" y="42"/>
                  </a:lnTo>
                  <a:lnTo>
                    <a:pt x="293" y="84"/>
                  </a:lnTo>
                  <a:lnTo>
                    <a:pt x="313" y="118"/>
                  </a:lnTo>
                  <a:lnTo>
                    <a:pt x="316" y="130"/>
                  </a:lnTo>
                  <a:lnTo>
                    <a:pt x="315" y="133"/>
                  </a:lnTo>
                  <a:lnTo>
                    <a:pt x="311" y="135"/>
                  </a:lnTo>
                  <a:lnTo>
                    <a:pt x="282" y="129"/>
                  </a:lnTo>
                  <a:lnTo>
                    <a:pt x="266" y="132"/>
                  </a:lnTo>
                  <a:lnTo>
                    <a:pt x="263" y="134"/>
                  </a:lnTo>
                  <a:lnTo>
                    <a:pt x="260" y="139"/>
                  </a:lnTo>
                  <a:lnTo>
                    <a:pt x="259" y="151"/>
                  </a:lnTo>
                  <a:lnTo>
                    <a:pt x="260" y="160"/>
                  </a:lnTo>
                  <a:lnTo>
                    <a:pt x="269" y="173"/>
                  </a:lnTo>
                  <a:lnTo>
                    <a:pt x="276" y="178"/>
                  </a:lnTo>
                  <a:lnTo>
                    <a:pt x="293" y="183"/>
                  </a:lnTo>
                  <a:lnTo>
                    <a:pt x="296" y="185"/>
                  </a:lnTo>
                  <a:lnTo>
                    <a:pt x="316" y="248"/>
                  </a:lnTo>
                  <a:lnTo>
                    <a:pt x="318" y="249"/>
                  </a:lnTo>
                  <a:lnTo>
                    <a:pt x="279" y="318"/>
                  </a:lnTo>
                  <a:lnTo>
                    <a:pt x="278" y="329"/>
                  </a:lnTo>
                  <a:lnTo>
                    <a:pt x="281" y="341"/>
                  </a:lnTo>
                  <a:lnTo>
                    <a:pt x="281" y="369"/>
                  </a:lnTo>
                  <a:lnTo>
                    <a:pt x="326" y="443"/>
                  </a:lnTo>
                  <a:lnTo>
                    <a:pt x="346" y="460"/>
                  </a:lnTo>
                  <a:lnTo>
                    <a:pt x="352" y="459"/>
                  </a:lnTo>
                  <a:lnTo>
                    <a:pt x="350" y="468"/>
                  </a:lnTo>
                  <a:lnTo>
                    <a:pt x="352" y="504"/>
                  </a:lnTo>
                  <a:lnTo>
                    <a:pt x="349" y="512"/>
                  </a:lnTo>
                  <a:lnTo>
                    <a:pt x="346" y="515"/>
                  </a:lnTo>
                  <a:lnTo>
                    <a:pt x="326" y="500"/>
                  </a:lnTo>
                  <a:lnTo>
                    <a:pt x="318" y="500"/>
                  </a:lnTo>
                  <a:lnTo>
                    <a:pt x="294" y="495"/>
                  </a:lnTo>
                  <a:lnTo>
                    <a:pt x="285" y="490"/>
                  </a:lnTo>
                  <a:lnTo>
                    <a:pt x="222" y="49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7" name="Freeform 145"/>
            <p:cNvSpPr>
              <a:spLocks/>
            </p:cNvSpPr>
            <p:nvPr/>
          </p:nvSpPr>
          <p:spPr bwMode="auto">
            <a:xfrm>
              <a:off x="3728589" y="2601678"/>
              <a:ext cx="422452" cy="512080"/>
            </a:xfrm>
            <a:custGeom>
              <a:avLst/>
              <a:gdLst>
                <a:gd name="T0" fmla="*/ 10 w 352"/>
                <a:gd name="T1" fmla="*/ 59 h 515"/>
                <a:gd name="T2" fmla="*/ 11 w 352"/>
                <a:gd name="T3" fmla="*/ 53 h 515"/>
                <a:gd name="T4" fmla="*/ 9 w 352"/>
                <a:gd name="T5" fmla="*/ 51 h 515"/>
                <a:gd name="T6" fmla="*/ 9 w 352"/>
                <a:gd name="T7" fmla="*/ 50 h 515"/>
                <a:gd name="T8" fmla="*/ 9 w 352"/>
                <a:gd name="T9" fmla="*/ 50 h 515"/>
                <a:gd name="T10" fmla="*/ 9 w 352"/>
                <a:gd name="T11" fmla="*/ 49 h 515"/>
                <a:gd name="T12" fmla="*/ 8 w 352"/>
                <a:gd name="T13" fmla="*/ 49 h 515"/>
                <a:gd name="T14" fmla="*/ 5 w 352"/>
                <a:gd name="T15" fmla="*/ 48 h 515"/>
                <a:gd name="T16" fmla="*/ 2 w 352"/>
                <a:gd name="T17" fmla="*/ 46 h 515"/>
                <a:gd name="T18" fmla="*/ 1 w 352"/>
                <a:gd name="T19" fmla="*/ 46 h 515"/>
                <a:gd name="T20" fmla="*/ 0 w 352"/>
                <a:gd name="T21" fmla="*/ 45 h 515"/>
                <a:gd name="T22" fmla="*/ 1 w 352"/>
                <a:gd name="T23" fmla="*/ 43 h 515"/>
                <a:gd name="T24" fmla="*/ 3 w 352"/>
                <a:gd name="T25" fmla="*/ 39 h 515"/>
                <a:gd name="T26" fmla="*/ 8 w 352"/>
                <a:gd name="T27" fmla="*/ 35 h 515"/>
                <a:gd name="T28" fmla="*/ 17 w 352"/>
                <a:gd name="T29" fmla="*/ 33 h 515"/>
                <a:gd name="T30" fmla="*/ 18 w 352"/>
                <a:gd name="T31" fmla="*/ 34 h 515"/>
                <a:gd name="T32" fmla="*/ 19 w 352"/>
                <a:gd name="T33" fmla="*/ 34 h 515"/>
                <a:gd name="T34" fmla="*/ 22 w 352"/>
                <a:gd name="T35" fmla="*/ 35 h 515"/>
                <a:gd name="T36" fmla="*/ 30 w 352"/>
                <a:gd name="T37" fmla="*/ 25 h 515"/>
                <a:gd name="T38" fmla="*/ 33 w 352"/>
                <a:gd name="T39" fmla="*/ 23 h 515"/>
                <a:gd name="T40" fmla="*/ 41 w 352"/>
                <a:gd name="T41" fmla="*/ 9 h 515"/>
                <a:gd name="T42" fmla="*/ 44 w 352"/>
                <a:gd name="T43" fmla="*/ 8 h 515"/>
                <a:gd name="T44" fmla="*/ 46 w 352"/>
                <a:gd name="T45" fmla="*/ 3 h 515"/>
                <a:gd name="T46" fmla="*/ 45 w 352"/>
                <a:gd name="T47" fmla="*/ 2 h 515"/>
                <a:gd name="T48" fmla="*/ 44 w 352"/>
                <a:gd name="T49" fmla="*/ 2 h 515"/>
                <a:gd name="T50" fmla="*/ 46 w 352"/>
                <a:gd name="T51" fmla="*/ 1 h 515"/>
                <a:gd name="T52" fmla="*/ 48 w 352"/>
                <a:gd name="T53" fmla="*/ 1 h 515"/>
                <a:gd name="T54" fmla="*/ 50 w 352"/>
                <a:gd name="T55" fmla="*/ 5 h 515"/>
                <a:gd name="T56" fmla="*/ 53 w 352"/>
                <a:gd name="T57" fmla="*/ 14 h 515"/>
                <a:gd name="T58" fmla="*/ 53 w 352"/>
                <a:gd name="T59" fmla="*/ 16 h 515"/>
                <a:gd name="T60" fmla="*/ 47 w 352"/>
                <a:gd name="T61" fmla="*/ 16 h 515"/>
                <a:gd name="T62" fmla="*/ 44 w 352"/>
                <a:gd name="T63" fmla="*/ 16 h 515"/>
                <a:gd name="T64" fmla="*/ 44 w 352"/>
                <a:gd name="T65" fmla="*/ 18 h 515"/>
                <a:gd name="T66" fmla="*/ 45 w 352"/>
                <a:gd name="T67" fmla="*/ 21 h 515"/>
                <a:gd name="T68" fmla="*/ 49 w 352"/>
                <a:gd name="T69" fmla="*/ 22 h 515"/>
                <a:gd name="T70" fmla="*/ 53 w 352"/>
                <a:gd name="T71" fmla="*/ 29 h 515"/>
                <a:gd name="T72" fmla="*/ 47 w 352"/>
                <a:gd name="T73" fmla="*/ 38 h 515"/>
                <a:gd name="T74" fmla="*/ 47 w 352"/>
                <a:gd name="T75" fmla="*/ 41 h 515"/>
                <a:gd name="T76" fmla="*/ 55 w 352"/>
                <a:gd name="T77" fmla="*/ 53 h 515"/>
                <a:gd name="T78" fmla="*/ 59 w 352"/>
                <a:gd name="T79" fmla="*/ 55 h 515"/>
                <a:gd name="T80" fmla="*/ 59 w 352"/>
                <a:gd name="T81" fmla="*/ 61 h 515"/>
                <a:gd name="T82" fmla="*/ 58 w 352"/>
                <a:gd name="T83" fmla="*/ 62 h 515"/>
                <a:gd name="T84" fmla="*/ 53 w 352"/>
                <a:gd name="T85" fmla="*/ 59 h 515"/>
                <a:gd name="T86" fmla="*/ 48 w 352"/>
                <a:gd name="T87" fmla="*/ 59 h 5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515"/>
                <a:gd name="T134" fmla="*/ 352 w 352"/>
                <a:gd name="T135" fmla="*/ 515 h 5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515">
                  <a:moveTo>
                    <a:pt x="222" y="490"/>
                  </a:moveTo>
                  <a:lnTo>
                    <a:pt x="59" y="491"/>
                  </a:lnTo>
                  <a:lnTo>
                    <a:pt x="67" y="443"/>
                  </a:lnTo>
                  <a:lnTo>
                    <a:pt x="68" y="441"/>
                  </a:lnTo>
                  <a:lnTo>
                    <a:pt x="58" y="430"/>
                  </a:lnTo>
                  <a:lnTo>
                    <a:pt x="57" y="427"/>
                  </a:lnTo>
                  <a:lnTo>
                    <a:pt x="53" y="422"/>
                  </a:lnTo>
                  <a:lnTo>
                    <a:pt x="53" y="418"/>
                  </a:lnTo>
                  <a:lnTo>
                    <a:pt x="56" y="417"/>
                  </a:lnTo>
                  <a:lnTo>
                    <a:pt x="57" y="413"/>
                  </a:lnTo>
                  <a:lnTo>
                    <a:pt x="57" y="407"/>
                  </a:lnTo>
                  <a:lnTo>
                    <a:pt x="54" y="405"/>
                  </a:lnTo>
                  <a:lnTo>
                    <a:pt x="48" y="405"/>
                  </a:lnTo>
                  <a:lnTo>
                    <a:pt x="47" y="408"/>
                  </a:lnTo>
                  <a:lnTo>
                    <a:pt x="43" y="409"/>
                  </a:lnTo>
                  <a:lnTo>
                    <a:pt x="27" y="402"/>
                  </a:lnTo>
                  <a:lnTo>
                    <a:pt x="18" y="382"/>
                  </a:lnTo>
                  <a:lnTo>
                    <a:pt x="10" y="382"/>
                  </a:lnTo>
                  <a:lnTo>
                    <a:pt x="6" y="383"/>
                  </a:lnTo>
                  <a:lnTo>
                    <a:pt x="2" y="381"/>
                  </a:lnTo>
                  <a:lnTo>
                    <a:pt x="3" y="376"/>
                  </a:lnTo>
                  <a:lnTo>
                    <a:pt x="0" y="374"/>
                  </a:lnTo>
                  <a:lnTo>
                    <a:pt x="1" y="368"/>
                  </a:lnTo>
                  <a:lnTo>
                    <a:pt x="6" y="363"/>
                  </a:lnTo>
                  <a:lnTo>
                    <a:pt x="15" y="347"/>
                  </a:lnTo>
                  <a:lnTo>
                    <a:pt x="20" y="322"/>
                  </a:lnTo>
                  <a:lnTo>
                    <a:pt x="39" y="294"/>
                  </a:lnTo>
                  <a:lnTo>
                    <a:pt x="48" y="289"/>
                  </a:lnTo>
                  <a:lnTo>
                    <a:pt x="52" y="276"/>
                  </a:lnTo>
                  <a:lnTo>
                    <a:pt x="97" y="273"/>
                  </a:lnTo>
                  <a:lnTo>
                    <a:pt x="106" y="281"/>
                  </a:lnTo>
                  <a:lnTo>
                    <a:pt x="108" y="284"/>
                  </a:lnTo>
                  <a:lnTo>
                    <a:pt x="108" y="286"/>
                  </a:lnTo>
                  <a:lnTo>
                    <a:pt x="112" y="287"/>
                  </a:lnTo>
                  <a:lnTo>
                    <a:pt x="120" y="294"/>
                  </a:lnTo>
                  <a:lnTo>
                    <a:pt x="131" y="295"/>
                  </a:lnTo>
                  <a:lnTo>
                    <a:pt x="137" y="292"/>
                  </a:lnTo>
                  <a:lnTo>
                    <a:pt x="176" y="203"/>
                  </a:lnTo>
                  <a:lnTo>
                    <a:pt x="185" y="192"/>
                  </a:lnTo>
                  <a:lnTo>
                    <a:pt x="197" y="186"/>
                  </a:lnTo>
                  <a:lnTo>
                    <a:pt x="227" y="91"/>
                  </a:lnTo>
                  <a:lnTo>
                    <a:pt x="240" y="73"/>
                  </a:lnTo>
                  <a:lnTo>
                    <a:pt x="257" y="65"/>
                  </a:lnTo>
                  <a:lnTo>
                    <a:pt x="260" y="63"/>
                  </a:lnTo>
                  <a:lnTo>
                    <a:pt x="276" y="53"/>
                  </a:lnTo>
                  <a:lnTo>
                    <a:pt x="274" y="27"/>
                  </a:lnTo>
                  <a:lnTo>
                    <a:pt x="272" y="22"/>
                  </a:lnTo>
                  <a:lnTo>
                    <a:pt x="269" y="19"/>
                  </a:lnTo>
                  <a:lnTo>
                    <a:pt x="260" y="17"/>
                  </a:lnTo>
                  <a:lnTo>
                    <a:pt x="260" y="14"/>
                  </a:lnTo>
                  <a:lnTo>
                    <a:pt x="263" y="14"/>
                  </a:lnTo>
                  <a:lnTo>
                    <a:pt x="270" y="4"/>
                  </a:lnTo>
                  <a:lnTo>
                    <a:pt x="283" y="0"/>
                  </a:lnTo>
                  <a:lnTo>
                    <a:pt x="285" y="5"/>
                  </a:lnTo>
                  <a:lnTo>
                    <a:pt x="290" y="28"/>
                  </a:lnTo>
                  <a:lnTo>
                    <a:pt x="297" y="42"/>
                  </a:lnTo>
                  <a:lnTo>
                    <a:pt x="293" y="84"/>
                  </a:lnTo>
                  <a:lnTo>
                    <a:pt x="313" y="118"/>
                  </a:lnTo>
                  <a:lnTo>
                    <a:pt x="316" y="130"/>
                  </a:lnTo>
                  <a:lnTo>
                    <a:pt x="315" y="133"/>
                  </a:lnTo>
                  <a:lnTo>
                    <a:pt x="311" y="135"/>
                  </a:lnTo>
                  <a:lnTo>
                    <a:pt x="282" y="129"/>
                  </a:lnTo>
                  <a:lnTo>
                    <a:pt x="266" y="132"/>
                  </a:lnTo>
                  <a:lnTo>
                    <a:pt x="263" y="134"/>
                  </a:lnTo>
                  <a:lnTo>
                    <a:pt x="260" y="139"/>
                  </a:lnTo>
                  <a:lnTo>
                    <a:pt x="259" y="151"/>
                  </a:lnTo>
                  <a:lnTo>
                    <a:pt x="260" y="160"/>
                  </a:lnTo>
                  <a:lnTo>
                    <a:pt x="269" y="173"/>
                  </a:lnTo>
                  <a:lnTo>
                    <a:pt x="276" y="178"/>
                  </a:lnTo>
                  <a:lnTo>
                    <a:pt x="293" y="183"/>
                  </a:lnTo>
                  <a:lnTo>
                    <a:pt x="296" y="185"/>
                  </a:lnTo>
                  <a:lnTo>
                    <a:pt x="316" y="248"/>
                  </a:lnTo>
                  <a:lnTo>
                    <a:pt x="318" y="249"/>
                  </a:lnTo>
                  <a:lnTo>
                    <a:pt x="279" y="318"/>
                  </a:lnTo>
                  <a:lnTo>
                    <a:pt x="278" y="329"/>
                  </a:lnTo>
                  <a:lnTo>
                    <a:pt x="281" y="341"/>
                  </a:lnTo>
                  <a:lnTo>
                    <a:pt x="281" y="369"/>
                  </a:lnTo>
                  <a:lnTo>
                    <a:pt x="326" y="443"/>
                  </a:lnTo>
                  <a:lnTo>
                    <a:pt x="346" y="460"/>
                  </a:lnTo>
                  <a:lnTo>
                    <a:pt x="352" y="459"/>
                  </a:lnTo>
                  <a:lnTo>
                    <a:pt x="350" y="468"/>
                  </a:lnTo>
                  <a:lnTo>
                    <a:pt x="352" y="504"/>
                  </a:lnTo>
                  <a:lnTo>
                    <a:pt x="349" y="512"/>
                  </a:lnTo>
                  <a:lnTo>
                    <a:pt x="346" y="515"/>
                  </a:lnTo>
                  <a:lnTo>
                    <a:pt x="326" y="500"/>
                  </a:lnTo>
                  <a:lnTo>
                    <a:pt x="318" y="500"/>
                  </a:lnTo>
                  <a:lnTo>
                    <a:pt x="294" y="495"/>
                  </a:lnTo>
                  <a:lnTo>
                    <a:pt x="285" y="490"/>
                  </a:lnTo>
                  <a:lnTo>
                    <a:pt x="222" y="49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8" name="Freeform 146"/>
            <p:cNvSpPr>
              <a:spLocks/>
            </p:cNvSpPr>
            <p:nvPr/>
          </p:nvSpPr>
          <p:spPr bwMode="auto">
            <a:xfrm>
              <a:off x="5182798" y="1579374"/>
              <a:ext cx="231536" cy="222644"/>
            </a:xfrm>
            <a:custGeom>
              <a:avLst/>
              <a:gdLst>
                <a:gd name="T0" fmla="*/ 30 w 193"/>
                <a:gd name="T1" fmla="*/ 10 h 225"/>
                <a:gd name="T2" fmla="*/ 32 w 193"/>
                <a:gd name="T3" fmla="*/ 7 h 225"/>
                <a:gd name="T4" fmla="*/ 30 w 193"/>
                <a:gd name="T5" fmla="*/ 0 h 225"/>
                <a:gd name="T6" fmla="*/ 13 w 193"/>
                <a:gd name="T7" fmla="*/ 6 h 225"/>
                <a:gd name="T8" fmla="*/ 12 w 193"/>
                <a:gd name="T9" fmla="*/ 6 h 225"/>
                <a:gd name="T10" fmla="*/ 11 w 193"/>
                <a:gd name="T11" fmla="*/ 6 h 225"/>
                <a:gd name="T12" fmla="*/ 8 w 193"/>
                <a:gd name="T13" fmla="*/ 5 h 225"/>
                <a:gd name="T14" fmla="*/ 6 w 193"/>
                <a:gd name="T15" fmla="*/ 4 h 225"/>
                <a:gd name="T16" fmla="*/ 6 w 193"/>
                <a:gd name="T17" fmla="*/ 4 h 225"/>
                <a:gd name="T18" fmla="*/ 4 w 193"/>
                <a:gd name="T19" fmla="*/ 4 h 225"/>
                <a:gd name="T20" fmla="*/ 4 w 193"/>
                <a:gd name="T21" fmla="*/ 6 h 225"/>
                <a:gd name="T22" fmla="*/ 4 w 193"/>
                <a:gd name="T23" fmla="*/ 10 h 225"/>
                <a:gd name="T24" fmla="*/ 4 w 193"/>
                <a:gd name="T25" fmla="*/ 10 h 225"/>
                <a:gd name="T26" fmla="*/ 4 w 193"/>
                <a:gd name="T27" fmla="*/ 12 h 225"/>
                <a:gd name="T28" fmla="*/ 3 w 193"/>
                <a:gd name="T29" fmla="*/ 12 h 225"/>
                <a:gd name="T30" fmla="*/ 4 w 193"/>
                <a:gd name="T31" fmla="*/ 12 h 225"/>
                <a:gd name="T32" fmla="*/ 3 w 193"/>
                <a:gd name="T33" fmla="*/ 13 h 225"/>
                <a:gd name="T34" fmla="*/ 4 w 193"/>
                <a:gd name="T35" fmla="*/ 14 h 225"/>
                <a:gd name="T36" fmla="*/ 0 w 193"/>
                <a:gd name="T37" fmla="*/ 25 h 225"/>
                <a:gd name="T38" fmla="*/ 1 w 193"/>
                <a:gd name="T39" fmla="*/ 26 h 225"/>
                <a:gd name="T40" fmla="*/ 9 w 193"/>
                <a:gd name="T41" fmla="*/ 27 h 225"/>
                <a:gd name="T42" fmla="*/ 11 w 193"/>
                <a:gd name="T43" fmla="*/ 25 h 225"/>
                <a:gd name="T44" fmla="*/ 13 w 193"/>
                <a:gd name="T45" fmla="*/ 22 h 225"/>
                <a:gd name="T46" fmla="*/ 19 w 193"/>
                <a:gd name="T47" fmla="*/ 21 h 225"/>
                <a:gd name="T48" fmla="*/ 20 w 193"/>
                <a:gd name="T49" fmla="*/ 19 h 225"/>
                <a:gd name="T50" fmla="*/ 24 w 193"/>
                <a:gd name="T51" fmla="*/ 18 h 225"/>
                <a:gd name="T52" fmla="*/ 24 w 193"/>
                <a:gd name="T53" fmla="*/ 18 h 225"/>
                <a:gd name="T54" fmla="*/ 15 w 193"/>
                <a:gd name="T55" fmla="*/ 12 h 225"/>
                <a:gd name="T56" fmla="*/ 30 w 193"/>
                <a:gd name="T57" fmla="*/ 10 h 22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3"/>
                <a:gd name="T88" fmla="*/ 0 h 225"/>
                <a:gd name="T89" fmla="*/ 193 w 193"/>
                <a:gd name="T90" fmla="*/ 225 h 22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3" h="225">
                  <a:moveTo>
                    <a:pt x="179" y="79"/>
                  </a:moveTo>
                  <a:lnTo>
                    <a:pt x="193" y="62"/>
                  </a:lnTo>
                  <a:lnTo>
                    <a:pt x="179" y="0"/>
                  </a:lnTo>
                  <a:lnTo>
                    <a:pt x="79" y="55"/>
                  </a:lnTo>
                  <a:lnTo>
                    <a:pt x="73" y="57"/>
                  </a:lnTo>
                  <a:lnTo>
                    <a:pt x="63" y="56"/>
                  </a:lnTo>
                  <a:lnTo>
                    <a:pt x="45" y="43"/>
                  </a:lnTo>
                  <a:lnTo>
                    <a:pt x="40" y="36"/>
                  </a:lnTo>
                  <a:lnTo>
                    <a:pt x="37" y="35"/>
                  </a:lnTo>
                  <a:lnTo>
                    <a:pt x="26" y="37"/>
                  </a:lnTo>
                  <a:lnTo>
                    <a:pt x="26" y="53"/>
                  </a:lnTo>
                  <a:lnTo>
                    <a:pt x="23" y="78"/>
                  </a:lnTo>
                  <a:lnTo>
                    <a:pt x="25" y="86"/>
                  </a:lnTo>
                  <a:lnTo>
                    <a:pt x="22" y="98"/>
                  </a:lnTo>
                  <a:lnTo>
                    <a:pt x="20" y="101"/>
                  </a:lnTo>
                  <a:lnTo>
                    <a:pt x="22" y="104"/>
                  </a:lnTo>
                  <a:lnTo>
                    <a:pt x="20" y="115"/>
                  </a:lnTo>
                  <a:lnTo>
                    <a:pt x="22" y="120"/>
                  </a:lnTo>
                  <a:lnTo>
                    <a:pt x="0" y="211"/>
                  </a:lnTo>
                  <a:lnTo>
                    <a:pt x="3" y="218"/>
                  </a:lnTo>
                  <a:lnTo>
                    <a:pt x="53" y="225"/>
                  </a:lnTo>
                  <a:lnTo>
                    <a:pt x="68" y="210"/>
                  </a:lnTo>
                  <a:lnTo>
                    <a:pt x="80" y="186"/>
                  </a:lnTo>
                  <a:lnTo>
                    <a:pt x="115" y="181"/>
                  </a:lnTo>
                  <a:lnTo>
                    <a:pt x="122" y="160"/>
                  </a:lnTo>
                  <a:lnTo>
                    <a:pt x="140" y="149"/>
                  </a:lnTo>
                  <a:lnTo>
                    <a:pt x="141" y="148"/>
                  </a:lnTo>
                  <a:lnTo>
                    <a:pt x="90" y="98"/>
                  </a:lnTo>
                  <a:lnTo>
                    <a:pt x="179" y="7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9" name="Freeform 147"/>
            <p:cNvSpPr>
              <a:spLocks/>
            </p:cNvSpPr>
            <p:nvPr/>
          </p:nvSpPr>
          <p:spPr bwMode="auto">
            <a:xfrm>
              <a:off x="5182798" y="1579374"/>
              <a:ext cx="231536" cy="222644"/>
            </a:xfrm>
            <a:custGeom>
              <a:avLst/>
              <a:gdLst>
                <a:gd name="T0" fmla="*/ 30 w 193"/>
                <a:gd name="T1" fmla="*/ 10 h 225"/>
                <a:gd name="T2" fmla="*/ 32 w 193"/>
                <a:gd name="T3" fmla="*/ 7 h 225"/>
                <a:gd name="T4" fmla="*/ 30 w 193"/>
                <a:gd name="T5" fmla="*/ 0 h 225"/>
                <a:gd name="T6" fmla="*/ 13 w 193"/>
                <a:gd name="T7" fmla="*/ 6 h 225"/>
                <a:gd name="T8" fmla="*/ 12 w 193"/>
                <a:gd name="T9" fmla="*/ 6 h 225"/>
                <a:gd name="T10" fmla="*/ 11 w 193"/>
                <a:gd name="T11" fmla="*/ 6 h 225"/>
                <a:gd name="T12" fmla="*/ 8 w 193"/>
                <a:gd name="T13" fmla="*/ 5 h 225"/>
                <a:gd name="T14" fmla="*/ 6 w 193"/>
                <a:gd name="T15" fmla="*/ 4 h 225"/>
                <a:gd name="T16" fmla="*/ 6 w 193"/>
                <a:gd name="T17" fmla="*/ 4 h 225"/>
                <a:gd name="T18" fmla="*/ 4 w 193"/>
                <a:gd name="T19" fmla="*/ 4 h 225"/>
                <a:gd name="T20" fmla="*/ 4 w 193"/>
                <a:gd name="T21" fmla="*/ 6 h 225"/>
                <a:gd name="T22" fmla="*/ 4 w 193"/>
                <a:gd name="T23" fmla="*/ 6 h 225"/>
                <a:gd name="T24" fmla="*/ 4 w 193"/>
                <a:gd name="T25" fmla="*/ 10 h 225"/>
                <a:gd name="T26" fmla="*/ 4 w 193"/>
                <a:gd name="T27" fmla="*/ 10 h 225"/>
                <a:gd name="T28" fmla="*/ 4 w 193"/>
                <a:gd name="T29" fmla="*/ 12 h 225"/>
                <a:gd name="T30" fmla="*/ 3 w 193"/>
                <a:gd name="T31" fmla="*/ 12 h 225"/>
                <a:gd name="T32" fmla="*/ 4 w 193"/>
                <a:gd name="T33" fmla="*/ 12 h 225"/>
                <a:gd name="T34" fmla="*/ 3 w 193"/>
                <a:gd name="T35" fmla="*/ 13 h 225"/>
                <a:gd name="T36" fmla="*/ 4 w 193"/>
                <a:gd name="T37" fmla="*/ 14 h 225"/>
                <a:gd name="T38" fmla="*/ 0 w 193"/>
                <a:gd name="T39" fmla="*/ 25 h 225"/>
                <a:gd name="T40" fmla="*/ 0 w 193"/>
                <a:gd name="T41" fmla="*/ 25 h 225"/>
                <a:gd name="T42" fmla="*/ 1 w 193"/>
                <a:gd name="T43" fmla="*/ 26 h 225"/>
                <a:gd name="T44" fmla="*/ 9 w 193"/>
                <a:gd name="T45" fmla="*/ 27 h 225"/>
                <a:gd name="T46" fmla="*/ 11 w 193"/>
                <a:gd name="T47" fmla="*/ 25 h 225"/>
                <a:gd name="T48" fmla="*/ 13 w 193"/>
                <a:gd name="T49" fmla="*/ 22 h 225"/>
                <a:gd name="T50" fmla="*/ 19 w 193"/>
                <a:gd name="T51" fmla="*/ 21 h 225"/>
                <a:gd name="T52" fmla="*/ 20 w 193"/>
                <a:gd name="T53" fmla="*/ 19 h 225"/>
                <a:gd name="T54" fmla="*/ 24 w 193"/>
                <a:gd name="T55" fmla="*/ 18 h 225"/>
                <a:gd name="T56" fmla="*/ 24 w 193"/>
                <a:gd name="T57" fmla="*/ 18 h 225"/>
                <a:gd name="T58" fmla="*/ 15 w 193"/>
                <a:gd name="T59" fmla="*/ 12 h 225"/>
                <a:gd name="T60" fmla="*/ 30 w 193"/>
                <a:gd name="T61" fmla="*/ 10 h 22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3"/>
                <a:gd name="T94" fmla="*/ 0 h 225"/>
                <a:gd name="T95" fmla="*/ 193 w 193"/>
                <a:gd name="T96" fmla="*/ 225 h 22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3" h="225">
                  <a:moveTo>
                    <a:pt x="179" y="79"/>
                  </a:moveTo>
                  <a:lnTo>
                    <a:pt x="193" y="62"/>
                  </a:lnTo>
                  <a:lnTo>
                    <a:pt x="179" y="0"/>
                  </a:lnTo>
                  <a:lnTo>
                    <a:pt x="79" y="55"/>
                  </a:lnTo>
                  <a:lnTo>
                    <a:pt x="73" y="57"/>
                  </a:lnTo>
                  <a:lnTo>
                    <a:pt x="63" y="56"/>
                  </a:lnTo>
                  <a:lnTo>
                    <a:pt x="45" y="43"/>
                  </a:lnTo>
                  <a:lnTo>
                    <a:pt x="40" y="36"/>
                  </a:lnTo>
                  <a:lnTo>
                    <a:pt x="37" y="35"/>
                  </a:lnTo>
                  <a:lnTo>
                    <a:pt x="26" y="37"/>
                  </a:lnTo>
                  <a:lnTo>
                    <a:pt x="26" y="53"/>
                  </a:lnTo>
                  <a:lnTo>
                    <a:pt x="23" y="78"/>
                  </a:lnTo>
                  <a:lnTo>
                    <a:pt x="25" y="86"/>
                  </a:lnTo>
                  <a:lnTo>
                    <a:pt x="22" y="98"/>
                  </a:lnTo>
                  <a:lnTo>
                    <a:pt x="20" y="101"/>
                  </a:lnTo>
                  <a:lnTo>
                    <a:pt x="22" y="104"/>
                  </a:lnTo>
                  <a:lnTo>
                    <a:pt x="20" y="115"/>
                  </a:lnTo>
                  <a:lnTo>
                    <a:pt x="22" y="120"/>
                  </a:lnTo>
                  <a:lnTo>
                    <a:pt x="0" y="211"/>
                  </a:lnTo>
                  <a:lnTo>
                    <a:pt x="3" y="218"/>
                  </a:lnTo>
                  <a:lnTo>
                    <a:pt x="53" y="225"/>
                  </a:lnTo>
                  <a:lnTo>
                    <a:pt x="68" y="210"/>
                  </a:lnTo>
                  <a:lnTo>
                    <a:pt x="80" y="186"/>
                  </a:lnTo>
                  <a:lnTo>
                    <a:pt x="115" y="181"/>
                  </a:lnTo>
                  <a:lnTo>
                    <a:pt x="122" y="160"/>
                  </a:lnTo>
                  <a:lnTo>
                    <a:pt x="140" y="149"/>
                  </a:lnTo>
                  <a:lnTo>
                    <a:pt x="141" y="148"/>
                  </a:lnTo>
                  <a:lnTo>
                    <a:pt x="90" y="98"/>
                  </a:lnTo>
                  <a:lnTo>
                    <a:pt x="179" y="7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0" name="Freeform 148"/>
            <p:cNvSpPr>
              <a:spLocks/>
            </p:cNvSpPr>
            <p:nvPr/>
          </p:nvSpPr>
          <p:spPr bwMode="auto">
            <a:xfrm>
              <a:off x="5215294" y="163317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1" name="Freeform 149"/>
            <p:cNvSpPr>
              <a:spLocks/>
            </p:cNvSpPr>
            <p:nvPr/>
          </p:nvSpPr>
          <p:spPr bwMode="auto">
            <a:xfrm>
              <a:off x="6098786" y="1961578"/>
              <a:ext cx="259970" cy="168839"/>
            </a:xfrm>
            <a:custGeom>
              <a:avLst/>
              <a:gdLst>
                <a:gd name="T0" fmla="*/ 27 w 217"/>
                <a:gd name="T1" fmla="*/ 20 h 172"/>
                <a:gd name="T2" fmla="*/ 0 w 217"/>
                <a:gd name="T3" fmla="*/ 11 h 172"/>
                <a:gd name="T4" fmla="*/ 1 w 217"/>
                <a:gd name="T5" fmla="*/ 11 h 172"/>
                <a:gd name="T6" fmla="*/ 1 w 217"/>
                <a:gd name="T7" fmla="*/ 11 h 172"/>
                <a:gd name="T8" fmla="*/ 2 w 217"/>
                <a:gd name="T9" fmla="*/ 12 h 172"/>
                <a:gd name="T10" fmla="*/ 6 w 217"/>
                <a:gd name="T11" fmla="*/ 12 h 172"/>
                <a:gd name="T12" fmla="*/ 8 w 217"/>
                <a:gd name="T13" fmla="*/ 11 h 172"/>
                <a:gd name="T14" fmla="*/ 13 w 217"/>
                <a:gd name="T15" fmla="*/ 11 h 172"/>
                <a:gd name="T16" fmla="*/ 15 w 217"/>
                <a:gd name="T17" fmla="*/ 12 h 172"/>
                <a:gd name="T18" fmla="*/ 19 w 217"/>
                <a:gd name="T19" fmla="*/ 11 h 172"/>
                <a:gd name="T20" fmla="*/ 21 w 217"/>
                <a:gd name="T21" fmla="*/ 11 h 172"/>
                <a:gd name="T22" fmla="*/ 22 w 217"/>
                <a:gd name="T23" fmla="*/ 10 h 172"/>
                <a:gd name="T24" fmla="*/ 22 w 217"/>
                <a:gd name="T25" fmla="*/ 9 h 172"/>
                <a:gd name="T26" fmla="*/ 22 w 217"/>
                <a:gd name="T27" fmla="*/ 9 h 172"/>
                <a:gd name="T28" fmla="*/ 22 w 217"/>
                <a:gd name="T29" fmla="*/ 9 h 172"/>
                <a:gd name="T30" fmla="*/ 24 w 217"/>
                <a:gd name="T31" fmla="*/ 8 h 172"/>
                <a:gd name="T32" fmla="*/ 24 w 217"/>
                <a:gd name="T33" fmla="*/ 7 h 172"/>
                <a:gd name="T34" fmla="*/ 25 w 217"/>
                <a:gd name="T35" fmla="*/ 7 h 172"/>
                <a:gd name="T36" fmla="*/ 26 w 217"/>
                <a:gd name="T37" fmla="*/ 6 h 172"/>
                <a:gd name="T38" fmla="*/ 28 w 217"/>
                <a:gd name="T39" fmla="*/ 5 h 172"/>
                <a:gd name="T40" fmla="*/ 29 w 217"/>
                <a:gd name="T41" fmla="*/ 4 h 172"/>
                <a:gd name="T42" fmla="*/ 29 w 217"/>
                <a:gd name="T43" fmla="*/ 4 h 172"/>
                <a:gd name="T44" fmla="*/ 30 w 217"/>
                <a:gd name="T45" fmla="*/ 3 h 172"/>
                <a:gd name="T46" fmla="*/ 30 w 217"/>
                <a:gd name="T47" fmla="*/ 3 h 172"/>
                <a:gd name="T48" fmla="*/ 32 w 217"/>
                <a:gd name="T49" fmla="*/ 2 h 172"/>
                <a:gd name="T50" fmla="*/ 34 w 217"/>
                <a:gd name="T51" fmla="*/ 0 h 172"/>
                <a:gd name="T52" fmla="*/ 35 w 217"/>
                <a:gd name="T53" fmla="*/ 1 h 172"/>
                <a:gd name="T54" fmla="*/ 35 w 217"/>
                <a:gd name="T55" fmla="*/ 2 h 172"/>
                <a:gd name="T56" fmla="*/ 35 w 217"/>
                <a:gd name="T57" fmla="*/ 2 h 172"/>
                <a:gd name="T58" fmla="*/ 36 w 217"/>
                <a:gd name="T59" fmla="*/ 3 h 172"/>
                <a:gd name="T60" fmla="*/ 31 w 217"/>
                <a:gd name="T61" fmla="*/ 7 h 172"/>
                <a:gd name="T62" fmla="*/ 32 w 217"/>
                <a:gd name="T63" fmla="*/ 11 h 172"/>
                <a:gd name="T64" fmla="*/ 33 w 217"/>
                <a:gd name="T65" fmla="*/ 11 h 172"/>
                <a:gd name="T66" fmla="*/ 31 w 217"/>
                <a:gd name="T67" fmla="*/ 12 h 17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7"/>
                <a:gd name="T103" fmla="*/ 0 h 172"/>
                <a:gd name="T104" fmla="*/ 217 w 217"/>
                <a:gd name="T105" fmla="*/ 172 h 17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7" h="172">
                  <a:moveTo>
                    <a:pt x="166" y="169"/>
                  </a:moveTo>
                  <a:lnTo>
                    <a:pt x="163" y="172"/>
                  </a:lnTo>
                  <a:lnTo>
                    <a:pt x="47" y="157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" y="92"/>
                  </a:lnTo>
                  <a:lnTo>
                    <a:pt x="4" y="89"/>
                  </a:lnTo>
                  <a:lnTo>
                    <a:pt x="5" y="90"/>
                  </a:lnTo>
                  <a:lnTo>
                    <a:pt x="6" y="99"/>
                  </a:lnTo>
                  <a:lnTo>
                    <a:pt x="12" y="103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42" y="99"/>
                  </a:lnTo>
                  <a:lnTo>
                    <a:pt x="50" y="94"/>
                  </a:lnTo>
                  <a:lnTo>
                    <a:pt x="68" y="95"/>
                  </a:lnTo>
                  <a:lnTo>
                    <a:pt x="76" y="99"/>
                  </a:lnTo>
                  <a:lnTo>
                    <a:pt x="81" y="99"/>
                  </a:lnTo>
                  <a:lnTo>
                    <a:pt x="89" y="101"/>
                  </a:lnTo>
                  <a:lnTo>
                    <a:pt x="110" y="100"/>
                  </a:lnTo>
                  <a:lnTo>
                    <a:pt x="114" y="97"/>
                  </a:lnTo>
                  <a:lnTo>
                    <a:pt x="118" y="92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31" y="87"/>
                  </a:lnTo>
                  <a:lnTo>
                    <a:pt x="132" y="85"/>
                  </a:lnTo>
                  <a:lnTo>
                    <a:pt x="130" y="82"/>
                  </a:lnTo>
                  <a:lnTo>
                    <a:pt x="129" y="81"/>
                  </a:lnTo>
                  <a:lnTo>
                    <a:pt x="137" y="80"/>
                  </a:lnTo>
                  <a:lnTo>
                    <a:pt x="137" y="78"/>
                  </a:lnTo>
                  <a:lnTo>
                    <a:pt x="139" y="76"/>
                  </a:lnTo>
                  <a:lnTo>
                    <a:pt x="139" y="73"/>
                  </a:lnTo>
                  <a:lnTo>
                    <a:pt x="142" y="70"/>
                  </a:lnTo>
                  <a:lnTo>
                    <a:pt x="142" y="67"/>
                  </a:lnTo>
                  <a:lnTo>
                    <a:pt x="145" y="63"/>
                  </a:lnTo>
                  <a:lnTo>
                    <a:pt x="152" y="60"/>
                  </a:lnTo>
                  <a:lnTo>
                    <a:pt x="155" y="54"/>
                  </a:lnTo>
                  <a:lnTo>
                    <a:pt x="157" y="53"/>
                  </a:lnTo>
                  <a:lnTo>
                    <a:pt x="160" y="49"/>
                  </a:lnTo>
                  <a:lnTo>
                    <a:pt x="166" y="45"/>
                  </a:lnTo>
                  <a:lnTo>
                    <a:pt x="171" y="41"/>
                  </a:lnTo>
                  <a:lnTo>
                    <a:pt x="174" y="39"/>
                  </a:lnTo>
                  <a:lnTo>
                    <a:pt x="175" y="37"/>
                  </a:lnTo>
                  <a:lnTo>
                    <a:pt x="177" y="36"/>
                  </a:lnTo>
                  <a:lnTo>
                    <a:pt x="177" y="34"/>
                  </a:lnTo>
                  <a:lnTo>
                    <a:pt x="181" y="28"/>
                  </a:lnTo>
                  <a:lnTo>
                    <a:pt x="181" y="27"/>
                  </a:lnTo>
                  <a:lnTo>
                    <a:pt x="183" y="25"/>
                  </a:lnTo>
                  <a:lnTo>
                    <a:pt x="184" y="23"/>
                  </a:lnTo>
                  <a:lnTo>
                    <a:pt x="192" y="18"/>
                  </a:lnTo>
                  <a:lnTo>
                    <a:pt x="202" y="9"/>
                  </a:lnTo>
                  <a:lnTo>
                    <a:pt x="205" y="0"/>
                  </a:lnTo>
                  <a:lnTo>
                    <a:pt x="207" y="4"/>
                  </a:lnTo>
                  <a:lnTo>
                    <a:pt x="208" y="9"/>
                  </a:lnTo>
                  <a:lnTo>
                    <a:pt x="207" y="11"/>
                  </a:lnTo>
                  <a:lnTo>
                    <a:pt x="208" y="13"/>
                  </a:lnTo>
                  <a:lnTo>
                    <a:pt x="207" y="18"/>
                  </a:lnTo>
                  <a:lnTo>
                    <a:pt x="208" y="19"/>
                  </a:lnTo>
                  <a:lnTo>
                    <a:pt x="214" y="21"/>
                  </a:lnTo>
                  <a:lnTo>
                    <a:pt x="216" y="26"/>
                  </a:lnTo>
                  <a:lnTo>
                    <a:pt x="217" y="60"/>
                  </a:lnTo>
                  <a:lnTo>
                    <a:pt x="189" y="61"/>
                  </a:lnTo>
                  <a:lnTo>
                    <a:pt x="195" y="88"/>
                  </a:lnTo>
                  <a:lnTo>
                    <a:pt x="191" y="92"/>
                  </a:lnTo>
                  <a:lnTo>
                    <a:pt x="195" y="94"/>
                  </a:lnTo>
                  <a:lnTo>
                    <a:pt x="198" y="93"/>
                  </a:lnTo>
                  <a:lnTo>
                    <a:pt x="196" y="104"/>
                  </a:lnTo>
                  <a:lnTo>
                    <a:pt x="184" y="105"/>
                  </a:lnTo>
                  <a:lnTo>
                    <a:pt x="166" y="16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2" name="Freeform 150"/>
            <p:cNvSpPr>
              <a:spLocks/>
            </p:cNvSpPr>
            <p:nvPr/>
          </p:nvSpPr>
          <p:spPr bwMode="auto">
            <a:xfrm>
              <a:off x="6098786" y="1961578"/>
              <a:ext cx="259970" cy="168839"/>
            </a:xfrm>
            <a:custGeom>
              <a:avLst/>
              <a:gdLst>
                <a:gd name="T0" fmla="*/ 27 w 217"/>
                <a:gd name="T1" fmla="*/ 20 h 172"/>
                <a:gd name="T2" fmla="*/ 0 w 217"/>
                <a:gd name="T3" fmla="*/ 11 h 172"/>
                <a:gd name="T4" fmla="*/ 1 w 217"/>
                <a:gd name="T5" fmla="*/ 11 h 172"/>
                <a:gd name="T6" fmla="*/ 1 w 217"/>
                <a:gd name="T7" fmla="*/ 11 h 172"/>
                <a:gd name="T8" fmla="*/ 2 w 217"/>
                <a:gd name="T9" fmla="*/ 12 h 172"/>
                <a:gd name="T10" fmla="*/ 6 w 217"/>
                <a:gd name="T11" fmla="*/ 12 h 172"/>
                <a:gd name="T12" fmla="*/ 8 w 217"/>
                <a:gd name="T13" fmla="*/ 11 h 172"/>
                <a:gd name="T14" fmla="*/ 13 w 217"/>
                <a:gd name="T15" fmla="*/ 11 h 172"/>
                <a:gd name="T16" fmla="*/ 15 w 217"/>
                <a:gd name="T17" fmla="*/ 12 h 172"/>
                <a:gd name="T18" fmla="*/ 19 w 217"/>
                <a:gd name="T19" fmla="*/ 11 h 172"/>
                <a:gd name="T20" fmla="*/ 21 w 217"/>
                <a:gd name="T21" fmla="*/ 11 h 172"/>
                <a:gd name="T22" fmla="*/ 22 w 217"/>
                <a:gd name="T23" fmla="*/ 10 h 172"/>
                <a:gd name="T24" fmla="*/ 22 w 217"/>
                <a:gd name="T25" fmla="*/ 9 h 172"/>
                <a:gd name="T26" fmla="*/ 22 w 217"/>
                <a:gd name="T27" fmla="*/ 9 h 172"/>
                <a:gd name="T28" fmla="*/ 22 w 217"/>
                <a:gd name="T29" fmla="*/ 9 h 172"/>
                <a:gd name="T30" fmla="*/ 24 w 217"/>
                <a:gd name="T31" fmla="*/ 8 h 172"/>
                <a:gd name="T32" fmla="*/ 24 w 217"/>
                <a:gd name="T33" fmla="*/ 7 h 172"/>
                <a:gd name="T34" fmla="*/ 25 w 217"/>
                <a:gd name="T35" fmla="*/ 7 h 172"/>
                <a:gd name="T36" fmla="*/ 26 w 217"/>
                <a:gd name="T37" fmla="*/ 6 h 172"/>
                <a:gd name="T38" fmla="*/ 28 w 217"/>
                <a:gd name="T39" fmla="*/ 5 h 172"/>
                <a:gd name="T40" fmla="*/ 29 w 217"/>
                <a:gd name="T41" fmla="*/ 4 h 172"/>
                <a:gd name="T42" fmla="*/ 29 w 217"/>
                <a:gd name="T43" fmla="*/ 4 h 172"/>
                <a:gd name="T44" fmla="*/ 30 w 217"/>
                <a:gd name="T45" fmla="*/ 3 h 172"/>
                <a:gd name="T46" fmla="*/ 30 w 217"/>
                <a:gd name="T47" fmla="*/ 3 h 172"/>
                <a:gd name="T48" fmla="*/ 32 w 217"/>
                <a:gd name="T49" fmla="*/ 2 h 172"/>
                <a:gd name="T50" fmla="*/ 34 w 217"/>
                <a:gd name="T51" fmla="*/ 0 h 172"/>
                <a:gd name="T52" fmla="*/ 35 w 217"/>
                <a:gd name="T53" fmla="*/ 1 h 172"/>
                <a:gd name="T54" fmla="*/ 35 w 217"/>
                <a:gd name="T55" fmla="*/ 2 h 172"/>
                <a:gd name="T56" fmla="*/ 35 w 217"/>
                <a:gd name="T57" fmla="*/ 2 h 172"/>
                <a:gd name="T58" fmla="*/ 36 w 217"/>
                <a:gd name="T59" fmla="*/ 3 h 172"/>
                <a:gd name="T60" fmla="*/ 31 w 217"/>
                <a:gd name="T61" fmla="*/ 7 h 172"/>
                <a:gd name="T62" fmla="*/ 32 w 217"/>
                <a:gd name="T63" fmla="*/ 11 h 172"/>
                <a:gd name="T64" fmla="*/ 33 w 217"/>
                <a:gd name="T65" fmla="*/ 11 h 172"/>
                <a:gd name="T66" fmla="*/ 31 w 217"/>
                <a:gd name="T67" fmla="*/ 12 h 172"/>
                <a:gd name="T68" fmla="*/ 28 w 217"/>
                <a:gd name="T69" fmla="*/ 20 h 1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7"/>
                <a:gd name="T106" fmla="*/ 0 h 172"/>
                <a:gd name="T107" fmla="*/ 217 w 217"/>
                <a:gd name="T108" fmla="*/ 172 h 1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7" h="172">
                  <a:moveTo>
                    <a:pt x="166" y="169"/>
                  </a:moveTo>
                  <a:lnTo>
                    <a:pt x="163" y="172"/>
                  </a:lnTo>
                  <a:lnTo>
                    <a:pt x="47" y="157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" y="92"/>
                  </a:lnTo>
                  <a:lnTo>
                    <a:pt x="4" y="89"/>
                  </a:lnTo>
                  <a:lnTo>
                    <a:pt x="5" y="90"/>
                  </a:lnTo>
                  <a:lnTo>
                    <a:pt x="6" y="99"/>
                  </a:lnTo>
                  <a:lnTo>
                    <a:pt x="12" y="103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42" y="99"/>
                  </a:lnTo>
                  <a:lnTo>
                    <a:pt x="50" y="94"/>
                  </a:lnTo>
                  <a:lnTo>
                    <a:pt x="68" y="95"/>
                  </a:lnTo>
                  <a:lnTo>
                    <a:pt x="76" y="99"/>
                  </a:lnTo>
                  <a:lnTo>
                    <a:pt x="81" y="99"/>
                  </a:lnTo>
                  <a:lnTo>
                    <a:pt x="89" y="101"/>
                  </a:lnTo>
                  <a:lnTo>
                    <a:pt x="110" y="100"/>
                  </a:lnTo>
                  <a:lnTo>
                    <a:pt x="114" y="97"/>
                  </a:lnTo>
                  <a:lnTo>
                    <a:pt x="118" y="92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31" y="87"/>
                  </a:lnTo>
                  <a:lnTo>
                    <a:pt x="132" y="85"/>
                  </a:lnTo>
                  <a:lnTo>
                    <a:pt x="130" y="82"/>
                  </a:lnTo>
                  <a:lnTo>
                    <a:pt x="129" y="81"/>
                  </a:lnTo>
                  <a:lnTo>
                    <a:pt x="137" y="80"/>
                  </a:lnTo>
                  <a:lnTo>
                    <a:pt x="137" y="78"/>
                  </a:lnTo>
                  <a:lnTo>
                    <a:pt x="139" y="76"/>
                  </a:lnTo>
                  <a:lnTo>
                    <a:pt x="139" y="73"/>
                  </a:lnTo>
                  <a:lnTo>
                    <a:pt x="142" y="70"/>
                  </a:lnTo>
                  <a:lnTo>
                    <a:pt x="142" y="67"/>
                  </a:lnTo>
                  <a:lnTo>
                    <a:pt x="145" y="63"/>
                  </a:lnTo>
                  <a:lnTo>
                    <a:pt x="152" y="60"/>
                  </a:lnTo>
                  <a:lnTo>
                    <a:pt x="155" y="54"/>
                  </a:lnTo>
                  <a:lnTo>
                    <a:pt x="157" y="53"/>
                  </a:lnTo>
                  <a:lnTo>
                    <a:pt x="160" y="49"/>
                  </a:lnTo>
                  <a:lnTo>
                    <a:pt x="166" y="45"/>
                  </a:lnTo>
                  <a:lnTo>
                    <a:pt x="171" y="41"/>
                  </a:lnTo>
                  <a:lnTo>
                    <a:pt x="174" y="39"/>
                  </a:lnTo>
                  <a:lnTo>
                    <a:pt x="175" y="37"/>
                  </a:lnTo>
                  <a:lnTo>
                    <a:pt x="177" y="36"/>
                  </a:lnTo>
                  <a:lnTo>
                    <a:pt x="177" y="34"/>
                  </a:lnTo>
                  <a:lnTo>
                    <a:pt x="181" y="28"/>
                  </a:lnTo>
                  <a:lnTo>
                    <a:pt x="181" y="27"/>
                  </a:lnTo>
                  <a:lnTo>
                    <a:pt x="183" y="25"/>
                  </a:lnTo>
                  <a:lnTo>
                    <a:pt x="184" y="23"/>
                  </a:lnTo>
                  <a:lnTo>
                    <a:pt x="192" y="18"/>
                  </a:lnTo>
                  <a:lnTo>
                    <a:pt x="202" y="9"/>
                  </a:lnTo>
                  <a:lnTo>
                    <a:pt x="205" y="0"/>
                  </a:lnTo>
                  <a:lnTo>
                    <a:pt x="207" y="4"/>
                  </a:lnTo>
                  <a:lnTo>
                    <a:pt x="208" y="9"/>
                  </a:lnTo>
                  <a:lnTo>
                    <a:pt x="207" y="11"/>
                  </a:lnTo>
                  <a:lnTo>
                    <a:pt x="208" y="13"/>
                  </a:lnTo>
                  <a:lnTo>
                    <a:pt x="207" y="18"/>
                  </a:lnTo>
                  <a:lnTo>
                    <a:pt x="208" y="19"/>
                  </a:lnTo>
                  <a:lnTo>
                    <a:pt x="214" y="21"/>
                  </a:lnTo>
                  <a:lnTo>
                    <a:pt x="216" y="26"/>
                  </a:lnTo>
                  <a:lnTo>
                    <a:pt x="217" y="60"/>
                  </a:lnTo>
                  <a:lnTo>
                    <a:pt x="189" y="61"/>
                  </a:lnTo>
                  <a:lnTo>
                    <a:pt x="195" y="88"/>
                  </a:lnTo>
                  <a:lnTo>
                    <a:pt x="191" y="92"/>
                  </a:lnTo>
                  <a:lnTo>
                    <a:pt x="195" y="94"/>
                  </a:lnTo>
                  <a:lnTo>
                    <a:pt x="198" y="93"/>
                  </a:lnTo>
                  <a:lnTo>
                    <a:pt x="196" y="104"/>
                  </a:lnTo>
                  <a:lnTo>
                    <a:pt x="184" y="105"/>
                  </a:lnTo>
                  <a:lnTo>
                    <a:pt x="166" y="16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3" name="Freeform 151"/>
            <p:cNvSpPr>
              <a:spLocks/>
            </p:cNvSpPr>
            <p:nvPr/>
          </p:nvSpPr>
          <p:spPr bwMode="auto">
            <a:xfrm>
              <a:off x="5609312" y="2308531"/>
              <a:ext cx="568685" cy="302424"/>
            </a:xfrm>
            <a:custGeom>
              <a:avLst/>
              <a:gdLst>
                <a:gd name="T0" fmla="*/ 75 w 476"/>
                <a:gd name="T1" fmla="*/ 16 h 303"/>
                <a:gd name="T2" fmla="*/ 72 w 476"/>
                <a:gd name="T3" fmla="*/ 18 h 303"/>
                <a:gd name="T4" fmla="*/ 73 w 476"/>
                <a:gd name="T5" fmla="*/ 20 h 303"/>
                <a:gd name="T6" fmla="*/ 72 w 476"/>
                <a:gd name="T7" fmla="*/ 20 h 303"/>
                <a:gd name="T8" fmla="*/ 68 w 476"/>
                <a:gd name="T9" fmla="*/ 21 h 303"/>
                <a:gd name="T10" fmla="*/ 49 w 476"/>
                <a:gd name="T11" fmla="*/ 26 h 303"/>
                <a:gd name="T12" fmla="*/ 45 w 476"/>
                <a:gd name="T13" fmla="*/ 30 h 303"/>
                <a:gd name="T14" fmla="*/ 39 w 476"/>
                <a:gd name="T15" fmla="*/ 30 h 303"/>
                <a:gd name="T16" fmla="*/ 37 w 476"/>
                <a:gd name="T17" fmla="*/ 31 h 303"/>
                <a:gd name="T18" fmla="*/ 30 w 476"/>
                <a:gd name="T19" fmla="*/ 33 h 303"/>
                <a:gd name="T20" fmla="*/ 24 w 476"/>
                <a:gd name="T21" fmla="*/ 33 h 303"/>
                <a:gd name="T22" fmla="*/ 21 w 476"/>
                <a:gd name="T23" fmla="*/ 34 h 303"/>
                <a:gd name="T24" fmla="*/ 14 w 476"/>
                <a:gd name="T25" fmla="*/ 37 h 303"/>
                <a:gd name="T26" fmla="*/ 11 w 476"/>
                <a:gd name="T27" fmla="*/ 37 h 303"/>
                <a:gd name="T28" fmla="*/ 8 w 476"/>
                <a:gd name="T29" fmla="*/ 37 h 303"/>
                <a:gd name="T30" fmla="*/ 6 w 476"/>
                <a:gd name="T31" fmla="*/ 35 h 303"/>
                <a:gd name="T32" fmla="*/ 4 w 476"/>
                <a:gd name="T33" fmla="*/ 30 h 303"/>
                <a:gd name="T34" fmla="*/ 2 w 476"/>
                <a:gd name="T35" fmla="*/ 23 h 303"/>
                <a:gd name="T36" fmla="*/ 0 w 476"/>
                <a:gd name="T37" fmla="*/ 22 h 303"/>
                <a:gd name="T38" fmla="*/ 1 w 476"/>
                <a:gd name="T39" fmla="*/ 22 h 303"/>
                <a:gd name="T40" fmla="*/ 1 w 476"/>
                <a:gd name="T41" fmla="*/ 21 h 303"/>
                <a:gd name="T42" fmla="*/ 1 w 476"/>
                <a:gd name="T43" fmla="*/ 19 h 303"/>
                <a:gd name="T44" fmla="*/ 1 w 476"/>
                <a:gd name="T45" fmla="*/ 18 h 303"/>
                <a:gd name="T46" fmla="*/ 1 w 476"/>
                <a:gd name="T47" fmla="*/ 16 h 303"/>
                <a:gd name="T48" fmla="*/ 3 w 476"/>
                <a:gd name="T49" fmla="*/ 14 h 303"/>
                <a:gd name="T50" fmla="*/ 5 w 476"/>
                <a:gd name="T51" fmla="*/ 13 h 303"/>
                <a:gd name="T52" fmla="*/ 6 w 476"/>
                <a:gd name="T53" fmla="*/ 12 h 303"/>
                <a:gd name="T54" fmla="*/ 13 w 476"/>
                <a:gd name="T55" fmla="*/ 9 h 303"/>
                <a:gd name="T56" fmla="*/ 33 w 476"/>
                <a:gd name="T57" fmla="*/ 12 h 303"/>
                <a:gd name="T58" fmla="*/ 36 w 476"/>
                <a:gd name="T59" fmla="*/ 11 h 303"/>
                <a:gd name="T60" fmla="*/ 42 w 476"/>
                <a:gd name="T61" fmla="*/ 5 h 303"/>
                <a:gd name="T62" fmla="*/ 71 w 476"/>
                <a:gd name="T63" fmla="*/ 0 h 3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76"/>
                <a:gd name="T97" fmla="*/ 0 h 303"/>
                <a:gd name="T98" fmla="*/ 476 w 476"/>
                <a:gd name="T99" fmla="*/ 303 h 3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76" h="303">
                  <a:moveTo>
                    <a:pt x="476" y="116"/>
                  </a:moveTo>
                  <a:lnTo>
                    <a:pt x="452" y="128"/>
                  </a:lnTo>
                  <a:lnTo>
                    <a:pt x="445" y="136"/>
                  </a:lnTo>
                  <a:lnTo>
                    <a:pt x="439" y="149"/>
                  </a:lnTo>
                  <a:lnTo>
                    <a:pt x="442" y="160"/>
                  </a:lnTo>
                  <a:lnTo>
                    <a:pt x="441" y="162"/>
                  </a:lnTo>
                  <a:lnTo>
                    <a:pt x="439" y="164"/>
                  </a:lnTo>
                  <a:lnTo>
                    <a:pt x="437" y="165"/>
                  </a:lnTo>
                  <a:lnTo>
                    <a:pt x="431" y="164"/>
                  </a:lnTo>
                  <a:lnTo>
                    <a:pt x="414" y="171"/>
                  </a:lnTo>
                  <a:lnTo>
                    <a:pt x="406" y="179"/>
                  </a:lnTo>
                  <a:lnTo>
                    <a:pt x="296" y="215"/>
                  </a:lnTo>
                  <a:lnTo>
                    <a:pt x="290" y="227"/>
                  </a:lnTo>
                  <a:lnTo>
                    <a:pt x="274" y="241"/>
                  </a:lnTo>
                  <a:lnTo>
                    <a:pt x="271" y="242"/>
                  </a:lnTo>
                  <a:lnTo>
                    <a:pt x="238" y="243"/>
                  </a:lnTo>
                  <a:lnTo>
                    <a:pt x="229" y="248"/>
                  </a:lnTo>
                  <a:lnTo>
                    <a:pt x="225" y="254"/>
                  </a:lnTo>
                  <a:lnTo>
                    <a:pt x="190" y="268"/>
                  </a:lnTo>
                  <a:lnTo>
                    <a:pt x="181" y="269"/>
                  </a:lnTo>
                  <a:lnTo>
                    <a:pt x="172" y="267"/>
                  </a:lnTo>
                  <a:lnTo>
                    <a:pt x="145" y="269"/>
                  </a:lnTo>
                  <a:lnTo>
                    <a:pt x="137" y="274"/>
                  </a:lnTo>
                  <a:lnTo>
                    <a:pt x="131" y="284"/>
                  </a:lnTo>
                  <a:lnTo>
                    <a:pt x="103" y="298"/>
                  </a:lnTo>
                  <a:lnTo>
                    <a:pt x="84" y="299"/>
                  </a:lnTo>
                  <a:lnTo>
                    <a:pt x="72" y="302"/>
                  </a:lnTo>
                  <a:lnTo>
                    <a:pt x="65" y="302"/>
                  </a:lnTo>
                  <a:lnTo>
                    <a:pt x="58" y="303"/>
                  </a:lnTo>
                  <a:lnTo>
                    <a:pt x="50" y="300"/>
                  </a:lnTo>
                  <a:lnTo>
                    <a:pt x="40" y="300"/>
                  </a:lnTo>
                  <a:lnTo>
                    <a:pt x="36" y="287"/>
                  </a:lnTo>
                  <a:lnTo>
                    <a:pt x="27" y="277"/>
                  </a:lnTo>
                  <a:lnTo>
                    <a:pt x="26" y="247"/>
                  </a:lnTo>
                  <a:lnTo>
                    <a:pt x="21" y="243"/>
                  </a:lnTo>
                  <a:lnTo>
                    <a:pt x="10" y="189"/>
                  </a:lnTo>
                  <a:lnTo>
                    <a:pt x="3" y="180"/>
                  </a:lnTo>
                  <a:lnTo>
                    <a:pt x="0" y="178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4" y="173"/>
                  </a:lnTo>
                  <a:lnTo>
                    <a:pt x="3" y="170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6" y="153"/>
                  </a:lnTo>
                  <a:lnTo>
                    <a:pt x="7" y="149"/>
                  </a:lnTo>
                  <a:lnTo>
                    <a:pt x="5" y="126"/>
                  </a:lnTo>
                  <a:lnTo>
                    <a:pt x="3" y="125"/>
                  </a:lnTo>
                  <a:lnTo>
                    <a:pt x="12" y="121"/>
                  </a:lnTo>
                  <a:lnTo>
                    <a:pt x="16" y="117"/>
                  </a:lnTo>
                  <a:lnTo>
                    <a:pt x="17" y="110"/>
                  </a:lnTo>
                  <a:lnTo>
                    <a:pt x="30" y="104"/>
                  </a:lnTo>
                  <a:lnTo>
                    <a:pt x="33" y="97"/>
                  </a:lnTo>
                  <a:lnTo>
                    <a:pt x="38" y="94"/>
                  </a:lnTo>
                  <a:lnTo>
                    <a:pt x="55" y="92"/>
                  </a:lnTo>
                  <a:lnTo>
                    <a:pt x="78" y="77"/>
                  </a:lnTo>
                  <a:lnTo>
                    <a:pt x="188" y="80"/>
                  </a:lnTo>
                  <a:lnTo>
                    <a:pt x="200" y="100"/>
                  </a:lnTo>
                  <a:lnTo>
                    <a:pt x="207" y="100"/>
                  </a:lnTo>
                  <a:lnTo>
                    <a:pt x="222" y="92"/>
                  </a:lnTo>
                  <a:lnTo>
                    <a:pt x="227" y="77"/>
                  </a:lnTo>
                  <a:lnTo>
                    <a:pt x="253" y="41"/>
                  </a:lnTo>
                  <a:lnTo>
                    <a:pt x="295" y="20"/>
                  </a:lnTo>
                  <a:lnTo>
                    <a:pt x="429" y="0"/>
                  </a:lnTo>
                  <a:lnTo>
                    <a:pt x="476" y="11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4" name="Freeform 152"/>
            <p:cNvSpPr>
              <a:spLocks/>
            </p:cNvSpPr>
            <p:nvPr/>
          </p:nvSpPr>
          <p:spPr bwMode="auto">
            <a:xfrm>
              <a:off x="5609312" y="2308531"/>
              <a:ext cx="568685" cy="302424"/>
            </a:xfrm>
            <a:custGeom>
              <a:avLst/>
              <a:gdLst>
                <a:gd name="T0" fmla="*/ 75 w 476"/>
                <a:gd name="T1" fmla="*/ 16 h 303"/>
                <a:gd name="T2" fmla="*/ 72 w 476"/>
                <a:gd name="T3" fmla="*/ 18 h 303"/>
                <a:gd name="T4" fmla="*/ 73 w 476"/>
                <a:gd name="T5" fmla="*/ 20 h 303"/>
                <a:gd name="T6" fmla="*/ 72 w 476"/>
                <a:gd name="T7" fmla="*/ 20 h 303"/>
                <a:gd name="T8" fmla="*/ 68 w 476"/>
                <a:gd name="T9" fmla="*/ 21 h 303"/>
                <a:gd name="T10" fmla="*/ 49 w 476"/>
                <a:gd name="T11" fmla="*/ 26 h 303"/>
                <a:gd name="T12" fmla="*/ 45 w 476"/>
                <a:gd name="T13" fmla="*/ 30 h 303"/>
                <a:gd name="T14" fmla="*/ 39 w 476"/>
                <a:gd name="T15" fmla="*/ 30 h 303"/>
                <a:gd name="T16" fmla="*/ 37 w 476"/>
                <a:gd name="T17" fmla="*/ 31 h 303"/>
                <a:gd name="T18" fmla="*/ 30 w 476"/>
                <a:gd name="T19" fmla="*/ 33 h 303"/>
                <a:gd name="T20" fmla="*/ 24 w 476"/>
                <a:gd name="T21" fmla="*/ 33 h 303"/>
                <a:gd name="T22" fmla="*/ 21 w 476"/>
                <a:gd name="T23" fmla="*/ 34 h 303"/>
                <a:gd name="T24" fmla="*/ 14 w 476"/>
                <a:gd name="T25" fmla="*/ 37 h 303"/>
                <a:gd name="T26" fmla="*/ 11 w 476"/>
                <a:gd name="T27" fmla="*/ 37 h 303"/>
                <a:gd name="T28" fmla="*/ 8 w 476"/>
                <a:gd name="T29" fmla="*/ 37 h 303"/>
                <a:gd name="T30" fmla="*/ 6 w 476"/>
                <a:gd name="T31" fmla="*/ 35 h 303"/>
                <a:gd name="T32" fmla="*/ 4 w 476"/>
                <a:gd name="T33" fmla="*/ 30 h 303"/>
                <a:gd name="T34" fmla="*/ 2 w 476"/>
                <a:gd name="T35" fmla="*/ 23 h 303"/>
                <a:gd name="T36" fmla="*/ 0 w 476"/>
                <a:gd name="T37" fmla="*/ 22 h 303"/>
                <a:gd name="T38" fmla="*/ 1 w 476"/>
                <a:gd name="T39" fmla="*/ 22 h 303"/>
                <a:gd name="T40" fmla="*/ 1 w 476"/>
                <a:gd name="T41" fmla="*/ 21 h 303"/>
                <a:gd name="T42" fmla="*/ 1 w 476"/>
                <a:gd name="T43" fmla="*/ 19 h 303"/>
                <a:gd name="T44" fmla="*/ 1 w 476"/>
                <a:gd name="T45" fmla="*/ 18 h 303"/>
                <a:gd name="T46" fmla="*/ 1 w 476"/>
                <a:gd name="T47" fmla="*/ 16 h 303"/>
                <a:gd name="T48" fmla="*/ 3 w 476"/>
                <a:gd name="T49" fmla="*/ 14 h 303"/>
                <a:gd name="T50" fmla="*/ 5 w 476"/>
                <a:gd name="T51" fmla="*/ 13 h 303"/>
                <a:gd name="T52" fmla="*/ 6 w 476"/>
                <a:gd name="T53" fmla="*/ 12 h 303"/>
                <a:gd name="T54" fmla="*/ 13 w 476"/>
                <a:gd name="T55" fmla="*/ 9 h 303"/>
                <a:gd name="T56" fmla="*/ 33 w 476"/>
                <a:gd name="T57" fmla="*/ 12 h 303"/>
                <a:gd name="T58" fmla="*/ 36 w 476"/>
                <a:gd name="T59" fmla="*/ 11 h 303"/>
                <a:gd name="T60" fmla="*/ 42 w 476"/>
                <a:gd name="T61" fmla="*/ 5 h 303"/>
                <a:gd name="T62" fmla="*/ 71 w 476"/>
                <a:gd name="T63" fmla="*/ 0 h 303"/>
                <a:gd name="T64" fmla="*/ 79 w 476"/>
                <a:gd name="T65" fmla="*/ 14 h 3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76"/>
                <a:gd name="T100" fmla="*/ 0 h 303"/>
                <a:gd name="T101" fmla="*/ 476 w 476"/>
                <a:gd name="T102" fmla="*/ 303 h 3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76" h="303">
                  <a:moveTo>
                    <a:pt x="476" y="116"/>
                  </a:moveTo>
                  <a:lnTo>
                    <a:pt x="452" y="128"/>
                  </a:lnTo>
                  <a:lnTo>
                    <a:pt x="445" y="136"/>
                  </a:lnTo>
                  <a:lnTo>
                    <a:pt x="439" y="149"/>
                  </a:lnTo>
                  <a:lnTo>
                    <a:pt x="442" y="160"/>
                  </a:lnTo>
                  <a:lnTo>
                    <a:pt x="441" y="162"/>
                  </a:lnTo>
                  <a:lnTo>
                    <a:pt x="439" y="164"/>
                  </a:lnTo>
                  <a:lnTo>
                    <a:pt x="437" y="165"/>
                  </a:lnTo>
                  <a:lnTo>
                    <a:pt x="431" y="164"/>
                  </a:lnTo>
                  <a:lnTo>
                    <a:pt x="414" y="171"/>
                  </a:lnTo>
                  <a:lnTo>
                    <a:pt x="406" y="179"/>
                  </a:lnTo>
                  <a:lnTo>
                    <a:pt x="296" y="215"/>
                  </a:lnTo>
                  <a:lnTo>
                    <a:pt x="290" y="227"/>
                  </a:lnTo>
                  <a:lnTo>
                    <a:pt x="274" y="241"/>
                  </a:lnTo>
                  <a:lnTo>
                    <a:pt x="271" y="242"/>
                  </a:lnTo>
                  <a:lnTo>
                    <a:pt x="238" y="243"/>
                  </a:lnTo>
                  <a:lnTo>
                    <a:pt x="229" y="248"/>
                  </a:lnTo>
                  <a:lnTo>
                    <a:pt x="225" y="254"/>
                  </a:lnTo>
                  <a:lnTo>
                    <a:pt x="190" y="268"/>
                  </a:lnTo>
                  <a:lnTo>
                    <a:pt x="181" y="269"/>
                  </a:lnTo>
                  <a:lnTo>
                    <a:pt x="172" y="267"/>
                  </a:lnTo>
                  <a:lnTo>
                    <a:pt x="145" y="269"/>
                  </a:lnTo>
                  <a:lnTo>
                    <a:pt x="137" y="274"/>
                  </a:lnTo>
                  <a:lnTo>
                    <a:pt x="131" y="284"/>
                  </a:lnTo>
                  <a:lnTo>
                    <a:pt x="103" y="298"/>
                  </a:lnTo>
                  <a:lnTo>
                    <a:pt x="84" y="299"/>
                  </a:lnTo>
                  <a:lnTo>
                    <a:pt x="72" y="302"/>
                  </a:lnTo>
                  <a:lnTo>
                    <a:pt x="65" y="302"/>
                  </a:lnTo>
                  <a:lnTo>
                    <a:pt x="58" y="303"/>
                  </a:lnTo>
                  <a:lnTo>
                    <a:pt x="50" y="300"/>
                  </a:lnTo>
                  <a:lnTo>
                    <a:pt x="40" y="300"/>
                  </a:lnTo>
                  <a:lnTo>
                    <a:pt x="36" y="287"/>
                  </a:lnTo>
                  <a:lnTo>
                    <a:pt x="27" y="277"/>
                  </a:lnTo>
                  <a:lnTo>
                    <a:pt x="26" y="247"/>
                  </a:lnTo>
                  <a:lnTo>
                    <a:pt x="21" y="243"/>
                  </a:lnTo>
                  <a:lnTo>
                    <a:pt x="10" y="189"/>
                  </a:lnTo>
                  <a:lnTo>
                    <a:pt x="3" y="180"/>
                  </a:lnTo>
                  <a:lnTo>
                    <a:pt x="0" y="178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4" y="173"/>
                  </a:lnTo>
                  <a:lnTo>
                    <a:pt x="3" y="170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6" y="153"/>
                  </a:lnTo>
                  <a:lnTo>
                    <a:pt x="7" y="149"/>
                  </a:lnTo>
                  <a:lnTo>
                    <a:pt x="5" y="126"/>
                  </a:lnTo>
                  <a:lnTo>
                    <a:pt x="3" y="125"/>
                  </a:lnTo>
                  <a:lnTo>
                    <a:pt x="12" y="121"/>
                  </a:lnTo>
                  <a:lnTo>
                    <a:pt x="16" y="117"/>
                  </a:lnTo>
                  <a:lnTo>
                    <a:pt x="17" y="110"/>
                  </a:lnTo>
                  <a:lnTo>
                    <a:pt x="30" y="104"/>
                  </a:lnTo>
                  <a:lnTo>
                    <a:pt x="33" y="97"/>
                  </a:lnTo>
                  <a:lnTo>
                    <a:pt x="38" y="94"/>
                  </a:lnTo>
                  <a:lnTo>
                    <a:pt x="55" y="92"/>
                  </a:lnTo>
                  <a:lnTo>
                    <a:pt x="78" y="77"/>
                  </a:lnTo>
                  <a:lnTo>
                    <a:pt x="188" y="80"/>
                  </a:lnTo>
                  <a:lnTo>
                    <a:pt x="200" y="100"/>
                  </a:lnTo>
                  <a:lnTo>
                    <a:pt x="207" y="100"/>
                  </a:lnTo>
                  <a:lnTo>
                    <a:pt x="222" y="92"/>
                  </a:lnTo>
                  <a:lnTo>
                    <a:pt x="227" y="77"/>
                  </a:lnTo>
                  <a:lnTo>
                    <a:pt x="253" y="41"/>
                  </a:lnTo>
                  <a:lnTo>
                    <a:pt x="295" y="20"/>
                  </a:lnTo>
                  <a:lnTo>
                    <a:pt x="429" y="0"/>
                  </a:lnTo>
                  <a:lnTo>
                    <a:pt x="476" y="11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5" name="Freeform 153"/>
            <p:cNvSpPr>
              <a:spLocks/>
            </p:cNvSpPr>
            <p:nvPr/>
          </p:nvSpPr>
          <p:spPr bwMode="auto">
            <a:xfrm>
              <a:off x="3901225" y="3453289"/>
              <a:ext cx="696638" cy="567741"/>
            </a:xfrm>
            <a:custGeom>
              <a:avLst/>
              <a:gdLst>
                <a:gd name="T0" fmla="*/ 1 w 578"/>
                <a:gd name="T1" fmla="*/ 56 h 571"/>
                <a:gd name="T2" fmla="*/ 6 w 578"/>
                <a:gd name="T3" fmla="*/ 45 h 571"/>
                <a:gd name="T4" fmla="*/ 7 w 578"/>
                <a:gd name="T5" fmla="*/ 43 h 571"/>
                <a:gd name="T6" fmla="*/ 8 w 578"/>
                <a:gd name="T7" fmla="*/ 42 h 571"/>
                <a:gd name="T8" fmla="*/ 10 w 578"/>
                <a:gd name="T9" fmla="*/ 39 h 571"/>
                <a:gd name="T10" fmla="*/ 15 w 578"/>
                <a:gd name="T11" fmla="*/ 35 h 571"/>
                <a:gd name="T12" fmla="*/ 17 w 578"/>
                <a:gd name="T13" fmla="*/ 28 h 571"/>
                <a:gd name="T14" fmla="*/ 15 w 578"/>
                <a:gd name="T15" fmla="*/ 25 h 571"/>
                <a:gd name="T16" fmla="*/ 14 w 578"/>
                <a:gd name="T17" fmla="*/ 23 h 571"/>
                <a:gd name="T18" fmla="*/ 12 w 578"/>
                <a:gd name="T19" fmla="*/ 18 h 571"/>
                <a:gd name="T20" fmla="*/ 14 w 578"/>
                <a:gd name="T21" fmla="*/ 14 h 571"/>
                <a:gd name="T22" fmla="*/ 12 w 578"/>
                <a:gd name="T23" fmla="*/ 12 h 571"/>
                <a:gd name="T24" fmla="*/ 5 w 578"/>
                <a:gd name="T25" fmla="*/ 3 h 571"/>
                <a:gd name="T26" fmla="*/ 6 w 578"/>
                <a:gd name="T27" fmla="*/ 2 h 571"/>
                <a:gd name="T28" fmla="*/ 22 w 578"/>
                <a:gd name="T29" fmla="*/ 0 h 571"/>
                <a:gd name="T30" fmla="*/ 36 w 578"/>
                <a:gd name="T31" fmla="*/ 0 h 571"/>
                <a:gd name="T32" fmla="*/ 37 w 578"/>
                <a:gd name="T33" fmla="*/ 1 h 571"/>
                <a:gd name="T34" fmla="*/ 39 w 578"/>
                <a:gd name="T35" fmla="*/ 1 h 571"/>
                <a:gd name="T36" fmla="*/ 46 w 578"/>
                <a:gd name="T37" fmla="*/ 12 h 571"/>
                <a:gd name="T38" fmla="*/ 50 w 578"/>
                <a:gd name="T39" fmla="*/ 13 h 571"/>
                <a:gd name="T40" fmla="*/ 60 w 578"/>
                <a:gd name="T41" fmla="*/ 12 h 571"/>
                <a:gd name="T42" fmla="*/ 61 w 578"/>
                <a:gd name="T43" fmla="*/ 9 h 571"/>
                <a:gd name="T44" fmla="*/ 68 w 578"/>
                <a:gd name="T45" fmla="*/ 6 h 571"/>
                <a:gd name="T46" fmla="*/ 72 w 578"/>
                <a:gd name="T47" fmla="*/ 6 h 571"/>
                <a:gd name="T48" fmla="*/ 79 w 578"/>
                <a:gd name="T49" fmla="*/ 8 h 571"/>
                <a:gd name="T50" fmla="*/ 80 w 578"/>
                <a:gd name="T51" fmla="*/ 17 h 571"/>
                <a:gd name="T52" fmla="*/ 80 w 578"/>
                <a:gd name="T53" fmla="*/ 21 h 571"/>
                <a:gd name="T54" fmla="*/ 84 w 578"/>
                <a:gd name="T55" fmla="*/ 27 h 571"/>
                <a:gd name="T56" fmla="*/ 81 w 578"/>
                <a:gd name="T57" fmla="*/ 29 h 571"/>
                <a:gd name="T58" fmla="*/ 81 w 578"/>
                <a:gd name="T59" fmla="*/ 29 h 571"/>
                <a:gd name="T60" fmla="*/ 83 w 578"/>
                <a:gd name="T61" fmla="*/ 30 h 571"/>
                <a:gd name="T62" fmla="*/ 84 w 578"/>
                <a:gd name="T63" fmla="*/ 30 h 571"/>
                <a:gd name="T64" fmla="*/ 85 w 578"/>
                <a:gd name="T65" fmla="*/ 28 h 571"/>
                <a:gd name="T66" fmla="*/ 94 w 578"/>
                <a:gd name="T67" fmla="*/ 28 h 571"/>
                <a:gd name="T68" fmla="*/ 96 w 578"/>
                <a:gd name="T69" fmla="*/ 28 h 571"/>
                <a:gd name="T70" fmla="*/ 97 w 578"/>
                <a:gd name="T71" fmla="*/ 27 h 571"/>
                <a:gd name="T72" fmla="*/ 98 w 578"/>
                <a:gd name="T73" fmla="*/ 28 h 571"/>
                <a:gd name="T74" fmla="*/ 97 w 578"/>
                <a:gd name="T75" fmla="*/ 29 h 571"/>
                <a:gd name="T76" fmla="*/ 97 w 578"/>
                <a:gd name="T77" fmla="*/ 39 h 571"/>
                <a:gd name="T78" fmla="*/ 97 w 578"/>
                <a:gd name="T79" fmla="*/ 39 h 571"/>
                <a:gd name="T80" fmla="*/ 82 w 578"/>
                <a:gd name="T81" fmla="*/ 40 h 571"/>
                <a:gd name="T82" fmla="*/ 82 w 578"/>
                <a:gd name="T83" fmla="*/ 61 h 571"/>
                <a:gd name="T84" fmla="*/ 89 w 578"/>
                <a:gd name="T85" fmla="*/ 65 h 571"/>
                <a:gd name="T86" fmla="*/ 91 w 578"/>
                <a:gd name="T87" fmla="*/ 65 h 571"/>
                <a:gd name="T88" fmla="*/ 77 w 578"/>
                <a:gd name="T89" fmla="*/ 69 h 571"/>
                <a:gd name="T90" fmla="*/ 56 w 578"/>
                <a:gd name="T91" fmla="*/ 66 h 571"/>
                <a:gd name="T92" fmla="*/ 53 w 578"/>
                <a:gd name="T93" fmla="*/ 64 h 571"/>
                <a:gd name="T94" fmla="*/ 16 w 578"/>
                <a:gd name="T95" fmla="*/ 63 h 571"/>
                <a:gd name="T96" fmla="*/ 14 w 578"/>
                <a:gd name="T97" fmla="*/ 62 h 571"/>
                <a:gd name="T98" fmla="*/ 7 w 578"/>
                <a:gd name="T99" fmla="*/ 62 h 571"/>
                <a:gd name="T100" fmla="*/ 5 w 578"/>
                <a:gd name="T101" fmla="*/ 63 h 571"/>
                <a:gd name="T102" fmla="*/ 1 w 578"/>
                <a:gd name="T103" fmla="*/ 64 h 571"/>
                <a:gd name="T104" fmla="*/ 1 w 578"/>
                <a:gd name="T105" fmla="*/ 61 h 5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71"/>
                <a:gd name="T161" fmla="*/ 578 w 578"/>
                <a:gd name="T162" fmla="*/ 571 h 5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71">
                  <a:moveTo>
                    <a:pt x="5" y="496"/>
                  </a:moveTo>
                  <a:lnTo>
                    <a:pt x="6" y="470"/>
                  </a:lnTo>
                  <a:lnTo>
                    <a:pt x="12" y="462"/>
                  </a:lnTo>
                  <a:lnTo>
                    <a:pt x="36" y="375"/>
                  </a:lnTo>
                  <a:lnTo>
                    <a:pt x="36" y="368"/>
                  </a:lnTo>
                  <a:lnTo>
                    <a:pt x="39" y="364"/>
                  </a:lnTo>
                  <a:lnTo>
                    <a:pt x="40" y="359"/>
                  </a:lnTo>
                  <a:lnTo>
                    <a:pt x="45" y="347"/>
                  </a:lnTo>
                  <a:lnTo>
                    <a:pt x="57" y="335"/>
                  </a:lnTo>
                  <a:lnTo>
                    <a:pt x="58" y="324"/>
                  </a:lnTo>
                  <a:lnTo>
                    <a:pt x="76" y="317"/>
                  </a:lnTo>
                  <a:lnTo>
                    <a:pt x="90" y="297"/>
                  </a:lnTo>
                  <a:lnTo>
                    <a:pt x="97" y="240"/>
                  </a:lnTo>
                  <a:lnTo>
                    <a:pt x="102" y="234"/>
                  </a:lnTo>
                  <a:lnTo>
                    <a:pt x="97" y="219"/>
                  </a:lnTo>
                  <a:lnTo>
                    <a:pt x="87" y="210"/>
                  </a:lnTo>
                  <a:lnTo>
                    <a:pt x="83" y="200"/>
                  </a:lnTo>
                  <a:lnTo>
                    <a:pt x="79" y="194"/>
                  </a:lnTo>
                  <a:lnTo>
                    <a:pt x="69" y="156"/>
                  </a:lnTo>
                  <a:lnTo>
                    <a:pt x="69" y="150"/>
                  </a:lnTo>
                  <a:lnTo>
                    <a:pt x="79" y="138"/>
                  </a:lnTo>
                  <a:lnTo>
                    <a:pt x="79" y="124"/>
                  </a:lnTo>
                  <a:lnTo>
                    <a:pt x="76" y="113"/>
                  </a:lnTo>
                  <a:lnTo>
                    <a:pt x="70" y="104"/>
                  </a:lnTo>
                  <a:lnTo>
                    <a:pt x="56" y="57"/>
                  </a:lnTo>
                  <a:lnTo>
                    <a:pt x="32" y="23"/>
                  </a:lnTo>
                  <a:lnTo>
                    <a:pt x="34" y="21"/>
                  </a:lnTo>
                  <a:lnTo>
                    <a:pt x="35" y="18"/>
                  </a:lnTo>
                  <a:lnTo>
                    <a:pt x="78" y="1"/>
                  </a:lnTo>
                  <a:lnTo>
                    <a:pt x="128" y="0"/>
                  </a:lnTo>
                  <a:lnTo>
                    <a:pt x="135" y="1"/>
                  </a:lnTo>
                  <a:lnTo>
                    <a:pt x="213" y="0"/>
                  </a:lnTo>
                  <a:lnTo>
                    <a:pt x="215" y="1"/>
                  </a:lnTo>
                  <a:lnTo>
                    <a:pt x="219" y="7"/>
                  </a:lnTo>
                  <a:lnTo>
                    <a:pt x="222" y="7"/>
                  </a:lnTo>
                  <a:lnTo>
                    <a:pt x="226" y="6"/>
                  </a:lnTo>
                  <a:lnTo>
                    <a:pt x="245" y="68"/>
                  </a:lnTo>
                  <a:lnTo>
                    <a:pt x="273" y="102"/>
                  </a:lnTo>
                  <a:lnTo>
                    <a:pt x="284" y="106"/>
                  </a:lnTo>
                  <a:lnTo>
                    <a:pt x="295" y="106"/>
                  </a:lnTo>
                  <a:lnTo>
                    <a:pt x="323" y="98"/>
                  </a:lnTo>
                  <a:lnTo>
                    <a:pt x="353" y="99"/>
                  </a:lnTo>
                  <a:lnTo>
                    <a:pt x="357" y="81"/>
                  </a:lnTo>
                  <a:lnTo>
                    <a:pt x="360" y="77"/>
                  </a:lnTo>
                  <a:lnTo>
                    <a:pt x="365" y="54"/>
                  </a:lnTo>
                  <a:lnTo>
                    <a:pt x="401" y="54"/>
                  </a:lnTo>
                  <a:lnTo>
                    <a:pt x="402" y="49"/>
                  </a:lnTo>
                  <a:lnTo>
                    <a:pt x="422" y="49"/>
                  </a:lnTo>
                  <a:lnTo>
                    <a:pt x="421" y="67"/>
                  </a:lnTo>
                  <a:lnTo>
                    <a:pt x="462" y="68"/>
                  </a:lnTo>
                  <a:lnTo>
                    <a:pt x="466" y="78"/>
                  </a:lnTo>
                  <a:lnTo>
                    <a:pt x="472" y="142"/>
                  </a:lnTo>
                  <a:lnTo>
                    <a:pt x="469" y="156"/>
                  </a:lnTo>
                  <a:lnTo>
                    <a:pt x="471" y="174"/>
                  </a:lnTo>
                  <a:lnTo>
                    <a:pt x="490" y="218"/>
                  </a:lnTo>
                  <a:lnTo>
                    <a:pt x="489" y="224"/>
                  </a:lnTo>
                  <a:lnTo>
                    <a:pt x="475" y="239"/>
                  </a:lnTo>
                  <a:lnTo>
                    <a:pt x="475" y="242"/>
                  </a:lnTo>
                  <a:lnTo>
                    <a:pt x="476" y="244"/>
                  </a:lnTo>
                  <a:lnTo>
                    <a:pt x="477" y="245"/>
                  </a:lnTo>
                  <a:lnTo>
                    <a:pt x="481" y="246"/>
                  </a:lnTo>
                  <a:lnTo>
                    <a:pt x="486" y="252"/>
                  </a:lnTo>
                  <a:lnTo>
                    <a:pt x="491" y="253"/>
                  </a:lnTo>
                  <a:lnTo>
                    <a:pt x="493" y="252"/>
                  </a:lnTo>
                  <a:lnTo>
                    <a:pt x="497" y="240"/>
                  </a:lnTo>
                  <a:lnTo>
                    <a:pt x="501" y="238"/>
                  </a:lnTo>
                  <a:lnTo>
                    <a:pt x="543" y="238"/>
                  </a:lnTo>
                  <a:lnTo>
                    <a:pt x="553" y="235"/>
                  </a:lnTo>
                  <a:lnTo>
                    <a:pt x="559" y="237"/>
                  </a:lnTo>
                  <a:lnTo>
                    <a:pt x="562" y="237"/>
                  </a:lnTo>
                  <a:lnTo>
                    <a:pt x="569" y="231"/>
                  </a:lnTo>
                  <a:lnTo>
                    <a:pt x="571" y="231"/>
                  </a:lnTo>
                  <a:lnTo>
                    <a:pt x="573" y="234"/>
                  </a:lnTo>
                  <a:lnTo>
                    <a:pt x="574" y="237"/>
                  </a:lnTo>
                  <a:lnTo>
                    <a:pt x="572" y="238"/>
                  </a:lnTo>
                  <a:lnTo>
                    <a:pt x="571" y="240"/>
                  </a:lnTo>
                  <a:lnTo>
                    <a:pt x="573" y="249"/>
                  </a:lnTo>
                  <a:lnTo>
                    <a:pt x="566" y="322"/>
                  </a:lnTo>
                  <a:lnTo>
                    <a:pt x="568" y="325"/>
                  </a:lnTo>
                  <a:lnTo>
                    <a:pt x="571" y="328"/>
                  </a:lnTo>
                  <a:lnTo>
                    <a:pt x="578" y="331"/>
                  </a:lnTo>
                  <a:lnTo>
                    <a:pt x="479" y="331"/>
                  </a:lnTo>
                  <a:lnTo>
                    <a:pt x="479" y="501"/>
                  </a:lnTo>
                  <a:lnTo>
                    <a:pt x="484" y="506"/>
                  </a:lnTo>
                  <a:lnTo>
                    <a:pt x="488" y="512"/>
                  </a:lnTo>
                  <a:lnTo>
                    <a:pt x="523" y="540"/>
                  </a:lnTo>
                  <a:lnTo>
                    <a:pt x="527" y="545"/>
                  </a:lnTo>
                  <a:lnTo>
                    <a:pt x="533" y="548"/>
                  </a:lnTo>
                  <a:lnTo>
                    <a:pt x="531" y="550"/>
                  </a:lnTo>
                  <a:lnTo>
                    <a:pt x="451" y="571"/>
                  </a:lnTo>
                  <a:lnTo>
                    <a:pt x="448" y="568"/>
                  </a:lnTo>
                  <a:lnTo>
                    <a:pt x="327" y="553"/>
                  </a:lnTo>
                  <a:lnTo>
                    <a:pt x="320" y="546"/>
                  </a:lnTo>
                  <a:lnTo>
                    <a:pt x="308" y="536"/>
                  </a:lnTo>
                  <a:lnTo>
                    <a:pt x="105" y="538"/>
                  </a:lnTo>
                  <a:lnTo>
                    <a:pt x="93" y="527"/>
                  </a:lnTo>
                  <a:lnTo>
                    <a:pt x="83" y="523"/>
                  </a:lnTo>
                  <a:lnTo>
                    <a:pt x="79" y="516"/>
                  </a:lnTo>
                  <a:lnTo>
                    <a:pt x="51" y="515"/>
                  </a:lnTo>
                  <a:lnTo>
                    <a:pt x="44" y="518"/>
                  </a:lnTo>
                  <a:lnTo>
                    <a:pt x="35" y="526"/>
                  </a:lnTo>
                  <a:lnTo>
                    <a:pt x="29" y="528"/>
                  </a:lnTo>
                  <a:lnTo>
                    <a:pt x="21" y="523"/>
                  </a:lnTo>
                  <a:lnTo>
                    <a:pt x="3" y="536"/>
                  </a:lnTo>
                  <a:lnTo>
                    <a:pt x="0" y="504"/>
                  </a:lnTo>
                  <a:lnTo>
                    <a:pt x="5" y="506"/>
                  </a:lnTo>
                  <a:lnTo>
                    <a:pt x="5" y="49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6" name="Freeform 154"/>
            <p:cNvSpPr>
              <a:spLocks/>
            </p:cNvSpPr>
            <p:nvPr/>
          </p:nvSpPr>
          <p:spPr bwMode="auto">
            <a:xfrm>
              <a:off x="3901225" y="3453289"/>
              <a:ext cx="696638" cy="567741"/>
            </a:xfrm>
            <a:custGeom>
              <a:avLst/>
              <a:gdLst>
                <a:gd name="T0" fmla="*/ 1 w 578"/>
                <a:gd name="T1" fmla="*/ 56 h 571"/>
                <a:gd name="T2" fmla="*/ 6 w 578"/>
                <a:gd name="T3" fmla="*/ 45 h 571"/>
                <a:gd name="T4" fmla="*/ 7 w 578"/>
                <a:gd name="T5" fmla="*/ 43 h 571"/>
                <a:gd name="T6" fmla="*/ 8 w 578"/>
                <a:gd name="T7" fmla="*/ 42 h 571"/>
                <a:gd name="T8" fmla="*/ 10 w 578"/>
                <a:gd name="T9" fmla="*/ 39 h 571"/>
                <a:gd name="T10" fmla="*/ 15 w 578"/>
                <a:gd name="T11" fmla="*/ 35 h 571"/>
                <a:gd name="T12" fmla="*/ 17 w 578"/>
                <a:gd name="T13" fmla="*/ 28 h 571"/>
                <a:gd name="T14" fmla="*/ 15 w 578"/>
                <a:gd name="T15" fmla="*/ 25 h 571"/>
                <a:gd name="T16" fmla="*/ 14 w 578"/>
                <a:gd name="T17" fmla="*/ 23 h 571"/>
                <a:gd name="T18" fmla="*/ 12 w 578"/>
                <a:gd name="T19" fmla="*/ 18 h 571"/>
                <a:gd name="T20" fmla="*/ 14 w 578"/>
                <a:gd name="T21" fmla="*/ 14 h 571"/>
                <a:gd name="T22" fmla="*/ 12 w 578"/>
                <a:gd name="T23" fmla="*/ 12 h 571"/>
                <a:gd name="T24" fmla="*/ 5 w 578"/>
                <a:gd name="T25" fmla="*/ 3 h 571"/>
                <a:gd name="T26" fmla="*/ 6 w 578"/>
                <a:gd name="T27" fmla="*/ 2 h 571"/>
                <a:gd name="T28" fmla="*/ 22 w 578"/>
                <a:gd name="T29" fmla="*/ 0 h 571"/>
                <a:gd name="T30" fmla="*/ 36 w 578"/>
                <a:gd name="T31" fmla="*/ 0 h 571"/>
                <a:gd name="T32" fmla="*/ 37 w 578"/>
                <a:gd name="T33" fmla="*/ 1 h 571"/>
                <a:gd name="T34" fmla="*/ 39 w 578"/>
                <a:gd name="T35" fmla="*/ 1 h 571"/>
                <a:gd name="T36" fmla="*/ 46 w 578"/>
                <a:gd name="T37" fmla="*/ 12 h 571"/>
                <a:gd name="T38" fmla="*/ 50 w 578"/>
                <a:gd name="T39" fmla="*/ 13 h 571"/>
                <a:gd name="T40" fmla="*/ 60 w 578"/>
                <a:gd name="T41" fmla="*/ 12 h 571"/>
                <a:gd name="T42" fmla="*/ 61 w 578"/>
                <a:gd name="T43" fmla="*/ 9 h 571"/>
                <a:gd name="T44" fmla="*/ 68 w 578"/>
                <a:gd name="T45" fmla="*/ 6 h 571"/>
                <a:gd name="T46" fmla="*/ 72 w 578"/>
                <a:gd name="T47" fmla="*/ 6 h 571"/>
                <a:gd name="T48" fmla="*/ 79 w 578"/>
                <a:gd name="T49" fmla="*/ 8 h 571"/>
                <a:gd name="T50" fmla="*/ 80 w 578"/>
                <a:gd name="T51" fmla="*/ 17 h 571"/>
                <a:gd name="T52" fmla="*/ 80 w 578"/>
                <a:gd name="T53" fmla="*/ 21 h 571"/>
                <a:gd name="T54" fmla="*/ 84 w 578"/>
                <a:gd name="T55" fmla="*/ 27 h 571"/>
                <a:gd name="T56" fmla="*/ 81 w 578"/>
                <a:gd name="T57" fmla="*/ 29 h 571"/>
                <a:gd name="T58" fmla="*/ 81 w 578"/>
                <a:gd name="T59" fmla="*/ 29 h 571"/>
                <a:gd name="T60" fmla="*/ 83 w 578"/>
                <a:gd name="T61" fmla="*/ 30 h 571"/>
                <a:gd name="T62" fmla="*/ 84 w 578"/>
                <a:gd name="T63" fmla="*/ 30 h 571"/>
                <a:gd name="T64" fmla="*/ 85 w 578"/>
                <a:gd name="T65" fmla="*/ 28 h 571"/>
                <a:gd name="T66" fmla="*/ 94 w 578"/>
                <a:gd name="T67" fmla="*/ 28 h 571"/>
                <a:gd name="T68" fmla="*/ 96 w 578"/>
                <a:gd name="T69" fmla="*/ 28 h 571"/>
                <a:gd name="T70" fmla="*/ 97 w 578"/>
                <a:gd name="T71" fmla="*/ 27 h 571"/>
                <a:gd name="T72" fmla="*/ 98 w 578"/>
                <a:gd name="T73" fmla="*/ 28 h 571"/>
                <a:gd name="T74" fmla="*/ 97 w 578"/>
                <a:gd name="T75" fmla="*/ 29 h 571"/>
                <a:gd name="T76" fmla="*/ 97 w 578"/>
                <a:gd name="T77" fmla="*/ 39 h 571"/>
                <a:gd name="T78" fmla="*/ 97 w 578"/>
                <a:gd name="T79" fmla="*/ 39 h 571"/>
                <a:gd name="T80" fmla="*/ 82 w 578"/>
                <a:gd name="T81" fmla="*/ 40 h 571"/>
                <a:gd name="T82" fmla="*/ 82 w 578"/>
                <a:gd name="T83" fmla="*/ 61 h 571"/>
                <a:gd name="T84" fmla="*/ 89 w 578"/>
                <a:gd name="T85" fmla="*/ 65 h 571"/>
                <a:gd name="T86" fmla="*/ 91 w 578"/>
                <a:gd name="T87" fmla="*/ 65 h 571"/>
                <a:gd name="T88" fmla="*/ 77 w 578"/>
                <a:gd name="T89" fmla="*/ 69 h 571"/>
                <a:gd name="T90" fmla="*/ 56 w 578"/>
                <a:gd name="T91" fmla="*/ 66 h 571"/>
                <a:gd name="T92" fmla="*/ 53 w 578"/>
                <a:gd name="T93" fmla="*/ 64 h 571"/>
                <a:gd name="T94" fmla="*/ 16 w 578"/>
                <a:gd name="T95" fmla="*/ 63 h 571"/>
                <a:gd name="T96" fmla="*/ 14 w 578"/>
                <a:gd name="T97" fmla="*/ 62 h 571"/>
                <a:gd name="T98" fmla="*/ 7 w 578"/>
                <a:gd name="T99" fmla="*/ 62 h 571"/>
                <a:gd name="T100" fmla="*/ 5 w 578"/>
                <a:gd name="T101" fmla="*/ 63 h 571"/>
                <a:gd name="T102" fmla="*/ 1 w 578"/>
                <a:gd name="T103" fmla="*/ 64 h 571"/>
                <a:gd name="T104" fmla="*/ 1 w 578"/>
                <a:gd name="T105" fmla="*/ 61 h 5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71"/>
                <a:gd name="T161" fmla="*/ 578 w 578"/>
                <a:gd name="T162" fmla="*/ 571 h 5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71">
                  <a:moveTo>
                    <a:pt x="5" y="496"/>
                  </a:moveTo>
                  <a:lnTo>
                    <a:pt x="6" y="470"/>
                  </a:lnTo>
                  <a:lnTo>
                    <a:pt x="12" y="462"/>
                  </a:lnTo>
                  <a:lnTo>
                    <a:pt x="36" y="375"/>
                  </a:lnTo>
                  <a:lnTo>
                    <a:pt x="36" y="368"/>
                  </a:lnTo>
                  <a:lnTo>
                    <a:pt x="39" y="364"/>
                  </a:lnTo>
                  <a:lnTo>
                    <a:pt x="40" y="359"/>
                  </a:lnTo>
                  <a:lnTo>
                    <a:pt x="45" y="347"/>
                  </a:lnTo>
                  <a:lnTo>
                    <a:pt x="57" y="335"/>
                  </a:lnTo>
                  <a:lnTo>
                    <a:pt x="58" y="324"/>
                  </a:lnTo>
                  <a:lnTo>
                    <a:pt x="76" y="317"/>
                  </a:lnTo>
                  <a:lnTo>
                    <a:pt x="90" y="297"/>
                  </a:lnTo>
                  <a:lnTo>
                    <a:pt x="97" y="240"/>
                  </a:lnTo>
                  <a:lnTo>
                    <a:pt x="102" y="234"/>
                  </a:lnTo>
                  <a:lnTo>
                    <a:pt x="97" y="219"/>
                  </a:lnTo>
                  <a:lnTo>
                    <a:pt x="87" y="210"/>
                  </a:lnTo>
                  <a:lnTo>
                    <a:pt x="83" y="200"/>
                  </a:lnTo>
                  <a:lnTo>
                    <a:pt x="79" y="194"/>
                  </a:lnTo>
                  <a:lnTo>
                    <a:pt x="69" y="156"/>
                  </a:lnTo>
                  <a:lnTo>
                    <a:pt x="69" y="150"/>
                  </a:lnTo>
                  <a:lnTo>
                    <a:pt x="79" y="138"/>
                  </a:lnTo>
                  <a:lnTo>
                    <a:pt x="79" y="124"/>
                  </a:lnTo>
                  <a:lnTo>
                    <a:pt x="76" y="113"/>
                  </a:lnTo>
                  <a:lnTo>
                    <a:pt x="70" y="104"/>
                  </a:lnTo>
                  <a:lnTo>
                    <a:pt x="56" y="57"/>
                  </a:lnTo>
                  <a:lnTo>
                    <a:pt x="32" y="23"/>
                  </a:lnTo>
                  <a:lnTo>
                    <a:pt x="34" y="21"/>
                  </a:lnTo>
                  <a:lnTo>
                    <a:pt x="35" y="18"/>
                  </a:lnTo>
                  <a:lnTo>
                    <a:pt x="78" y="1"/>
                  </a:lnTo>
                  <a:lnTo>
                    <a:pt x="128" y="0"/>
                  </a:lnTo>
                  <a:lnTo>
                    <a:pt x="135" y="1"/>
                  </a:lnTo>
                  <a:lnTo>
                    <a:pt x="213" y="0"/>
                  </a:lnTo>
                  <a:lnTo>
                    <a:pt x="215" y="1"/>
                  </a:lnTo>
                  <a:lnTo>
                    <a:pt x="219" y="7"/>
                  </a:lnTo>
                  <a:lnTo>
                    <a:pt x="222" y="7"/>
                  </a:lnTo>
                  <a:lnTo>
                    <a:pt x="226" y="6"/>
                  </a:lnTo>
                  <a:lnTo>
                    <a:pt x="245" y="68"/>
                  </a:lnTo>
                  <a:lnTo>
                    <a:pt x="273" y="102"/>
                  </a:lnTo>
                  <a:lnTo>
                    <a:pt x="284" y="106"/>
                  </a:lnTo>
                  <a:lnTo>
                    <a:pt x="295" y="106"/>
                  </a:lnTo>
                  <a:lnTo>
                    <a:pt x="323" y="98"/>
                  </a:lnTo>
                  <a:lnTo>
                    <a:pt x="353" y="99"/>
                  </a:lnTo>
                  <a:lnTo>
                    <a:pt x="357" y="81"/>
                  </a:lnTo>
                  <a:lnTo>
                    <a:pt x="360" y="77"/>
                  </a:lnTo>
                  <a:lnTo>
                    <a:pt x="365" y="54"/>
                  </a:lnTo>
                  <a:lnTo>
                    <a:pt x="401" y="54"/>
                  </a:lnTo>
                  <a:lnTo>
                    <a:pt x="402" y="49"/>
                  </a:lnTo>
                  <a:lnTo>
                    <a:pt x="422" y="49"/>
                  </a:lnTo>
                  <a:lnTo>
                    <a:pt x="421" y="67"/>
                  </a:lnTo>
                  <a:lnTo>
                    <a:pt x="462" y="68"/>
                  </a:lnTo>
                  <a:lnTo>
                    <a:pt x="466" y="78"/>
                  </a:lnTo>
                  <a:lnTo>
                    <a:pt x="472" y="142"/>
                  </a:lnTo>
                  <a:lnTo>
                    <a:pt x="469" y="156"/>
                  </a:lnTo>
                  <a:lnTo>
                    <a:pt x="471" y="174"/>
                  </a:lnTo>
                  <a:lnTo>
                    <a:pt x="490" y="218"/>
                  </a:lnTo>
                  <a:lnTo>
                    <a:pt x="489" y="224"/>
                  </a:lnTo>
                  <a:lnTo>
                    <a:pt x="475" y="239"/>
                  </a:lnTo>
                  <a:lnTo>
                    <a:pt x="475" y="242"/>
                  </a:lnTo>
                  <a:lnTo>
                    <a:pt x="476" y="244"/>
                  </a:lnTo>
                  <a:lnTo>
                    <a:pt x="477" y="245"/>
                  </a:lnTo>
                  <a:lnTo>
                    <a:pt x="481" y="246"/>
                  </a:lnTo>
                  <a:lnTo>
                    <a:pt x="486" y="252"/>
                  </a:lnTo>
                  <a:lnTo>
                    <a:pt x="491" y="253"/>
                  </a:lnTo>
                  <a:lnTo>
                    <a:pt x="493" y="252"/>
                  </a:lnTo>
                  <a:lnTo>
                    <a:pt x="497" y="240"/>
                  </a:lnTo>
                  <a:lnTo>
                    <a:pt x="501" y="238"/>
                  </a:lnTo>
                  <a:lnTo>
                    <a:pt x="543" y="238"/>
                  </a:lnTo>
                  <a:lnTo>
                    <a:pt x="553" y="235"/>
                  </a:lnTo>
                  <a:lnTo>
                    <a:pt x="559" y="237"/>
                  </a:lnTo>
                  <a:lnTo>
                    <a:pt x="562" y="237"/>
                  </a:lnTo>
                  <a:lnTo>
                    <a:pt x="569" y="231"/>
                  </a:lnTo>
                  <a:lnTo>
                    <a:pt x="571" y="231"/>
                  </a:lnTo>
                  <a:lnTo>
                    <a:pt x="573" y="234"/>
                  </a:lnTo>
                  <a:lnTo>
                    <a:pt x="574" y="237"/>
                  </a:lnTo>
                  <a:lnTo>
                    <a:pt x="572" y="238"/>
                  </a:lnTo>
                  <a:lnTo>
                    <a:pt x="571" y="240"/>
                  </a:lnTo>
                  <a:lnTo>
                    <a:pt x="573" y="249"/>
                  </a:lnTo>
                  <a:lnTo>
                    <a:pt x="566" y="322"/>
                  </a:lnTo>
                  <a:lnTo>
                    <a:pt x="568" y="325"/>
                  </a:lnTo>
                  <a:lnTo>
                    <a:pt x="571" y="328"/>
                  </a:lnTo>
                  <a:lnTo>
                    <a:pt x="578" y="331"/>
                  </a:lnTo>
                  <a:lnTo>
                    <a:pt x="479" y="331"/>
                  </a:lnTo>
                  <a:lnTo>
                    <a:pt x="479" y="501"/>
                  </a:lnTo>
                  <a:lnTo>
                    <a:pt x="484" y="506"/>
                  </a:lnTo>
                  <a:lnTo>
                    <a:pt x="488" y="512"/>
                  </a:lnTo>
                  <a:lnTo>
                    <a:pt x="523" y="540"/>
                  </a:lnTo>
                  <a:lnTo>
                    <a:pt x="527" y="545"/>
                  </a:lnTo>
                  <a:lnTo>
                    <a:pt x="533" y="548"/>
                  </a:lnTo>
                  <a:lnTo>
                    <a:pt x="531" y="550"/>
                  </a:lnTo>
                  <a:lnTo>
                    <a:pt x="451" y="571"/>
                  </a:lnTo>
                  <a:lnTo>
                    <a:pt x="448" y="568"/>
                  </a:lnTo>
                  <a:lnTo>
                    <a:pt x="327" y="553"/>
                  </a:lnTo>
                  <a:lnTo>
                    <a:pt x="320" y="546"/>
                  </a:lnTo>
                  <a:lnTo>
                    <a:pt x="308" y="536"/>
                  </a:lnTo>
                  <a:lnTo>
                    <a:pt x="105" y="538"/>
                  </a:lnTo>
                  <a:lnTo>
                    <a:pt x="93" y="527"/>
                  </a:lnTo>
                  <a:lnTo>
                    <a:pt x="83" y="523"/>
                  </a:lnTo>
                  <a:lnTo>
                    <a:pt x="79" y="516"/>
                  </a:lnTo>
                  <a:lnTo>
                    <a:pt x="51" y="515"/>
                  </a:lnTo>
                  <a:lnTo>
                    <a:pt x="44" y="518"/>
                  </a:lnTo>
                  <a:lnTo>
                    <a:pt x="35" y="526"/>
                  </a:lnTo>
                  <a:lnTo>
                    <a:pt x="29" y="528"/>
                  </a:lnTo>
                  <a:lnTo>
                    <a:pt x="21" y="523"/>
                  </a:lnTo>
                  <a:lnTo>
                    <a:pt x="3" y="536"/>
                  </a:lnTo>
                  <a:lnTo>
                    <a:pt x="0" y="504"/>
                  </a:lnTo>
                  <a:lnTo>
                    <a:pt x="5" y="506"/>
                  </a:lnTo>
                  <a:lnTo>
                    <a:pt x="5" y="49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7" name="Freeform 155"/>
            <p:cNvSpPr>
              <a:spLocks/>
            </p:cNvSpPr>
            <p:nvPr/>
          </p:nvSpPr>
          <p:spPr bwMode="auto">
            <a:xfrm>
              <a:off x="3923567" y="3388352"/>
              <a:ext cx="52806" cy="68649"/>
            </a:xfrm>
            <a:custGeom>
              <a:avLst/>
              <a:gdLst>
                <a:gd name="T0" fmla="*/ 6 w 46"/>
                <a:gd name="T1" fmla="*/ 2 h 66"/>
                <a:gd name="T2" fmla="*/ 6 w 46"/>
                <a:gd name="T3" fmla="*/ 1 h 66"/>
                <a:gd name="T4" fmla="*/ 5 w 46"/>
                <a:gd name="T5" fmla="*/ 0 h 66"/>
                <a:gd name="T6" fmla="*/ 3 w 46"/>
                <a:gd name="T7" fmla="*/ 1 h 66"/>
                <a:gd name="T8" fmla="*/ 3 w 46"/>
                <a:gd name="T9" fmla="*/ 2 h 66"/>
                <a:gd name="T10" fmla="*/ 0 w 46"/>
                <a:gd name="T11" fmla="*/ 4 h 66"/>
                <a:gd name="T12" fmla="*/ 1 w 46"/>
                <a:gd name="T13" fmla="*/ 5 h 66"/>
                <a:gd name="T14" fmla="*/ 1 w 46"/>
                <a:gd name="T15" fmla="*/ 8 h 66"/>
                <a:gd name="T16" fmla="*/ 2 w 46"/>
                <a:gd name="T17" fmla="*/ 10 h 66"/>
                <a:gd name="T18" fmla="*/ 3 w 46"/>
                <a:gd name="T19" fmla="*/ 9 h 66"/>
                <a:gd name="T20" fmla="*/ 4 w 46"/>
                <a:gd name="T21" fmla="*/ 4 h 66"/>
                <a:gd name="T22" fmla="*/ 6 w 46"/>
                <a:gd name="T23" fmla="*/ 2 h 66"/>
                <a:gd name="T24" fmla="*/ 6 w 46"/>
                <a:gd name="T25" fmla="*/ 2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66"/>
                <a:gd name="T41" fmla="*/ 46 w 46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66">
                  <a:moveTo>
                    <a:pt x="46" y="12"/>
                  </a:moveTo>
                  <a:lnTo>
                    <a:pt x="42" y="3"/>
                  </a:lnTo>
                  <a:lnTo>
                    <a:pt x="35" y="0"/>
                  </a:lnTo>
                  <a:lnTo>
                    <a:pt x="26" y="5"/>
                  </a:lnTo>
                  <a:lnTo>
                    <a:pt x="21" y="17"/>
                  </a:lnTo>
                  <a:lnTo>
                    <a:pt x="0" y="30"/>
                  </a:lnTo>
                  <a:lnTo>
                    <a:pt x="5" y="35"/>
                  </a:lnTo>
                  <a:lnTo>
                    <a:pt x="8" y="60"/>
                  </a:lnTo>
                  <a:lnTo>
                    <a:pt x="14" y="66"/>
                  </a:lnTo>
                  <a:lnTo>
                    <a:pt x="23" y="62"/>
                  </a:lnTo>
                  <a:lnTo>
                    <a:pt x="29" y="27"/>
                  </a:lnTo>
                  <a:lnTo>
                    <a:pt x="43" y="13"/>
                  </a:lnTo>
                  <a:lnTo>
                    <a:pt x="46" y="1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8" name="Freeform 156"/>
            <p:cNvSpPr>
              <a:spLocks/>
            </p:cNvSpPr>
            <p:nvPr/>
          </p:nvSpPr>
          <p:spPr bwMode="auto">
            <a:xfrm>
              <a:off x="4171352" y="4213987"/>
              <a:ext cx="897709" cy="660509"/>
            </a:xfrm>
            <a:custGeom>
              <a:avLst/>
              <a:gdLst>
                <a:gd name="T0" fmla="*/ 26 w 752"/>
                <a:gd name="T1" fmla="*/ 40 h 661"/>
                <a:gd name="T2" fmla="*/ 20 w 752"/>
                <a:gd name="T3" fmla="*/ 43 h 661"/>
                <a:gd name="T4" fmla="*/ 12 w 752"/>
                <a:gd name="T5" fmla="*/ 43 h 661"/>
                <a:gd name="T6" fmla="*/ 8 w 752"/>
                <a:gd name="T7" fmla="*/ 42 h 661"/>
                <a:gd name="T8" fmla="*/ 5 w 752"/>
                <a:gd name="T9" fmla="*/ 39 h 661"/>
                <a:gd name="T10" fmla="*/ 1 w 752"/>
                <a:gd name="T11" fmla="*/ 40 h 661"/>
                <a:gd name="T12" fmla="*/ 0 w 752"/>
                <a:gd name="T13" fmla="*/ 41 h 661"/>
                <a:gd name="T14" fmla="*/ 1 w 752"/>
                <a:gd name="T15" fmla="*/ 42 h 661"/>
                <a:gd name="T16" fmla="*/ 14 w 752"/>
                <a:gd name="T17" fmla="*/ 62 h 661"/>
                <a:gd name="T18" fmla="*/ 12 w 752"/>
                <a:gd name="T19" fmla="*/ 68 h 661"/>
                <a:gd name="T20" fmla="*/ 11 w 752"/>
                <a:gd name="T21" fmla="*/ 68 h 661"/>
                <a:gd name="T22" fmla="*/ 11 w 752"/>
                <a:gd name="T23" fmla="*/ 69 h 661"/>
                <a:gd name="T24" fmla="*/ 12 w 752"/>
                <a:gd name="T25" fmla="*/ 71 h 661"/>
                <a:gd name="T26" fmla="*/ 12 w 752"/>
                <a:gd name="T27" fmla="*/ 72 h 661"/>
                <a:gd name="T28" fmla="*/ 15 w 752"/>
                <a:gd name="T29" fmla="*/ 74 h 661"/>
                <a:gd name="T30" fmla="*/ 15 w 752"/>
                <a:gd name="T31" fmla="*/ 76 h 661"/>
                <a:gd name="T32" fmla="*/ 15 w 752"/>
                <a:gd name="T33" fmla="*/ 79 h 661"/>
                <a:gd name="T34" fmla="*/ 15 w 752"/>
                <a:gd name="T35" fmla="*/ 77 h 661"/>
                <a:gd name="T36" fmla="*/ 18 w 752"/>
                <a:gd name="T37" fmla="*/ 76 h 661"/>
                <a:gd name="T38" fmla="*/ 18 w 752"/>
                <a:gd name="T39" fmla="*/ 79 h 661"/>
                <a:gd name="T40" fmla="*/ 21 w 752"/>
                <a:gd name="T41" fmla="*/ 79 h 661"/>
                <a:gd name="T42" fmla="*/ 21 w 752"/>
                <a:gd name="T43" fmla="*/ 80 h 661"/>
                <a:gd name="T44" fmla="*/ 24 w 752"/>
                <a:gd name="T45" fmla="*/ 80 h 661"/>
                <a:gd name="T46" fmla="*/ 27 w 752"/>
                <a:gd name="T47" fmla="*/ 81 h 661"/>
                <a:gd name="T48" fmla="*/ 30 w 752"/>
                <a:gd name="T49" fmla="*/ 80 h 661"/>
                <a:gd name="T50" fmla="*/ 33 w 752"/>
                <a:gd name="T51" fmla="*/ 79 h 661"/>
                <a:gd name="T52" fmla="*/ 36 w 752"/>
                <a:gd name="T53" fmla="*/ 79 h 661"/>
                <a:gd name="T54" fmla="*/ 40 w 752"/>
                <a:gd name="T55" fmla="*/ 79 h 661"/>
                <a:gd name="T56" fmla="*/ 41 w 752"/>
                <a:gd name="T57" fmla="*/ 78 h 661"/>
                <a:gd name="T58" fmla="*/ 43 w 752"/>
                <a:gd name="T59" fmla="*/ 76 h 661"/>
                <a:gd name="T60" fmla="*/ 51 w 752"/>
                <a:gd name="T61" fmla="*/ 77 h 661"/>
                <a:gd name="T62" fmla="*/ 52 w 752"/>
                <a:gd name="T63" fmla="*/ 76 h 661"/>
                <a:gd name="T64" fmla="*/ 63 w 752"/>
                <a:gd name="T65" fmla="*/ 78 h 661"/>
                <a:gd name="T66" fmla="*/ 66 w 752"/>
                <a:gd name="T67" fmla="*/ 76 h 661"/>
                <a:gd name="T68" fmla="*/ 70 w 752"/>
                <a:gd name="T69" fmla="*/ 76 h 661"/>
                <a:gd name="T70" fmla="*/ 71 w 752"/>
                <a:gd name="T71" fmla="*/ 74 h 661"/>
                <a:gd name="T72" fmla="*/ 115 w 752"/>
                <a:gd name="T73" fmla="*/ 43 h 661"/>
                <a:gd name="T74" fmla="*/ 119 w 752"/>
                <a:gd name="T75" fmla="*/ 41 h 661"/>
                <a:gd name="T76" fmla="*/ 124 w 752"/>
                <a:gd name="T77" fmla="*/ 29 h 661"/>
                <a:gd name="T78" fmla="*/ 117 w 752"/>
                <a:gd name="T79" fmla="*/ 29 h 661"/>
                <a:gd name="T80" fmla="*/ 115 w 752"/>
                <a:gd name="T81" fmla="*/ 32 h 661"/>
                <a:gd name="T82" fmla="*/ 109 w 752"/>
                <a:gd name="T83" fmla="*/ 28 h 661"/>
                <a:gd name="T84" fmla="*/ 113 w 752"/>
                <a:gd name="T85" fmla="*/ 22 h 661"/>
                <a:gd name="T86" fmla="*/ 118 w 752"/>
                <a:gd name="T87" fmla="*/ 23 h 661"/>
                <a:gd name="T88" fmla="*/ 114 w 752"/>
                <a:gd name="T89" fmla="*/ 3 h 661"/>
                <a:gd name="T90" fmla="*/ 111 w 752"/>
                <a:gd name="T91" fmla="*/ 2 h 661"/>
                <a:gd name="T92" fmla="*/ 105 w 752"/>
                <a:gd name="T93" fmla="*/ 1 h 661"/>
                <a:gd name="T94" fmla="*/ 98 w 752"/>
                <a:gd name="T95" fmla="*/ 1 h 661"/>
                <a:gd name="T96" fmla="*/ 88 w 752"/>
                <a:gd name="T97" fmla="*/ 4 h 661"/>
                <a:gd name="T98" fmla="*/ 77 w 752"/>
                <a:gd name="T99" fmla="*/ 13 h 661"/>
                <a:gd name="T100" fmla="*/ 71 w 752"/>
                <a:gd name="T101" fmla="*/ 17 h 661"/>
                <a:gd name="T102" fmla="*/ 68 w 752"/>
                <a:gd name="T103" fmla="*/ 21 h 661"/>
                <a:gd name="T104" fmla="*/ 61 w 752"/>
                <a:gd name="T105" fmla="*/ 22 h 661"/>
                <a:gd name="T106" fmla="*/ 53 w 752"/>
                <a:gd name="T107" fmla="*/ 20 h 661"/>
                <a:gd name="T108" fmla="*/ 46 w 752"/>
                <a:gd name="T109" fmla="*/ 25 h 661"/>
                <a:gd name="T110" fmla="*/ 43 w 752"/>
                <a:gd name="T111" fmla="*/ 28 h 661"/>
                <a:gd name="T112" fmla="*/ 32 w 752"/>
                <a:gd name="T113" fmla="*/ 29 h 661"/>
                <a:gd name="T114" fmla="*/ 33 w 752"/>
                <a:gd name="T115" fmla="*/ 24 h 661"/>
                <a:gd name="T116" fmla="*/ 26 w 752"/>
                <a:gd name="T117" fmla="*/ 17 h 6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52"/>
                <a:gd name="T178" fmla="*/ 0 h 661"/>
                <a:gd name="T179" fmla="*/ 752 w 752"/>
                <a:gd name="T180" fmla="*/ 661 h 6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52" h="661">
                  <a:moveTo>
                    <a:pt x="157" y="134"/>
                  </a:moveTo>
                  <a:lnTo>
                    <a:pt x="157" y="327"/>
                  </a:lnTo>
                  <a:lnTo>
                    <a:pt x="144" y="332"/>
                  </a:lnTo>
                  <a:lnTo>
                    <a:pt x="119" y="353"/>
                  </a:lnTo>
                  <a:lnTo>
                    <a:pt x="85" y="350"/>
                  </a:lnTo>
                  <a:lnTo>
                    <a:pt x="73" y="354"/>
                  </a:lnTo>
                  <a:lnTo>
                    <a:pt x="59" y="353"/>
                  </a:lnTo>
                  <a:lnTo>
                    <a:pt x="50" y="341"/>
                  </a:lnTo>
                  <a:lnTo>
                    <a:pt x="50" y="331"/>
                  </a:lnTo>
                  <a:lnTo>
                    <a:pt x="28" y="316"/>
                  </a:lnTo>
                  <a:lnTo>
                    <a:pt x="18" y="317"/>
                  </a:lnTo>
                  <a:lnTo>
                    <a:pt x="9" y="333"/>
                  </a:lnTo>
                  <a:lnTo>
                    <a:pt x="6" y="335"/>
                  </a:lnTo>
                  <a:lnTo>
                    <a:pt x="0" y="335"/>
                  </a:lnTo>
                  <a:lnTo>
                    <a:pt x="3" y="338"/>
                  </a:lnTo>
                  <a:lnTo>
                    <a:pt x="2" y="344"/>
                  </a:lnTo>
                  <a:lnTo>
                    <a:pt x="13" y="356"/>
                  </a:lnTo>
                  <a:lnTo>
                    <a:pt x="82" y="509"/>
                  </a:lnTo>
                  <a:lnTo>
                    <a:pt x="84" y="543"/>
                  </a:lnTo>
                  <a:lnTo>
                    <a:pt x="77" y="556"/>
                  </a:lnTo>
                  <a:lnTo>
                    <a:pt x="66" y="552"/>
                  </a:lnTo>
                  <a:lnTo>
                    <a:pt x="64" y="557"/>
                  </a:lnTo>
                  <a:lnTo>
                    <a:pt x="63" y="566"/>
                  </a:lnTo>
                  <a:lnTo>
                    <a:pt x="65" y="566"/>
                  </a:lnTo>
                  <a:lnTo>
                    <a:pt x="72" y="572"/>
                  </a:lnTo>
                  <a:lnTo>
                    <a:pt x="74" y="577"/>
                  </a:lnTo>
                  <a:lnTo>
                    <a:pt x="71" y="578"/>
                  </a:lnTo>
                  <a:lnTo>
                    <a:pt x="76" y="586"/>
                  </a:lnTo>
                  <a:lnTo>
                    <a:pt x="79" y="589"/>
                  </a:lnTo>
                  <a:lnTo>
                    <a:pt x="90" y="607"/>
                  </a:lnTo>
                  <a:lnTo>
                    <a:pt x="91" y="614"/>
                  </a:lnTo>
                  <a:lnTo>
                    <a:pt x="87" y="620"/>
                  </a:lnTo>
                  <a:lnTo>
                    <a:pt x="87" y="636"/>
                  </a:lnTo>
                  <a:lnTo>
                    <a:pt x="92" y="643"/>
                  </a:lnTo>
                  <a:lnTo>
                    <a:pt x="93" y="642"/>
                  </a:lnTo>
                  <a:lnTo>
                    <a:pt x="92" y="630"/>
                  </a:lnTo>
                  <a:lnTo>
                    <a:pt x="94" y="627"/>
                  </a:lnTo>
                  <a:lnTo>
                    <a:pt x="108" y="627"/>
                  </a:lnTo>
                  <a:lnTo>
                    <a:pt x="109" y="638"/>
                  </a:lnTo>
                  <a:lnTo>
                    <a:pt x="108" y="643"/>
                  </a:lnTo>
                  <a:lnTo>
                    <a:pt x="112" y="645"/>
                  </a:lnTo>
                  <a:lnTo>
                    <a:pt x="127" y="644"/>
                  </a:lnTo>
                  <a:lnTo>
                    <a:pt x="130" y="648"/>
                  </a:lnTo>
                  <a:lnTo>
                    <a:pt x="130" y="654"/>
                  </a:lnTo>
                  <a:lnTo>
                    <a:pt x="140" y="659"/>
                  </a:lnTo>
                  <a:lnTo>
                    <a:pt x="147" y="659"/>
                  </a:lnTo>
                  <a:lnTo>
                    <a:pt x="154" y="661"/>
                  </a:lnTo>
                  <a:lnTo>
                    <a:pt x="163" y="661"/>
                  </a:lnTo>
                  <a:lnTo>
                    <a:pt x="172" y="659"/>
                  </a:lnTo>
                  <a:lnTo>
                    <a:pt x="180" y="649"/>
                  </a:lnTo>
                  <a:lnTo>
                    <a:pt x="194" y="648"/>
                  </a:lnTo>
                  <a:lnTo>
                    <a:pt x="199" y="645"/>
                  </a:lnTo>
                  <a:lnTo>
                    <a:pt x="206" y="643"/>
                  </a:lnTo>
                  <a:lnTo>
                    <a:pt x="221" y="646"/>
                  </a:lnTo>
                  <a:lnTo>
                    <a:pt x="223" y="643"/>
                  </a:lnTo>
                  <a:lnTo>
                    <a:pt x="242" y="644"/>
                  </a:lnTo>
                  <a:lnTo>
                    <a:pt x="247" y="643"/>
                  </a:lnTo>
                  <a:lnTo>
                    <a:pt x="248" y="637"/>
                  </a:lnTo>
                  <a:lnTo>
                    <a:pt x="260" y="629"/>
                  </a:lnTo>
                  <a:lnTo>
                    <a:pt x="265" y="625"/>
                  </a:lnTo>
                  <a:lnTo>
                    <a:pt x="286" y="623"/>
                  </a:lnTo>
                  <a:lnTo>
                    <a:pt x="306" y="629"/>
                  </a:lnTo>
                  <a:lnTo>
                    <a:pt x="312" y="629"/>
                  </a:lnTo>
                  <a:lnTo>
                    <a:pt x="319" y="623"/>
                  </a:lnTo>
                  <a:lnTo>
                    <a:pt x="331" y="622"/>
                  </a:lnTo>
                  <a:lnTo>
                    <a:pt x="385" y="633"/>
                  </a:lnTo>
                  <a:lnTo>
                    <a:pt x="390" y="622"/>
                  </a:lnTo>
                  <a:lnTo>
                    <a:pt x="401" y="621"/>
                  </a:lnTo>
                  <a:lnTo>
                    <a:pt x="425" y="626"/>
                  </a:lnTo>
                  <a:lnTo>
                    <a:pt x="426" y="620"/>
                  </a:lnTo>
                  <a:lnTo>
                    <a:pt x="422" y="613"/>
                  </a:lnTo>
                  <a:lnTo>
                    <a:pt x="429" y="609"/>
                  </a:lnTo>
                  <a:lnTo>
                    <a:pt x="472" y="607"/>
                  </a:lnTo>
                  <a:lnTo>
                    <a:pt x="700" y="352"/>
                  </a:lnTo>
                  <a:lnTo>
                    <a:pt x="707" y="349"/>
                  </a:lnTo>
                  <a:lnTo>
                    <a:pt x="724" y="335"/>
                  </a:lnTo>
                  <a:lnTo>
                    <a:pt x="732" y="324"/>
                  </a:lnTo>
                  <a:lnTo>
                    <a:pt x="752" y="236"/>
                  </a:lnTo>
                  <a:lnTo>
                    <a:pt x="717" y="235"/>
                  </a:lnTo>
                  <a:lnTo>
                    <a:pt x="710" y="238"/>
                  </a:lnTo>
                  <a:lnTo>
                    <a:pt x="706" y="251"/>
                  </a:lnTo>
                  <a:lnTo>
                    <a:pt x="700" y="258"/>
                  </a:lnTo>
                  <a:lnTo>
                    <a:pt x="670" y="255"/>
                  </a:lnTo>
                  <a:lnTo>
                    <a:pt x="660" y="228"/>
                  </a:lnTo>
                  <a:lnTo>
                    <a:pt x="676" y="190"/>
                  </a:lnTo>
                  <a:lnTo>
                    <a:pt x="688" y="182"/>
                  </a:lnTo>
                  <a:lnTo>
                    <a:pt x="707" y="195"/>
                  </a:lnTo>
                  <a:lnTo>
                    <a:pt x="713" y="188"/>
                  </a:lnTo>
                  <a:lnTo>
                    <a:pt x="693" y="29"/>
                  </a:lnTo>
                  <a:lnTo>
                    <a:pt x="692" y="28"/>
                  </a:lnTo>
                  <a:lnTo>
                    <a:pt x="688" y="27"/>
                  </a:lnTo>
                  <a:lnTo>
                    <a:pt x="675" y="14"/>
                  </a:lnTo>
                  <a:lnTo>
                    <a:pt x="658" y="9"/>
                  </a:lnTo>
                  <a:lnTo>
                    <a:pt x="637" y="10"/>
                  </a:lnTo>
                  <a:lnTo>
                    <a:pt x="600" y="0"/>
                  </a:lnTo>
                  <a:lnTo>
                    <a:pt x="591" y="4"/>
                  </a:lnTo>
                  <a:lnTo>
                    <a:pt x="589" y="7"/>
                  </a:lnTo>
                  <a:lnTo>
                    <a:pt x="536" y="34"/>
                  </a:lnTo>
                  <a:lnTo>
                    <a:pt x="491" y="74"/>
                  </a:lnTo>
                  <a:lnTo>
                    <a:pt x="467" y="108"/>
                  </a:lnTo>
                  <a:lnTo>
                    <a:pt x="444" y="125"/>
                  </a:lnTo>
                  <a:lnTo>
                    <a:pt x="432" y="140"/>
                  </a:lnTo>
                  <a:lnTo>
                    <a:pt x="420" y="168"/>
                  </a:lnTo>
                  <a:lnTo>
                    <a:pt x="415" y="174"/>
                  </a:lnTo>
                  <a:lnTo>
                    <a:pt x="379" y="182"/>
                  </a:lnTo>
                  <a:lnTo>
                    <a:pt x="367" y="181"/>
                  </a:lnTo>
                  <a:lnTo>
                    <a:pt x="337" y="167"/>
                  </a:lnTo>
                  <a:lnTo>
                    <a:pt x="324" y="165"/>
                  </a:lnTo>
                  <a:lnTo>
                    <a:pt x="315" y="169"/>
                  </a:lnTo>
                  <a:lnTo>
                    <a:pt x="284" y="207"/>
                  </a:lnTo>
                  <a:lnTo>
                    <a:pt x="274" y="213"/>
                  </a:lnTo>
                  <a:lnTo>
                    <a:pt x="261" y="232"/>
                  </a:lnTo>
                  <a:lnTo>
                    <a:pt x="233" y="239"/>
                  </a:lnTo>
                  <a:lnTo>
                    <a:pt x="196" y="234"/>
                  </a:lnTo>
                  <a:lnTo>
                    <a:pt x="193" y="227"/>
                  </a:lnTo>
                  <a:lnTo>
                    <a:pt x="202" y="198"/>
                  </a:lnTo>
                  <a:lnTo>
                    <a:pt x="200" y="178"/>
                  </a:lnTo>
                  <a:lnTo>
                    <a:pt x="161" y="134"/>
                  </a:lnTo>
                  <a:lnTo>
                    <a:pt x="157" y="13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9" name="Freeform 157"/>
            <p:cNvSpPr>
              <a:spLocks/>
            </p:cNvSpPr>
            <p:nvPr/>
          </p:nvSpPr>
          <p:spPr bwMode="auto">
            <a:xfrm>
              <a:off x="4171352" y="4213987"/>
              <a:ext cx="897709" cy="660509"/>
            </a:xfrm>
            <a:custGeom>
              <a:avLst/>
              <a:gdLst>
                <a:gd name="T0" fmla="*/ 26 w 752"/>
                <a:gd name="T1" fmla="*/ 40 h 661"/>
                <a:gd name="T2" fmla="*/ 20 w 752"/>
                <a:gd name="T3" fmla="*/ 43 h 661"/>
                <a:gd name="T4" fmla="*/ 12 w 752"/>
                <a:gd name="T5" fmla="*/ 43 h 661"/>
                <a:gd name="T6" fmla="*/ 8 w 752"/>
                <a:gd name="T7" fmla="*/ 42 h 661"/>
                <a:gd name="T8" fmla="*/ 5 w 752"/>
                <a:gd name="T9" fmla="*/ 39 h 661"/>
                <a:gd name="T10" fmla="*/ 1 w 752"/>
                <a:gd name="T11" fmla="*/ 40 h 661"/>
                <a:gd name="T12" fmla="*/ 0 w 752"/>
                <a:gd name="T13" fmla="*/ 41 h 661"/>
                <a:gd name="T14" fmla="*/ 1 w 752"/>
                <a:gd name="T15" fmla="*/ 42 h 661"/>
                <a:gd name="T16" fmla="*/ 14 w 752"/>
                <a:gd name="T17" fmla="*/ 62 h 661"/>
                <a:gd name="T18" fmla="*/ 12 w 752"/>
                <a:gd name="T19" fmla="*/ 68 h 661"/>
                <a:gd name="T20" fmla="*/ 11 w 752"/>
                <a:gd name="T21" fmla="*/ 68 h 661"/>
                <a:gd name="T22" fmla="*/ 11 w 752"/>
                <a:gd name="T23" fmla="*/ 69 h 661"/>
                <a:gd name="T24" fmla="*/ 12 w 752"/>
                <a:gd name="T25" fmla="*/ 71 h 661"/>
                <a:gd name="T26" fmla="*/ 12 w 752"/>
                <a:gd name="T27" fmla="*/ 72 h 661"/>
                <a:gd name="T28" fmla="*/ 15 w 752"/>
                <a:gd name="T29" fmla="*/ 74 h 661"/>
                <a:gd name="T30" fmla="*/ 15 w 752"/>
                <a:gd name="T31" fmla="*/ 76 h 661"/>
                <a:gd name="T32" fmla="*/ 15 w 752"/>
                <a:gd name="T33" fmla="*/ 79 h 661"/>
                <a:gd name="T34" fmla="*/ 15 w 752"/>
                <a:gd name="T35" fmla="*/ 77 h 661"/>
                <a:gd name="T36" fmla="*/ 18 w 752"/>
                <a:gd name="T37" fmla="*/ 76 h 661"/>
                <a:gd name="T38" fmla="*/ 18 w 752"/>
                <a:gd name="T39" fmla="*/ 79 h 661"/>
                <a:gd name="T40" fmla="*/ 21 w 752"/>
                <a:gd name="T41" fmla="*/ 79 h 661"/>
                <a:gd name="T42" fmla="*/ 21 w 752"/>
                <a:gd name="T43" fmla="*/ 80 h 661"/>
                <a:gd name="T44" fmla="*/ 24 w 752"/>
                <a:gd name="T45" fmla="*/ 80 h 661"/>
                <a:gd name="T46" fmla="*/ 27 w 752"/>
                <a:gd name="T47" fmla="*/ 81 h 661"/>
                <a:gd name="T48" fmla="*/ 30 w 752"/>
                <a:gd name="T49" fmla="*/ 80 h 661"/>
                <a:gd name="T50" fmla="*/ 33 w 752"/>
                <a:gd name="T51" fmla="*/ 79 h 661"/>
                <a:gd name="T52" fmla="*/ 36 w 752"/>
                <a:gd name="T53" fmla="*/ 79 h 661"/>
                <a:gd name="T54" fmla="*/ 40 w 752"/>
                <a:gd name="T55" fmla="*/ 79 h 661"/>
                <a:gd name="T56" fmla="*/ 41 w 752"/>
                <a:gd name="T57" fmla="*/ 78 h 661"/>
                <a:gd name="T58" fmla="*/ 43 w 752"/>
                <a:gd name="T59" fmla="*/ 76 h 661"/>
                <a:gd name="T60" fmla="*/ 51 w 752"/>
                <a:gd name="T61" fmla="*/ 77 h 661"/>
                <a:gd name="T62" fmla="*/ 52 w 752"/>
                <a:gd name="T63" fmla="*/ 76 h 661"/>
                <a:gd name="T64" fmla="*/ 63 w 752"/>
                <a:gd name="T65" fmla="*/ 78 h 661"/>
                <a:gd name="T66" fmla="*/ 66 w 752"/>
                <a:gd name="T67" fmla="*/ 76 h 661"/>
                <a:gd name="T68" fmla="*/ 70 w 752"/>
                <a:gd name="T69" fmla="*/ 76 h 661"/>
                <a:gd name="T70" fmla="*/ 71 w 752"/>
                <a:gd name="T71" fmla="*/ 74 h 661"/>
                <a:gd name="T72" fmla="*/ 115 w 752"/>
                <a:gd name="T73" fmla="*/ 43 h 661"/>
                <a:gd name="T74" fmla="*/ 119 w 752"/>
                <a:gd name="T75" fmla="*/ 41 h 661"/>
                <a:gd name="T76" fmla="*/ 124 w 752"/>
                <a:gd name="T77" fmla="*/ 29 h 661"/>
                <a:gd name="T78" fmla="*/ 117 w 752"/>
                <a:gd name="T79" fmla="*/ 29 h 661"/>
                <a:gd name="T80" fmla="*/ 115 w 752"/>
                <a:gd name="T81" fmla="*/ 32 h 661"/>
                <a:gd name="T82" fmla="*/ 109 w 752"/>
                <a:gd name="T83" fmla="*/ 28 h 661"/>
                <a:gd name="T84" fmla="*/ 113 w 752"/>
                <a:gd name="T85" fmla="*/ 22 h 661"/>
                <a:gd name="T86" fmla="*/ 118 w 752"/>
                <a:gd name="T87" fmla="*/ 23 h 661"/>
                <a:gd name="T88" fmla="*/ 114 w 752"/>
                <a:gd name="T89" fmla="*/ 3 h 661"/>
                <a:gd name="T90" fmla="*/ 111 w 752"/>
                <a:gd name="T91" fmla="*/ 2 h 661"/>
                <a:gd name="T92" fmla="*/ 105 w 752"/>
                <a:gd name="T93" fmla="*/ 1 h 661"/>
                <a:gd name="T94" fmla="*/ 98 w 752"/>
                <a:gd name="T95" fmla="*/ 1 h 661"/>
                <a:gd name="T96" fmla="*/ 88 w 752"/>
                <a:gd name="T97" fmla="*/ 4 h 661"/>
                <a:gd name="T98" fmla="*/ 77 w 752"/>
                <a:gd name="T99" fmla="*/ 13 h 661"/>
                <a:gd name="T100" fmla="*/ 71 w 752"/>
                <a:gd name="T101" fmla="*/ 17 h 661"/>
                <a:gd name="T102" fmla="*/ 68 w 752"/>
                <a:gd name="T103" fmla="*/ 21 h 661"/>
                <a:gd name="T104" fmla="*/ 61 w 752"/>
                <a:gd name="T105" fmla="*/ 22 h 661"/>
                <a:gd name="T106" fmla="*/ 53 w 752"/>
                <a:gd name="T107" fmla="*/ 20 h 661"/>
                <a:gd name="T108" fmla="*/ 46 w 752"/>
                <a:gd name="T109" fmla="*/ 25 h 661"/>
                <a:gd name="T110" fmla="*/ 43 w 752"/>
                <a:gd name="T111" fmla="*/ 28 h 661"/>
                <a:gd name="T112" fmla="*/ 32 w 752"/>
                <a:gd name="T113" fmla="*/ 29 h 661"/>
                <a:gd name="T114" fmla="*/ 33 w 752"/>
                <a:gd name="T115" fmla="*/ 24 h 661"/>
                <a:gd name="T116" fmla="*/ 26 w 752"/>
                <a:gd name="T117" fmla="*/ 17 h 6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52"/>
                <a:gd name="T178" fmla="*/ 0 h 661"/>
                <a:gd name="T179" fmla="*/ 752 w 752"/>
                <a:gd name="T180" fmla="*/ 661 h 6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52" h="661">
                  <a:moveTo>
                    <a:pt x="157" y="134"/>
                  </a:moveTo>
                  <a:lnTo>
                    <a:pt x="157" y="327"/>
                  </a:lnTo>
                  <a:lnTo>
                    <a:pt x="144" y="332"/>
                  </a:lnTo>
                  <a:lnTo>
                    <a:pt x="119" y="353"/>
                  </a:lnTo>
                  <a:lnTo>
                    <a:pt x="85" y="350"/>
                  </a:lnTo>
                  <a:lnTo>
                    <a:pt x="73" y="354"/>
                  </a:lnTo>
                  <a:lnTo>
                    <a:pt x="59" y="353"/>
                  </a:lnTo>
                  <a:lnTo>
                    <a:pt x="50" y="341"/>
                  </a:lnTo>
                  <a:lnTo>
                    <a:pt x="50" y="331"/>
                  </a:lnTo>
                  <a:lnTo>
                    <a:pt x="28" y="316"/>
                  </a:lnTo>
                  <a:lnTo>
                    <a:pt x="18" y="317"/>
                  </a:lnTo>
                  <a:lnTo>
                    <a:pt x="9" y="333"/>
                  </a:lnTo>
                  <a:lnTo>
                    <a:pt x="6" y="335"/>
                  </a:lnTo>
                  <a:lnTo>
                    <a:pt x="0" y="335"/>
                  </a:lnTo>
                  <a:lnTo>
                    <a:pt x="3" y="338"/>
                  </a:lnTo>
                  <a:lnTo>
                    <a:pt x="2" y="344"/>
                  </a:lnTo>
                  <a:lnTo>
                    <a:pt x="13" y="356"/>
                  </a:lnTo>
                  <a:lnTo>
                    <a:pt x="82" y="509"/>
                  </a:lnTo>
                  <a:lnTo>
                    <a:pt x="84" y="543"/>
                  </a:lnTo>
                  <a:lnTo>
                    <a:pt x="77" y="556"/>
                  </a:lnTo>
                  <a:lnTo>
                    <a:pt x="66" y="552"/>
                  </a:lnTo>
                  <a:lnTo>
                    <a:pt x="64" y="557"/>
                  </a:lnTo>
                  <a:lnTo>
                    <a:pt x="63" y="566"/>
                  </a:lnTo>
                  <a:lnTo>
                    <a:pt x="65" y="566"/>
                  </a:lnTo>
                  <a:lnTo>
                    <a:pt x="72" y="572"/>
                  </a:lnTo>
                  <a:lnTo>
                    <a:pt x="74" y="577"/>
                  </a:lnTo>
                  <a:lnTo>
                    <a:pt x="71" y="578"/>
                  </a:lnTo>
                  <a:lnTo>
                    <a:pt x="76" y="586"/>
                  </a:lnTo>
                  <a:lnTo>
                    <a:pt x="79" y="589"/>
                  </a:lnTo>
                  <a:lnTo>
                    <a:pt x="90" y="607"/>
                  </a:lnTo>
                  <a:lnTo>
                    <a:pt x="91" y="614"/>
                  </a:lnTo>
                  <a:lnTo>
                    <a:pt x="87" y="620"/>
                  </a:lnTo>
                  <a:lnTo>
                    <a:pt x="87" y="636"/>
                  </a:lnTo>
                  <a:lnTo>
                    <a:pt x="92" y="643"/>
                  </a:lnTo>
                  <a:lnTo>
                    <a:pt x="93" y="642"/>
                  </a:lnTo>
                  <a:lnTo>
                    <a:pt x="92" y="630"/>
                  </a:lnTo>
                  <a:lnTo>
                    <a:pt x="94" y="627"/>
                  </a:lnTo>
                  <a:lnTo>
                    <a:pt x="108" y="627"/>
                  </a:lnTo>
                  <a:lnTo>
                    <a:pt x="109" y="638"/>
                  </a:lnTo>
                  <a:lnTo>
                    <a:pt x="108" y="643"/>
                  </a:lnTo>
                  <a:lnTo>
                    <a:pt x="112" y="645"/>
                  </a:lnTo>
                  <a:lnTo>
                    <a:pt x="127" y="644"/>
                  </a:lnTo>
                  <a:lnTo>
                    <a:pt x="130" y="648"/>
                  </a:lnTo>
                  <a:lnTo>
                    <a:pt x="130" y="654"/>
                  </a:lnTo>
                  <a:lnTo>
                    <a:pt x="140" y="659"/>
                  </a:lnTo>
                  <a:lnTo>
                    <a:pt x="147" y="659"/>
                  </a:lnTo>
                  <a:lnTo>
                    <a:pt x="154" y="661"/>
                  </a:lnTo>
                  <a:lnTo>
                    <a:pt x="163" y="661"/>
                  </a:lnTo>
                  <a:lnTo>
                    <a:pt x="172" y="659"/>
                  </a:lnTo>
                  <a:lnTo>
                    <a:pt x="180" y="649"/>
                  </a:lnTo>
                  <a:lnTo>
                    <a:pt x="194" y="648"/>
                  </a:lnTo>
                  <a:lnTo>
                    <a:pt x="199" y="645"/>
                  </a:lnTo>
                  <a:lnTo>
                    <a:pt x="206" y="643"/>
                  </a:lnTo>
                  <a:lnTo>
                    <a:pt x="221" y="646"/>
                  </a:lnTo>
                  <a:lnTo>
                    <a:pt x="223" y="643"/>
                  </a:lnTo>
                  <a:lnTo>
                    <a:pt x="242" y="644"/>
                  </a:lnTo>
                  <a:lnTo>
                    <a:pt x="247" y="643"/>
                  </a:lnTo>
                  <a:lnTo>
                    <a:pt x="248" y="637"/>
                  </a:lnTo>
                  <a:lnTo>
                    <a:pt x="260" y="629"/>
                  </a:lnTo>
                  <a:lnTo>
                    <a:pt x="265" y="625"/>
                  </a:lnTo>
                  <a:lnTo>
                    <a:pt x="286" y="623"/>
                  </a:lnTo>
                  <a:lnTo>
                    <a:pt x="306" y="629"/>
                  </a:lnTo>
                  <a:lnTo>
                    <a:pt x="312" y="629"/>
                  </a:lnTo>
                  <a:lnTo>
                    <a:pt x="319" y="623"/>
                  </a:lnTo>
                  <a:lnTo>
                    <a:pt x="331" y="622"/>
                  </a:lnTo>
                  <a:lnTo>
                    <a:pt x="385" y="633"/>
                  </a:lnTo>
                  <a:lnTo>
                    <a:pt x="390" y="622"/>
                  </a:lnTo>
                  <a:lnTo>
                    <a:pt x="401" y="621"/>
                  </a:lnTo>
                  <a:lnTo>
                    <a:pt x="425" y="626"/>
                  </a:lnTo>
                  <a:lnTo>
                    <a:pt x="426" y="620"/>
                  </a:lnTo>
                  <a:lnTo>
                    <a:pt x="422" y="613"/>
                  </a:lnTo>
                  <a:lnTo>
                    <a:pt x="429" y="609"/>
                  </a:lnTo>
                  <a:lnTo>
                    <a:pt x="472" y="607"/>
                  </a:lnTo>
                  <a:lnTo>
                    <a:pt x="700" y="352"/>
                  </a:lnTo>
                  <a:lnTo>
                    <a:pt x="707" y="349"/>
                  </a:lnTo>
                  <a:lnTo>
                    <a:pt x="724" y="335"/>
                  </a:lnTo>
                  <a:lnTo>
                    <a:pt x="732" y="324"/>
                  </a:lnTo>
                  <a:lnTo>
                    <a:pt x="752" y="236"/>
                  </a:lnTo>
                  <a:lnTo>
                    <a:pt x="717" y="235"/>
                  </a:lnTo>
                  <a:lnTo>
                    <a:pt x="710" y="238"/>
                  </a:lnTo>
                  <a:lnTo>
                    <a:pt x="706" y="251"/>
                  </a:lnTo>
                  <a:lnTo>
                    <a:pt x="700" y="258"/>
                  </a:lnTo>
                  <a:lnTo>
                    <a:pt x="670" y="255"/>
                  </a:lnTo>
                  <a:lnTo>
                    <a:pt x="660" y="228"/>
                  </a:lnTo>
                  <a:lnTo>
                    <a:pt x="676" y="190"/>
                  </a:lnTo>
                  <a:lnTo>
                    <a:pt x="688" y="182"/>
                  </a:lnTo>
                  <a:lnTo>
                    <a:pt x="707" y="195"/>
                  </a:lnTo>
                  <a:lnTo>
                    <a:pt x="713" y="188"/>
                  </a:lnTo>
                  <a:lnTo>
                    <a:pt x="693" y="29"/>
                  </a:lnTo>
                  <a:lnTo>
                    <a:pt x="692" y="28"/>
                  </a:lnTo>
                  <a:lnTo>
                    <a:pt x="688" y="27"/>
                  </a:lnTo>
                  <a:lnTo>
                    <a:pt x="675" y="14"/>
                  </a:lnTo>
                  <a:lnTo>
                    <a:pt x="658" y="9"/>
                  </a:lnTo>
                  <a:lnTo>
                    <a:pt x="637" y="10"/>
                  </a:lnTo>
                  <a:lnTo>
                    <a:pt x="600" y="0"/>
                  </a:lnTo>
                  <a:lnTo>
                    <a:pt x="591" y="4"/>
                  </a:lnTo>
                  <a:lnTo>
                    <a:pt x="589" y="7"/>
                  </a:lnTo>
                  <a:lnTo>
                    <a:pt x="536" y="34"/>
                  </a:lnTo>
                  <a:lnTo>
                    <a:pt x="491" y="74"/>
                  </a:lnTo>
                  <a:lnTo>
                    <a:pt x="467" y="108"/>
                  </a:lnTo>
                  <a:lnTo>
                    <a:pt x="444" y="125"/>
                  </a:lnTo>
                  <a:lnTo>
                    <a:pt x="432" y="140"/>
                  </a:lnTo>
                  <a:lnTo>
                    <a:pt x="420" y="168"/>
                  </a:lnTo>
                  <a:lnTo>
                    <a:pt x="415" y="174"/>
                  </a:lnTo>
                  <a:lnTo>
                    <a:pt x="379" y="182"/>
                  </a:lnTo>
                  <a:lnTo>
                    <a:pt x="367" y="181"/>
                  </a:lnTo>
                  <a:lnTo>
                    <a:pt x="337" y="167"/>
                  </a:lnTo>
                  <a:lnTo>
                    <a:pt x="324" y="165"/>
                  </a:lnTo>
                  <a:lnTo>
                    <a:pt x="315" y="169"/>
                  </a:lnTo>
                  <a:lnTo>
                    <a:pt x="284" y="207"/>
                  </a:lnTo>
                  <a:lnTo>
                    <a:pt x="274" y="213"/>
                  </a:lnTo>
                  <a:lnTo>
                    <a:pt x="261" y="232"/>
                  </a:lnTo>
                  <a:lnTo>
                    <a:pt x="233" y="239"/>
                  </a:lnTo>
                  <a:lnTo>
                    <a:pt x="196" y="234"/>
                  </a:lnTo>
                  <a:lnTo>
                    <a:pt x="193" y="227"/>
                  </a:lnTo>
                  <a:lnTo>
                    <a:pt x="202" y="198"/>
                  </a:lnTo>
                  <a:lnTo>
                    <a:pt x="200" y="178"/>
                  </a:lnTo>
                  <a:lnTo>
                    <a:pt x="161" y="134"/>
                  </a:lnTo>
                  <a:lnTo>
                    <a:pt x="157" y="134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0" name="Freeform 158"/>
            <p:cNvSpPr>
              <a:spLocks/>
            </p:cNvSpPr>
            <p:nvPr/>
          </p:nvSpPr>
          <p:spPr bwMode="auto">
            <a:xfrm>
              <a:off x="5637746" y="3746437"/>
              <a:ext cx="389955" cy="649376"/>
            </a:xfrm>
            <a:custGeom>
              <a:avLst/>
              <a:gdLst>
                <a:gd name="T0" fmla="*/ 10 w 325"/>
                <a:gd name="T1" fmla="*/ 23 h 648"/>
                <a:gd name="T2" fmla="*/ 13 w 325"/>
                <a:gd name="T3" fmla="*/ 23 h 648"/>
                <a:gd name="T4" fmla="*/ 15 w 325"/>
                <a:gd name="T5" fmla="*/ 22 h 648"/>
                <a:gd name="T6" fmla="*/ 16 w 325"/>
                <a:gd name="T7" fmla="*/ 23 h 648"/>
                <a:gd name="T8" fmla="*/ 18 w 325"/>
                <a:gd name="T9" fmla="*/ 23 h 648"/>
                <a:gd name="T10" fmla="*/ 18 w 325"/>
                <a:gd name="T11" fmla="*/ 21 h 648"/>
                <a:gd name="T12" fmla="*/ 20 w 325"/>
                <a:gd name="T13" fmla="*/ 21 h 648"/>
                <a:gd name="T14" fmla="*/ 22 w 325"/>
                <a:gd name="T15" fmla="*/ 21 h 648"/>
                <a:gd name="T16" fmla="*/ 24 w 325"/>
                <a:gd name="T17" fmla="*/ 23 h 648"/>
                <a:gd name="T18" fmla="*/ 26 w 325"/>
                <a:gd name="T19" fmla="*/ 23 h 648"/>
                <a:gd name="T20" fmla="*/ 24 w 325"/>
                <a:gd name="T21" fmla="*/ 21 h 648"/>
                <a:gd name="T22" fmla="*/ 26 w 325"/>
                <a:gd name="T23" fmla="*/ 18 h 648"/>
                <a:gd name="T24" fmla="*/ 28 w 325"/>
                <a:gd name="T25" fmla="*/ 18 h 648"/>
                <a:gd name="T26" fmla="*/ 30 w 325"/>
                <a:gd name="T27" fmla="*/ 19 h 648"/>
                <a:gd name="T28" fmla="*/ 30 w 325"/>
                <a:gd name="T29" fmla="*/ 17 h 648"/>
                <a:gd name="T30" fmla="*/ 31 w 325"/>
                <a:gd name="T31" fmla="*/ 15 h 648"/>
                <a:gd name="T32" fmla="*/ 32 w 325"/>
                <a:gd name="T33" fmla="*/ 15 h 648"/>
                <a:gd name="T34" fmla="*/ 34 w 325"/>
                <a:gd name="T35" fmla="*/ 15 h 648"/>
                <a:gd name="T36" fmla="*/ 36 w 325"/>
                <a:gd name="T37" fmla="*/ 15 h 648"/>
                <a:gd name="T38" fmla="*/ 35 w 325"/>
                <a:gd name="T39" fmla="*/ 14 h 648"/>
                <a:gd name="T40" fmla="*/ 35 w 325"/>
                <a:gd name="T41" fmla="*/ 11 h 648"/>
                <a:gd name="T42" fmla="*/ 37 w 325"/>
                <a:gd name="T43" fmla="*/ 10 h 648"/>
                <a:gd name="T44" fmla="*/ 36 w 325"/>
                <a:gd name="T45" fmla="*/ 8 h 648"/>
                <a:gd name="T46" fmla="*/ 38 w 325"/>
                <a:gd name="T47" fmla="*/ 9 h 648"/>
                <a:gd name="T48" fmla="*/ 40 w 325"/>
                <a:gd name="T49" fmla="*/ 6 h 648"/>
                <a:gd name="T50" fmla="*/ 42 w 325"/>
                <a:gd name="T51" fmla="*/ 6 h 648"/>
                <a:gd name="T52" fmla="*/ 42 w 325"/>
                <a:gd name="T53" fmla="*/ 2 h 648"/>
                <a:gd name="T54" fmla="*/ 45 w 325"/>
                <a:gd name="T55" fmla="*/ 1 h 648"/>
                <a:gd name="T56" fmla="*/ 50 w 325"/>
                <a:gd name="T57" fmla="*/ 3 h 648"/>
                <a:gd name="T58" fmla="*/ 54 w 325"/>
                <a:gd name="T59" fmla="*/ 22 h 648"/>
                <a:gd name="T60" fmla="*/ 51 w 325"/>
                <a:gd name="T61" fmla="*/ 19 h 648"/>
                <a:gd name="T62" fmla="*/ 50 w 325"/>
                <a:gd name="T63" fmla="*/ 23 h 648"/>
                <a:gd name="T64" fmla="*/ 51 w 325"/>
                <a:gd name="T65" fmla="*/ 26 h 648"/>
                <a:gd name="T66" fmla="*/ 45 w 325"/>
                <a:gd name="T67" fmla="*/ 41 h 648"/>
                <a:gd name="T68" fmla="*/ 30 w 325"/>
                <a:gd name="T69" fmla="*/ 76 h 648"/>
                <a:gd name="T70" fmla="*/ 27 w 325"/>
                <a:gd name="T71" fmla="*/ 77 h 648"/>
                <a:gd name="T72" fmla="*/ 21 w 325"/>
                <a:gd name="T73" fmla="*/ 78 h 648"/>
                <a:gd name="T74" fmla="*/ 15 w 325"/>
                <a:gd name="T75" fmla="*/ 80 h 648"/>
                <a:gd name="T76" fmla="*/ 5 w 325"/>
                <a:gd name="T77" fmla="*/ 73 h 648"/>
                <a:gd name="T78" fmla="*/ 4 w 325"/>
                <a:gd name="T79" fmla="*/ 68 h 648"/>
                <a:gd name="T80" fmla="*/ 1 w 325"/>
                <a:gd name="T81" fmla="*/ 63 h 648"/>
                <a:gd name="T82" fmla="*/ 0 w 325"/>
                <a:gd name="T83" fmla="*/ 57 h 648"/>
                <a:gd name="T84" fmla="*/ 4 w 325"/>
                <a:gd name="T85" fmla="*/ 53 h 648"/>
                <a:gd name="T86" fmla="*/ 9 w 325"/>
                <a:gd name="T87" fmla="*/ 46 h 648"/>
                <a:gd name="T88" fmla="*/ 9 w 325"/>
                <a:gd name="T89" fmla="*/ 44 h 648"/>
                <a:gd name="T90" fmla="*/ 6 w 325"/>
                <a:gd name="T91" fmla="*/ 36 h 648"/>
                <a:gd name="T92" fmla="*/ 5 w 325"/>
                <a:gd name="T93" fmla="*/ 31 h 648"/>
                <a:gd name="T94" fmla="*/ 9 w 325"/>
                <a:gd name="T95" fmla="*/ 24 h 6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25"/>
                <a:gd name="T145" fmla="*/ 0 h 648"/>
                <a:gd name="T146" fmla="*/ 325 w 325"/>
                <a:gd name="T147" fmla="*/ 648 h 64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25" h="648">
                  <a:moveTo>
                    <a:pt x="54" y="192"/>
                  </a:moveTo>
                  <a:lnTo>
                    <a:pt x="58" y="187"/>
                  </a:lnTo>
                  <a:lnTo>
                    <a:pt x="63" y="189"/>
                  </a:lnTo>
                  <a:lnTo>
                    <a:pt x="78" y="188"/>
                  </a:lnTo>
                  <a:lnTo>
                    <a:pt x="81" y="185"/>
                  </a:lnTo>
                  <a:lnTo>
                    <a:pt x="90" y="179"/>
                  </a:lnTo>
                  <a:lnTo>
                    <a:pt x="91" y="184"/>
                  </a:lnTo>
                  <a:lnTo>
                    <a:pt x="94" y="185"/>
                  </a:lnTo>
                  <a:lnTo>
                    <a:pt x="99" y="180"/>
                  </a:lnTo>
                  <a:lnTo>
                    <a:pt x="105" y="182"/>
                  </a:lnTo>
                  <a:lnTo>
                    <a:pt x="109" y="176"/>
                  </a:lnTo>
                  <a:lnTo>
                    <a:pt x="110" y="170"/>
                  </a:lnTo>
                  <a:lnTo>
                    <a:pt x="118" y="168"/>
                  </a:lnTo>
                  <a:lnTo>
                    <a:pt x="122" y="171"/>
                  </a:lnTo>
                  <a:lnTo>
                    <a:pt x="128" y="166"/>
                  </a:lnTo>
                  <a:lnTo>
                    <a:pt x="132" y="168"/>
                  </a:lnTo>
                  <a:lnTo>
                    <a:pt x="137" y="177"/>
                  </a:lnTo>
                  <a:lnTo>
                    <a:pt x="143" y="183"/>
                  </a:lnTo>
                  <a:lnTo>
                    <a:pt x="149" y="184"/>
                  </a:lnTo>
                  <a:lnTo>
                    <a:pt x="155" y="183"/>
                  </a:lnTo>
                  <a:lnTo>
                    <a:pt x="152" y="176"/>
                  </a:lnTo>
                  <a:lnTo>
                    <a:pt x="144" y="168"/>
                  </a:lnTo>
                  <a:lnTo>
                    <a:pt x="145" y="160"/>
                  </a:lnTo>
                  <a:lnTo>
                    <a:pt x="154" y="150"/>
                  </a:lnTo>
                  <a:lnTo>
                    <a:pt x="163" y="145"/>
                  </a:lnTo>
                  <a:lnTo>
                    <a:pt x="170" y="147"/>
                  </a:lnTo>
                  <a:lnTo>
                    <a:pt x="171" y="158"/>
                  </a:lnTo>
                  <a:lnTo>
                    <a:pt x="177" y="158"/>
                  </a:lnTo>
                  <a:lnTo>
                    <a:pt x="182" y="155"/>
                  </a:lnTo>
                  <a:lnTo>
                    <a:pt x="175" y="139"/>
                  </a:lnTo>
                  <a:lnTo>
                    <a:pt x="187" y="126"/>
                  </a:lnTo>
                  <a:lnTo>
                    <a:pt x="185" y="124"/>
                  </a:lnTo>
                  <a:lnTo>
                    <a:pt x="191" y="118"/>
                  </a:lnTo>
                  <a:lnTo>
                    <a:pt x="193" y="124"/>
                  </a:lnTo>
                  <a:lnTo>
                    <a:pt x="191" y="133"/>
                  </a:lnTo>
                  <a:lnTo>
                    <a:pt x="205" y="117"/>
                  </a:lnTo>
                  <a:lnTo>
                    <a:pt x="212" y="118"/>
                  </a:lnTo>
                  <a:lnTo>
                    <a:pt x="216" y="117"/>
                  </a:lnTo>
                  <a:lnTo>
                    <a:pt x="214" y="113"/>
                  </a:lnTo>
                  <a:lnTo>
                    <a:pt x="207" y="111"/>
                  </a:lnTo>
                  <a:lnTo>
                    <a:pt x="203" y="104"/>
                  </a:lnTo>
                  <a:lnTo>
                    <a:pt x="212" y="90"/>
                  </a:lnTo>
                  <a:lnTo>
                    <a:pt x="216" y="95"/>
                  </a:lnTo>
                  <a:lnTo>
                    <a:pt x="217" y="84"/>
                  </a:lnTo>
                  <a:lnTo>
                    <a:pt x="212" y="68"/>
                  </a:lnTo>
                  <a:lnTo>
                    <a:pt x="214" y="64"/>
                  </a:lnTo>
                  <a:lnTo>
                    <a:pt x="223" y="67"/>
                  </a:lnTo>
                  <a:lnTo>
                    <a:pt x="226" y="77"/>
                  </a:lnTo>
                  <a:lnTo>
                    <a:pt x="237" y="61"/>
                  </a:lnTo>
                  <a:lnTo>
                    <a:pt x="239" y="52"/>
                  </a:lnTo>
                  <a:lnTo>
                    <a:pt x="245" y="56"/>
                  </a:lnTo>
                  <a:lnTo>
                    <a:pt x="252" y="51"/>
                  </a:lnTo>
                  <a:lnTo>
                    <a:pt x="257" y="20"/>
                  </a:lnTo>
                  <a:lnTo>
                    <a:pt x="252" y="13"/>
                  </a:lnTo>
                  <a:lnTo>
                    <a:pt x="256" y="14"/>
                  </a:lnTo>
                  <a:lnTo>
                    <a:pt x="265" y="4"/>
                  </a:lnTo>
                  <a:lnTo>
                    <a:pt x="271" y="0"/>
                  </a:lnTo>
                  <a:lnTo>
                    <a:pt x="295" y="28"/>
                  </a:lnTo>
                  <a:lnTo>
                    <a:pt x="325" y="165"/>
                  </a:lnTo>
                  <a:lnTo>
                    <a:pt x="321" y="175"/>
                  </a:lnTo>
                  <a:lnTo>
                    <a:pt x="314" y="176"/>
                  </a:lnTo>
                  <a:lnTo>
                    <a:pt x="306" y="153"/>
                  </a:lnTo>
                  <a:lnTo>
                    <a:pt x="299" y="153"/>
                  </a:lnTo>
                  <a:lnTo>
                    <a:pt x="295" y="186"/>
                  </a:lnTo>
                  <a:lnTo>
                    <a:pt x="301" y="196"/>
                  </a:lnTo>
                  <a:lnTo>
                    <a:pt x="301" y="210"/>
                  </a:lnTo>
                  <a:lnTo>
                    <a:pt x="286" y="235"/>
                  </a:lnTo>
                  <a:lnTo>
                    <a:pt x="267" y="330"/>
                  </a:lnTo>
                  <a:lnTo>
                    <a:pt x="266" y="331"/>
                  </a:lnTo>
                  <a:lnTo>
                    <a:pt x="176" y="614"/>
                  </a:lnTo>
                  <a:lnTo>
                    <a:pt x="169" y="623"/>
                  </a:lnTo>
                  <a:lnTo>
                    <a:pt x="160" y="626"/>
                  </a:lnTo>
                  <a:lnTo>
                    <a:pt x="154" y="625"/>
                  </a:lnTo>
                  <a:lnTo>
                    <a:pt x="127" y="631"/>
                  </a:lnTo>
                  <a:lnTo>
                    <a:pt x="99" y="646"/>
                  </a:lnTo>
                  <a:lnTo>
                    <a:pt x="88" y="648"/>
                  </a:lnTo>
                  <a:lnTo>
                    <a:pt x="40" y="614"/>
                  </a:lnTo>
                  <a:lnTo>
                    <a:pt x="27" y="597"/>
                  </a:lnTo>
                  <a:lnTo>
                    <a:pt x="20" y="554"/>
                  </a:lnTo>
                  <a:lnTo>
                    <a:pt x="24" y="546"/>
                  </a:lnTo>
                  <a:lnTo>
                    <a:pt x="15" y="521"/>
                  </a:lnTo>
                  <a:lnTo>
                    <a:pt x="8" y="514"/>
                  </a:lnTo>
                  <a:lnTo>
                    <a:pt x="1" y="502"/>
                  </a:lnTo>
                  <a:lnTo>
                    <a:pt x="0" y="464"/>
                  </a:lnTo>
                  <a:lnTo>
                    <a:pt x="18" y="434"/>
                  </a:lnTo>
                  <a:lnTo>
                    <a:pt x="25" y="431"/>
                  </a:lnTo>
                  <a:lnTo>
                    <a:pt x="47" y="381"/>
                  </a:lnTo>
                  <a:lnTo>
                    <a:pt x="54" y="372"/>
                  </a:lnTo>
                  <a:lnTo>
                    <a:pt x="58" y="363"/>
                  </a:lnTo>
                  <a:lnTo>
                    <a:pt x="57" y="354"/>
                  </a:lnTo>
                  <a:lnTo>
                    <a:pt x="60" y="350"/>
                  </a:lnTo>
                  <a:lnTo>
                    <a:pt x="41" y="290"/>
                  </a:lnTo>
                  <a:lnTo>
                    <a:pt x="40" y="265"/>
                  </a:lnTo>
                  <a:lnTo>
                    <a:pt x="31" y="252"/>
                  </a:lnTo>
                  <a:lnTo>
                    <a:pt x="54" y="206"/>
                  </a:lnTo>
                  <a:lnTo>
                    <a:pt x="54" y="1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1" name="Freeform 159"/>
            <p:cNvSpPr>
              <a:spLocks/>
            </p:cNvSpPr>
            <p:nvPr/>
          </p:nvSpPr>
          <p:spPr bwMode="auto">
            <a:xfrm>
              <a:off x="5637746" y="3746437"/>
              <a:ext cx="389955" cy="649376"/>
            </a:xfrm>
            <a:custGeom>
              <a:avLst/>
              <a:gdLst>
                <a:gd name="T0" fmla="*/ 10 w 325"/>
                <a:gd name="T1" fmla="*/ 23 h 648"/>
                <a:gd name="T2" fmla="*/ 13 w 325"/>
                <a:gd name="T3" fmla="*/ 23 h 648"/>
                <a:gd name="T4" fmla="*/ 15 w 325"/>
                <a:gd name="T5" fmla="*/ 22 h 648"/>
                <a:gd name="T6" fmla="*/ 16 w 325"/>
                <a:gd name="T7" fmla="*/ 23 h 648"/>
                <a:gd name="T8" fmla="*/ 18 w 325"/>
                <a:gd name="T9" fmla="*/ 23 h 648"/>
                <a:gd name="T10" fmla="*/ 18 w 325"/>
                <a:gd name="T11" fmla="*/ 21 h 648"/>
                <a:gd name="T12" fmla="*/ 20 w 325"/>
                <a:gd name="T13" fmla="*/ 21 h 648"/>
                <a:gd name="T14" fmla="*/ 22 w 325"/>
                <a:gd name="T15" fmla="*/ 21 h 648"/>
                <a:gd name="T16" fmla="*/ 24 w 325"/>
                <a:gd name="T17" fmla="*/ 23 h 648"/>
                <a:gd name="T18" fmla="*/ 26 w 325"/>
                <a:gd name="T19" fmla="*/ 23 h 648"/>
                <a:gd name="T20" fmla="*/ 24 w 325"/>
                <a:gd name="T21" fmla="*/ 21 h 648"/>
                <a:gd name="T22" fmla="*/ 26 w 325"/>
                <a:gd name="T23" fmla="*/ 18 h 648"/>
                <a:gd name="T24" fmla="*/ 28 w 325"/>
                <a:gd name="T25" fmla="*/ 18 h 648"/>
                <a:gd name="T26" fmla="*/ 30 w 325"/>
                <a:gd name="T27" fmla="*/ 19 h 648"/>
                <a:gd name="T28" fmla="*/ 30 w 325"/>
                <a:gd name="T29" fmla="*/ 17 h 648"/>
                <a:gd name="T30" fmla="*/ 31 w 325"/>
                <a:gd name="T31" fmla="*/ 15 h 648"/>
                <a:gd name="T32" fmla="*/ 32 w 325"/>
                <a:gd name="T33" fmla="*/ 15 h 648"/>
                <a:gd name="T34" fmla="*/ 34 w 325"/>
                <a:gd name="T35" fmla="*/ 15 h 648"/>
                <a:gd name="T36" fmla="*/ 36 w 325"/>
                <a:gd name="T37" fmla="*/ 15 h 648"/>
                <a:gd name="T38" fmla="*/ 35 w 325"/>
                <a:gd name="T39" fmla="*/ 14 h 648"/>
                <a:gd name="T40" fmla="*/ 35 w 325"/>
                <a:gd name="T41" fmla="*/ 11 h 648"/>
                <a:gd name="T42" fmla="*/ 37 w 325"/>
                <a:gd name="T43" fmla="*/ 10 h 648"/>
                <a:gd name="T44" fmla="*/ 36 w 325"/>
                <a:gd name="T45" fmla="*/ 8 h 648"/>
                <a:gd name="T46" fmla="*/ 38 w 325"/>
                <a:gd name="T47" fmla="*/ 9 h 648"/>
                <a:gd name="T48" fmla="*/ 40 w 325"/>
                <a:gd name="T49" fmla="*/ 6 h 648"/>
                <a:gd name="T50" fmla="*/ 42 w 325"/>
                <a:gd name="T51" fmla="*/ 6 h 648"/>
                <a:gd name="T52" fmla="*/ 42 w 325"/>
                <a:gd name="T53" fmla="*/ 2 h 648"/>
                <a:gd name="T54" fmla="*/ 45 w 325"/>
                <a:gd name="T55" fmla="*/ 1 h 648"/>
                <a:gd name="T56" fmla="*/ 50 w 325"/>
                <a:gd name="T57" fmla="*/ 3 h 648"/>
                <a:gd name="T58" fmla="*/ 54 w 325"/>
                <a:gd name="T59" fmla="*/ 22 h 648"/>
                <a:gd name="T60" fmla="*/ 51 w 325"/>
                <a:gd name="T61" fmla="*/ 19 h 648"/>
                <a:gd name="T62" fmla="*/ 50 w 325"/>
                <a:gd name="T63" fmla="*/ 23 h 648"/>
                <a:gd name="T64" fmla="*/ 51 w 325"/>
                <a:gd name="T65" fmla="*/ 26 h 648"/>
                <a:gd name="T66" fmla="*/ 45 w 325"/>
                <a:gd name="T67" fmla="*/ 41 h 648"/>
                <a:gd name="T68" fmla="*/ 30 w 325"/>
                <a:gd name="T69" fmla="*/ 76 h 648"/>
                <a:gd name="T70" fmla="*/ 27 w 325"/>
                <a:gd name="T71" fmla="*/ 77 h 648"/>
                <a:gd name="T72" fmla="*/ 21 w 325"/>
                <a:gd name="T73" fmla="*/ 78 h 648"/>
                <a:gd name="T74" fmla="*/ 15 w 325"/>
                <a:gd name="T75" fmla="*/ 80 h 648"/>
                <a:gd name="T76" fmla="*/ 5 w 325"/>
                <a:gd name="T77" fmla="*/ 73 h 648"/>
                <a:gd name="T78" fmla="*/ 4 w 325"/>
                <a:gd name="T79" fmla="*/ 68 h 648"/>
                <a:gd name="T80" fmla="*/ 1 w 325"/>
                <a:gd name="T81" fmla="*/ 63 h 648"/>
                <a:gd name="T82" fmla="*/ 0 w 325"/>
                <a:gd name="T83" fmla="*/ 57 h 648"/>
                <a:gd name="T84" fmla="*/ 4 w 325"/>
                <a:gd name="T85" fmla="*/ 53 h 648"/>
                <a:gd name="T86" fmla="*/ 9 w 325"/>
                <a:gd name="T87" fmla="*/ 46 h 648"/>
                <a:gd name="T88" fmla="*/ 9 w 325"/>
                <a:gd name="T89" fmla="*/ 44 h 648"/>
                <a:gd name="T90" fmla="*/ 6 w 325"/>
                <a:gd name="T91" fmla="*/ 36 h 648"/>
                <a:gd name="T92" fmla="*/ 5 w 325"/>
                <a:gd name="T93" fmla="*/ 31 h 648"/>
                <a:gd name="T94" fmla="*/ 9 w 325"/>
                <a:gd name="T95" fmla="*/ 24 h 6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25"/>
                <a:gd name="T145" fmla="*/ 0 h 648"/>
                <a:gd name="T146" fmla="*/ 325 w 325"/>
                <a:gd name="T147" fmla="*/ 648 h 64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25" h="648">
                  <a:moveTo>
                    <a:pt x="54" y="192"/>
                  </a:moveTo>
                  <a:lnTo>
                    <a:pt x="58" y="187"/>
                  </a:lnTo>
                  <a:lnTo>
                    <a:pt x="63" y="189"/>
                  </a:lnTo>
                  <a:lnTo>
                    <a:pt x="78" y="188"/>
                  </a:lnTo>
                  <a:lnTo>
                    <a:pt x="81" y="185"/>
                  </a:lnTo>
                  <a:lnTo>
                    <a:pt x="90" y="179"/>
                  </a:lnTo>
                  <a:lnTo>
                    <a:pt x="91" y="184"/>
                  </a:lnTo>
                  <a:lnTo>
                    <a:pt x="94" y="185"/>
                  </a:lnTo>
                  <a:lnTo>
                    <a:pt x="99" y="180"/>
                  </a:lnTo>
                  <a:lnTo>
                    <a:pt x="105" y="182"/>
                  </a:lnTo>
                  <a:lnTo>
                    <a:pt x="109" y="176"/>
                  </a:lnTo>
                  <a:lnTo>
                    <a:pt x="110" y="170"/>
                  </a:lnTo>
                  <a:lnTo>
                    <a:pt x="118" y="168"/>
                  </a:lnTo>
                  <a:lnTo>
                    <a:pt x="122" y="171"/>
                  </a:lnTo>
                  <a:lnTo>
                    <a:pt x="128" y="166"/>
                  </a:lnTo>
                  <a:lnTo>
                    <a:pt x="132" y="168"/>
                  </a:lnTo>
                  <a:lnTo>
                    <a:pt x="137" y="177"/>
                  </a:lnTo>
                  <a:lnTo>
                    <a:pt x="143" y="183"/>
                  </a:lnTo>
                  <a:lnTo>
                    <a:pt x="149" y="184"/>
                  </a:lnTo>
                  <a:lnTo>
                    <a:pt x="155" y="183"/>
                  </a:lnTo>
                  <a:lnTo>
                    <a:pt x="152" y="176"/>
                  </a:lnTo>
                  <a:lnTo>
                    <a:pt x="144" y="168"/>
                  </a:lnTo>
                  <a:lnTo>
                    <a:pt x="145" y="160"/>
                  </a:lnTo>
                  <a:lnTo>
                    <a:pt x="154" y="150"/>
                  </a:lnTo>
                  <a:lnTo>
                    <a:pt x="163" y="145"/>
                  </a:lnTo>
                  <a:lnTo>
                    <a:pt x="170" y="147"/>
                  </a:lnTo>
                  <a:lnTo>
                    <a:pt x="171" y="158"/>
                  </a:lnTo>
                  <a:lnTo>
                    <a:pt x="177" y="158"/>
                  </a:lnTo>
                  <a:lnTo>
                    <a:pt x="182" y="155"/>
                  </a:lnTo>
                  <a:lnTo>
                    <a:pt x="175" y="139"/>
                  </a:lnTo>
                  <a:lnTo>
                    <a:pt x="187" y="126"/>
                  </a:lnTo>
                  <a:lnTo>
                    <a:pt x="185" y="124"/>
                  </a:lnTo>
                  <a:lnTo>
                    <a:pt x="191" y="118"/>
                  </a:lnTo>
                  <a:lnTo>
                    <a:pt x="193" y="124"/>
                  </a:lnTo>
                  <a:lnTo>
                    <a:pt x="191" y="133"/>
                  </a:lnTo>
                  <a:lnTo>
                    <a:pt x="205" y="117"/>
                  </a:lnTo>
                  <a:lnTo>
                    <a:pt x="212" y="118"/>
                  </a:lnTo>
                  <a:lnTo>
                    <a:pt x="216" y="117"/>
                  </a:lnTo>
                  <a:lnTo>
                    <a:pt x="214" y="113"/>
                  </a:lnTo>
                  <a:lnTo>
                    <a:pt x="207" y="111"/>
                  </a:lnTo>
                  <a:lnTo>
                    <a:pt x="203" y="104"/>
                  </a:lnTo>
                  <a:lnTo>
                    <a:pt x="212" y="90"/>
                  </a:lnTo>
                  <a:lnTo>
                    <a:pt x="216" y="95"/>
                  </a:lnTo>
                  <a:lnTo>
                    <a:pt x="217" y="84"/>
                  </a:lnTo>
                  <a:lnTo>
                    <a:pt x="212" y="68"/>
                  </a:lnTo>
                  <a:lnTo>
                    <a:pt x="214" y="64"/>
                  </a:lnTo>
                  <a:lnTo>
                    <a:pt x="223" y="67"/>
                  </a:lnTo>
                  <a:lnTo>
                    <a:pt x="226" y="77"/>
                  </a:lnTo>
                  <a:lnTo>
                    <a:pt x="237" y="61"/>
                  </a:lnTo>
                  <a:lnTo>
                    <a:pt x="239" y="52"/>
                  </a:lnTo>
                  <a:lnTo>
                    <a:pt x="245" y="56"/>
                  </a:lnTo>
                  <a:lnTo>
                    <a:pt x="252" y="51"/>
                  </a:lnTo>
                  <a:lnTo>
                    <a:pt x="257" y="20"/>
                  </a:lnTo>
                  <a:lnTo>
                    <a:pt x="252" y="13"/>
                  </a:lnTo>
                  <a:lnTo>
                    <a:pt x="256" y="14"/>
                  </a:lnTo>
                  <a:lnTo>
                    <a:pt x="265" y="4"/>
                  </a:lnTo>
                  <a:lnTo>
                    <a:pt x="271" y="0"/>
                  </a:lnTo>
                  <a:lnTo>
                    <a:pt x="295" y="28"/>
                  </a:lnTo>
                  <a:lnTo>
                    <a:pt x="325" y="165"/>
                  </a:lnTo>
                  <a:lnTo>
                    <a:pt x="321" y="175"/>
                  </a:lnTo>
                  <a:lnTo>
                    <a:pt x="314" y="176"/>
                  </a:lnTo>
                  <a:lnTo>
                    <a:pt x="306" y="153"/>
                  </a:lnTo>
                  <a:lnTo>
                    <a:pt x="299" y="153"/>
                  </a:lnTo>
                  <a:lnTo>
                    <a:pt x="295" y="186"/>
                  </a:lnTo>
                  <a:lnTo>
                    <a:pt x="301" y="196"/>
                  </a:lnTo>
                  <a:lnTo>
                    <a:pt x="301" y="210"/>
                  </a:lnTo>
                  <a:lnTo>
                    <a:pt x="286" y="235"/>
                  </a:lnTo>
                  <a:lnTo>
                    <a:pt x="267" y="330"/>
                  </a:lnTo>
                  <a:lnTo>
                    <a:pt x="266" y="331"/>
                  </a:lnTo>
                  <a:lnTo>
                    <a:pt x="176" y="614"/>
                  </a:lnTo>
                  <a:lnTo>
                    <a:pt x="169" y="623"/>
                  </a:lnTo>
                  <a:lnTo>
                    <a:pt x="160" y="626"/>
                  </a:lnTo>
                  <a:lnTo>
                    <a:pt x="154" y="625"/>
                  </a:lnTo>
                  <a:lnTo>
                    <a:pt x="127" y="631"/>
                  </a:lnTo>
                  <a:lnTo>
                    <a:pt x="99" y="646"/>
                  </a:lnTo>
                  <a:lnTo>
                    <a:pt x="88" y="648"/>
                  </a:lnTo>
                  <a:lnTo>
                    <a:pt x="40" y="614"/>
                  </a:lnTo>
                  <a:lnTo>
                    <a:pt x="27" y="597"/>
                  </a:lnTo>
                  <a:lnTo>
                    <a:pt x="20" y="554"/>
                  </a:lnTo>
                  <a:lnTo>
                    <a:pt x="24" y="546"/>
                  </a:lnTo>
                  <a:lnTo>
                    <a:pt x="15" y="521"/>
                  </a:lnTo>
                  <a:lnTo>
                    <a:pt x="8" y="514"/>
                  </a:lnTo>
                  <a:lnTo>
                    <a:pt x="1" y="502"/>
                  </a:lnTo>
                  <a:lnTo>
                    <a:pt x="0" y="464"/>
                  </a:lnTo>
                  <a:lnTo>
                    <a:pt x="18" y="434"/>
                  </a:lnTo>
                  <a:lnTo>
                    <a:pt x="25" y="431"/>
                  </a:lnTo>
                  <a:lnTo>
                    <a:pt x="47" y="381"/>
                  </a:lnTo>
                  <a:lnTo>
                    <a:pt x="54" y="372"/>
                  </a:lnTo>
                  <a:lnTo>
                    <a:pt x="58" y="363"/>
                  </a:lnTo>
                  <a:lnTo>
                    <a:pt x="57" y="354"/>
                  </a:lnTo>
                  <a:lnTo>
                    <a:pt x="60" y="350"/>
                  </a:lnTo>
                  <a:lnTo>
                    <a:pt x="41" y="290"/>
                  </a:lnTo>
                  <a:lnTo>
                    <a:pt x="40" y="265"/>
                  </a:lnTo>
                  <a:lnTo>
                    <a:pt x="31" y="252"/>
                  </a:lnTo>
                  <a:lnTo>
                    <a:pt x="54" y="206"/>
                  </a:lnTo>
                  <a:lnTo>
                    <a:pt x="54" y="1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2" name="Freeform 160"/>
            <p:cNvSpPr>
              <a:spLocks/>
            </p:cNvSpPr>
            <p:nvPr/>
          </p:nvSpPr>
          <p:spPr bwMode="auto">
            <a:xfrm>
              <a:off x="3848419" y="1547833"/>
              <a:ext cx="12186" cy="11132"/>
            </a:xfrm>
            <a:custGeom>
              <a:avLst/>
              <a:gdLst>
                <a:gd name="T0" fmla="*/ 1 w 10"/>
                <a:gd name="T1" fmla="*/ 1 h 11"/>
                <a:gd name="T2" fmla="*/ 1 w 10"/>
                <a:gd name="T3" fmla="*/ 0 h 11"/>
                <a:gd name="T4" fmla="*/ 2 w 10"/>
                <a:gd name="T5" fmla="*/ 1 h 11"/>
                <a:gd name="T6" fmla="*/ 2 w 10"/>
                <a:gd name="T7" fmla="*/ 2 h 11"/>
                <a:gd name="T8" fmla="*/ 1 w 10"/>
                <a:gd name="T9" fmla="*/ 2 h 11"/>
                <a:gd name="T10" fmla="*/ 0 w 10"/>
                <a:gd name="T11" fmla="*/ 1 h 11"/>
                <a:gd name="T12" fmla="*/ 1 w 10"/>
                <a:gd name="T13" fmla="*/ 0 h 11"/>
                <a:gd name="T14" fmla="*/ 1 w 10"/>
                <a:gd name="T15" fmla="*/ 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1"/>
                <a:gd name="T26" fmla="*/ 10 w 10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1">
                  <a:moveTo>
                    <a:pt x="8" y="2"/>
                  </a:moveTo>
                  <a:lnTo>
                    <a:pt x="7" y="0"/>
                  </a:lnTo>
                  <a:lnTo>
                    <a:pt x="10" y="6"/>
                  </a:lnTo>
                  <a:lnTo>
                    <a:pt x="10" y="11"/>
                  </a:lnTo>
                  <a:lnTo>
                    <a:pt x="1" y="11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3" name="Freeform 161"/>
            <p:cNvSpPr>
              <a:spLocks/>
            </p:cNvSpPr>
            <p:nvPr/>
          </p:nvSpPr>
          <p:spPr bwMode="auto">
            <a:xfrm>
              <a:off x="3848419" y="1547833"/>
              <a:ext cx="12186" cy="11132"/>
            </a:xfrm>
            <a:custGeom>
              <a:avLst/>
              <a:gdLst>
                <a:gd name="T0" fmla="*/ 1 w 10"/>
                <a:gd name="T1" fmla="*/ 1 h 11"/>
                <a:gd name="T2" fmla="*/ 1 w 10"/>
                <a:gd name="T3" fmla="*/ 0 h 11"/>
                <a:gd name="T4" fmla="*/ 2 w 10"/>
                <a:gd name="T5" fmla="*/ 1 h 11"/>
                <a:gd name="T6" fmla="*/ 2 w 10"/>
                <a:gd name="T7" fmla="*/ 2 h 11"/>
                <a:gd name="T8" fmla="*/ 1 w 10"/>
                <a:gd name="T9" fmla="*/ 2 h 11"/>
                <a:gd name="T10" fmla="*/ 0 w 10"/>
                <a:gd name="T11" fmla="*/ 1 h 11"/>
                <a:gd name="T12" fmla="*/ 1 w 10"/>
                <a:gd name="T13" fmla="*/ 0 h 11"/>
                <a:gd name="T14" fmla="*/ 1 w 10"/>
                <a:gd name="T15" fmla="*/ 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1"/>
                <a:gd name="T26" fmla="*/ 10 w 10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1">
                  <a:moveTo>
                    <a:pt x="8" y="2"/>
                  </a:moveTo>
                  <a:lnTo>
                    <a:pt x="7" y="0"/>
                  </a:lnTo>
                  <a:lnTo>
                    <a:pt x="10" y="6"/>
                  </a:lnTo>
                  <a:lnTo>
                    <a:pt x="10" y="11"/>
                  </a:lnTo>
                  <a:lnTo>
                    <a:pt x="1" y="11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4" name="Freeform 162"/>
            <p:cNvSpPr>
              <a:spLocks/>
            </p:cNvSpPr>
            <p:nvPr/>
          </p:nvSpPr>
          <p:spPr bwMode="auto">
            <a:xfrm>
              <a:off x="5140147" y="1581229"/>
              <a:ext cx="81241" cy="209657"/>
            </a:xfrm>
            <a:custGeom>
              <a:avLst/>
              <a:gdLst>
                <a:gd name="T0" fmla="*/ 6 w 68"/>
                <a:gd name="T1" fmla="*/ 25 h 210"/>
                <a:gd name="T2" fmla="*/ 8 w 68"/>
                <a:gd name="T3" fmla="*/ 16 h 210"/>
                <a:gd name="T4" fmla="*/ 9 w 68"/>
                <a:gd name="T5" fmla="*/ 14 h 210"/>
                <a:gd name="T6" fmla="*/ 9 w 68"/>
                <a:gd name="T7" fmla="*/ 13 h 210"/>
                <a:gd name="T8" fmla="*/ 9 w 68"/>
                <a:gd name="T9" fmla="*/ 12 h 210"/>
                <a:gd name="T10" fmla="*/ 9 w 68"/>
                <a:gd name="T11" fmla="*/ 12 h 210"/>
                <a:gd name="T12" fmla="*/ 9 w 68"/>
                <a:gd name="T13" fmla="*/ 12 h 210"/>
                <a:gd name="T14" fmla="*/ 8 w 68"/>
                <a:gd name="T15" fmla="*/ 12 h 210"/>
                <a:gd name="T16" fmla="*/ 6 w 68"/>
                <a:gd name="T17" fmla="*/ 13 h 210"/>
                <a:gd name="T18" fmla="*/ 6 w 68"/>
                <a:gd name="T19" fmla="*/ 13 h 210"/>
                <a:gd name="T20" fmla="*/ 5 w 68"/>
                <a:gd name="T21" fmla="*/ 12 h 210"/>
                <a:gd name="T22" fmla="*/ 5 w 68"/>
                <a:gd name="T23" fmla="*/ 12 h 210"/>
                <a:gd name="T24" fmla="*/ 6 w 68"/>
                <a:gd name="T25" fmla="*/ 12 h 210"/>
                <a:gd name="T26" fmla="*/ 6 w 68"/>
                <a:gd name="T27" fmla="*/ 10 h 210"/>
                <a:gd name="T28" fmla="*/ 7 w 68"/>
                <a:gd name="T29" fmla="*/ 10 h 210"/>
                <a:gd name="T30" fmla="*/ 8 w 68"/>
                <a:gd name="T31" fmla="*/ 10 h 210"/>
                <a:gd name="T32" fmla="*/ 8 w 68"/>
                <a:gd name="T33" fmla="*/ 10 h 210"/>
                <a:gd name="T34" fmla="*/ 8 w 68"/>
                <a:gd name="T35" fmla="*/ 10 h 210"/>
                <a:gd name="T36" fmla="*/ 7 w 68"/>
                <a:gd name="T37" fmla="*/ 10 h 210"/>
                <a:gd name="T38" fmla="*/ 6 w 68"/>
                <a:gd name="T39" fmla="*/ 10 h 210"/>
                <a:gd name="T40" fmla="*/ 6 w 68"/>
                <a:gd name="T41" fmla="*/ 9 h 210"/>
                <a:gd name="T42" fmla="*/ 6 w 68"/>
                <a:gd name="T43" fmla="*/ 9 h 210"/>
                <a:gd name="T44" fmla="*/ 6 w 68"/>
                <a:gd name="T45" fmla="*/ 7 h 210"/>
                <a:gd name="T46" fmla="*/ 6 w 68"/>
                <a:gd name="T47" fmla="*/ 6 h 210"/>
                <a:gd name="T48" fmla="*/ 7 w 68"/>
                <a:gd name="T49" fmla="*/ 5 h 210"/>
                <a:gd name="T50" fmla="*/ 7 w 68"/>
                <a:gd name="T51" fmla="*/ 5 h 210"/>
                <a:gd name="T52" fmla="*/ 8 w 68"/>
                <a:gd name="T53" fmla="*/ 5 h 210"/>
                <a:gd name="T54" fmla="*/ 9 w 68"/>
                <a:gd name="T55" fmla="*/ 5 h 210"/>
                <a:gd name="T56" fmla="*/ 9 w 68"/>
                <a:gd name="T57" fmla="*/ 5 h 210"/>
                <a:gd name="T58" fmla="*/ 9 w 68"/>
                <a:gd name="T59" fmla="*/ 5 h 210"/>
                <a:gd name="T60" fmla="*/ 10 w 68"/>
                <a:gd name="T61" fmla="*/ 6 h 210"/>
                <a:gd name="T62" fmla="*/ 11 w 68"/>
                <a:gd name="T63" fmla="*/ 6 h 210"/>
                <a:gd name="T64" fmla="*/ 11 w 68"/>
                <a:gd name="T65" fmla="*/ 4 h 210"/>
                <a:gd name="T66" fmla="*/ 11 w 68"/>
                <a:gd name="T67" fmla="*/ 3 h 210"/>
                <a:gd name="T68" fmla="*/ 11 w 68"/>
                <a:gd name="T69" fmla="*/ 3 h 210"/>
                <a:gd name="T70" fmla="*/ 11 w 68"/>
                <a:gd name="T71" fmla="*/ 2 h 210"/>
                <a:gd name="T72" fmla="*/ 11 w 68"/>
                <a:gd name="T73" fmla="*/ 2 h 210"/>
                <a:gd name="T74" fmla="*/ 11 w 68"/>
                <a:gd name="T75" fmla="*/ 2 h 210"/>
                <a:gd name="T76" fmla="*/ 11 w 68"/>
                <a:gd name="T77" fmla="*/ 1 h 210"/>
                <a:gd name="T78" fmla="*/ 11 w 68"/>
                <a:gd name="T79" fmla="*/ 0 h 210"/>
                <a:gd name="T80" fmla="*/ 11 w 68"/>
                <a:gd name="T81" fmla="*/ 1 h 210"/>
                <a:gd name="T82" fmla="*/ 10 w 68"/>
                <a:gd name="T83" fmla="*/ 2 h 210"/>
                <a:gd name="T84" fmla="*/ 9 w 68"/>
                <a:gd name="T85" fmla="*/ 2 h 210"/>
                <a:gd name="T86" fmla="*/ 9 w 68"/>
                <a:gd name="T87" fmla="*/ 2 h 210"/>
                <a:gd name="T88" fmla="*/ 9 w 68"/>
                <a:gd name="T89" fmla="*/ 2 h 210"/>
                <a:gd name="T90" fmla="*/ 9 w 68"/>
                <a:gd name="T91" fmla="*/ 2 h 210"/>
                <a:gd name="T92" fmla="*/ 7 w 68"/>
                <a:gd name="T93" fmla="*/ 2 h 210"/>
                <a:gd name="T94" fmla="*/ 6 w 68"/>
                <a:gd name="T95" fmla="*/ 1 h 210"/>
                <a:gd name="T96" fmla="*/ 3 w 68"/>
                <a:gd name="T97" fmla="*/ 10 h 210"/>
                <a:gd name="T98" fmla="*/ 2 w 68"/>
                <a:gd name="T99" fmla="*/ 12 h 210"/>
                <a:gd name="T100" fmla="*/ 2 w 68"/>
                <a:gd name="T101" fmla="*/ 12 h 210"/>
                <a:gd name="T102" fmla="*/ 1 w 68"/>
                <a:gd name="T103" fmla="*/ 13 h 210"/>
                <a:gd name="T104" fmla="*/ 1 w 68"/>
                <a:gd name="T105" fmla="*/ 13 h 210"/>
                <a:gd name="T106" fmla="*/ 0 w 68"/>
                <a:gd name="T107" fmla="*/ 14 h 210"/>
                <a:gd name="T108" fmla="*/ 5 w 68"/>
                <a:gd name="T109" fmla="*/ 25 h 210"/>
                <a:gd name="T110" fmla="*/ 6 w 68"/>
                <a:gd name="T111" fmla="*/ 25 h 2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"/>
                <a:gd name="T169" fmla="*/ 0 h 210"/>
                <a:gd name="T170" fmla="*/ 68 w 68"/>
                <a:gd name="T171" fmla="*/ 210 h 2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" h="210">
                  <a:moveTo>
                    <a:pt x="37" y="207"/>
                  </a:moveTo>
                  <a:lnTo>
                    <a:pt x="51" y="132"/>
                  </a:lnTo>
                  <a:lnTo>
                    <a:pt x="59" y="116"/>
                  </a:lnTo>
                  <a:lnTo>
                    <a:pt x="57" y="111"/>
                  </a:lnTo>
                  <a:lnTo>
                    <a:pt x="59" y="100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46" y="103"/>
                  </a:lnTo>
                  <a:lnTo>
                    <a:pt x="37" y="105"/>
                  </a:lnTo>
                  <a:lnTo>
                    <a:pt x="36" y="107"/>
                  </a:lnTo>
                  <a:lnTo>
                    <a:pt x="32" y="103"/>
                  </a:lnTo>
                  <a:lnTo>
                    <a:pt x="32" y="99"/>
                  </a:lnTo>
                  <a:lnTo>
                    <a:pt x="36" y="96"/>
                  </a:lnTo>
                  <a:lnTo>
                    <a:pt x="39" y="85"/>
                  </a:lnTo>
                  <a:lnTo>
                    <a:pt x="42" y="82"/>
                  </a:lnTo>
                  <a:lnTo>
                    <a:pt x="47" y="82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5" y="78"/>
                  </a:lnTo>
                  <a:lnTo>
                    <a:pt x="37" y="78"/>
                  </a:lnTo>
                  <a:lnTo>
                    <a:pt x="38" y="74"/>
                  </a:lnTo>
                  <a:lnTo>
                    <a:pt x="36" y="70"/>
                  </a:lnTo>
                  <a:lnTo>
                    <a:pt x="36" y="57"/>
                  </a:lnTo>
                  <a:lnTo>
                    <a:pt x="41" y="52"/>
                  </a:lnTo>
                  <a:lnTo>
                    <a:pt x="42" y="44"/>
                  </a:lnTo>
                  <a:lnTo>
                    <a:pt x="43" y="42"/>
                  </a:lnTo>
                  <a:lnTo>
                    <a:pt x="46" y="41"/>
                  </a:lnTo>
                  <a:lnTo>
                    <a:pt x="52" y="42"/>
                  </a:lnTo>
                  <a:lnTo>
                    <a:pt x="56" y="41"/>
                  </a:lnTo>
                  <a:lnTo>
                    <a:pt x="57" y="46"/>
                  </a:lnTo>
                  <a:lnTo>
                    <a:pt x="60" y="49"/>
                  </a:lnTo>
                  <a:lnTo>
                    <a:pt x="63" y="49"/>
                  </a:lnTo>
                  <a:lnTo>
                    <a:pt x="63" y="33"/>
                  </a:lnTo>
                  <a:lnTo>
                    <a:pt x="68" y="28"/>
                  </a:lnTo>
                  <a:lnTo>
                    <a:pt x="65" y="22"/>
                  </a:lnTo>
                  <a:lnTo>
                    <a:pt x="67" y="17"/>
                  </a:lnTo>
                  <a:lnTo>
                    <a:pt x="65" y="14"/>
                  </a:lnTo>
                  <a:lnTo>
                    <a:pt x="68" y="11"/>
                  </a:lnTo>
                  <a:lnTo>
                    <a:pt x="67" y="1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2" y="13"/>
                  </a:lnTo>
                  <a:lnTo>
                    <a:pt x="58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1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19" y="86"/>
                  </a:lnTo>
                  <a:lnTo>
                    <a:pt x="11" y="95"/>
                  </a:lnTo>
                  <a:lnTo>
                    <a:pt x="14" y="99"/>
                  </a:lnTo>
                  <a:lnTo>
                    <a:pt x="6" y="108"/>
                  </a:lnTo>
                  <a:lnTo>
                    <a:pt x="6" y="112"/>
                  </a:lnTo>
                  <a:lnTo>
                    <a:pt x="0" y="115"/>
                  </a:lnTo>
                  <a:lnTo>
                    <a:pt x="32" y="210"/>
                  </a:lnTo>
                  <a:lnTo>
                    <a:pt x="37" y="20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5" name="Freeform 163"/>
            <p:cNvSpPr>
              <a:spLocks/>
            </p:cNvSpPr>
            <p:nvPr/>
          </p:nvSpPr>
          <p:spPr bwMode="auto">
            <a:xfrm>
              <a:off x="5140147" y="1581229"/>
              <a:ext cx="81241" cy="209657"/>
            </a:xfrm>
            <a:custGeom>
              <a:avLst/>
              <a:gdLst>
                <a:gd name="T0" fmla="*/ 6 w 68"/>
                <a:gd name="T1" fmla="*/ 25 h 210"/>
                <a:gd name="T2" fmla="*/ 8 w 68"/>
                <a:gd name="T3" fmla="*/ 16 h 210"/>
                <a:gd name="T4" fmla="*/ 9 w 68"/>
                <a:gd name="T5" fmla="*/ 14 h 210"/>
                <a:gd name="T6" fmla="*/ 9 w 68"/>
                <a:gd name="T7" fmla="*/ 13 h 210"/>
                <a:gd name="T8" fmla="*/ 9 w 68"/>
                <a:gd name="T9" fmla="*/ 12 h 210"/>
                <a:gd name="T10" fmla="*/ 9 w 68"/>
                <a:gd name="T11" fmla="*/ 12 h 210"/>
                <a:gd name="T12" fmla="*/ 9 w 68"/>
                <a:gd name="T13" fmla="*/ 12 h 210"/>
                <a:gd name="T14" fmla="*/ 8 w 68"/>
                <a:gd name="T15" fmla="*/ 12 h 210"/>
                <a:gd name="T16" fmla="*/ 6 w 68"/>
                <a:gd name="T17" fmla="*/ 13 h 210"/>
                <a:gd name="T18" fmla="*/ 6 w 68"/>
                <a:gd name="T19" fmla="*/ 13 h 210"/>
                <a:gd name="T20" fmla="*/ 5 w 68"/>
                <a:gd name="T21" fmla="*/ 12 h 210"/>
                <a:gd name="T22" fmla="*/ 5 w 68"/>
                <a:gd name="T23" fmla="*/ 12 h 210"/>
                <a:gd name="T24" fmla="*/ 6 w 68"/>
                <a:gd name="T25" fmla="*/ 12 h 210"/>
                <a:gd name="T26" fmla="*/ 6 w 68"/>
                <a:gd name="T27" fmla="*/ 10 h 210"/>
                <a:gd name="T28" fmla="*/ 7 w 68"/>
                <a:gd name="T29" fmla="*/ 10 h 210"/>
                <a:gd name="T30" fmla="*/ 8 w 68"/>
                <a:gd name="T31" fmla="*/ 10 h 210"/>
                <a:gd name="T32" fmla="*/ 8 w 68"/>
                <a:gd name="T33" fmla="*/ 10 h 210"/>
                <a:gd name="T34" fmla="*/ 8 w 68"/>
                <a:gd name="T35" fmla="*/ 10 h 210"/>
                <a:gd name="T36" fmla="*/ 7 w 68"/>
                <a:gd name="T37" fmla="*/ 10 h 210"/>
                <a:gd name="T38" fmla="*/ 6 w 68"/>
                <a:gd name="T39" fmla="*/ 10 h 210"/>
                <a:gd name="T40" fmla="*/ 6 w 68"/>
                <a:gd name="T41" fmla="*/ 9 h 210"/>
                <a:gd name="T42" fmla="*/ 6 w 68"/>
                <a:gd name="T43" fmla="*/ 9 h 210"/>
                <a:gd name="T44" fmla="*/ 6 w 68"/>
                <a:gd name="T45" fmla="*/ 7 h 210"/>
                <a:gd name="T46" fmla="*/ 6 w 68"/>
                <a:gd name="T47" fmla="*/ 6 h 210"/>
                <a:gd name="T48" fmla="*/ 7 w 68"/>
                <a:gd name="T49" fmla="*/ 5 h 210"/>
                <a:gd name="T50" fmla="*/ 7 w 68"/>
                <a:gd name="T51" fmla="*/ 5 h 210"/>
                <a:gd name="T52" fmla="*/ 8 w 68"/>
                <a:gd name="T53" fmla="*/ 5 h 210"/>
                <a:gd name="T54" fmla="*/ 9 w 68"/>
                <a:gd name="T55" fmla="*/ 5 h 210"/>
                <a:gd name="T56" fmla="*/ 9 w 68"/>
                <a:gd name="T57" fmla="*/ 5 h 210"/>
                <a:gd name="T58" fmla="*/ 9 w 68"/>
                <a:gd name="T59" fmla="*/ 5 h 210"/>
                <a:gd name="T60" fmla="*/ 10 w 68"/>
                <a:gd name="T61" fmla="*/ 6 h 210"/>
                <a:gd name="T62" fmla="*/ 11 w 68"/>
                <a:gd name="T63" fmla="*/ 6 h 210"/>
                <a:gd name="T64" fmla="*/ 11 w 68"/>
                <a:gd name="T65" fmla="*/ 4 h 210"/>
                <a:gd name="T66" fmla="*/ 11 w 68"/>
                <a:gd name="T67" fmla="*/ 3 h 210"/>
                <a:gd name="T68" fmla="*/ 11 w 68"/>
                <a:gd name="T69" fmla="*/ 3 h 210"/>
                <a:gd name="T70" fmla="*/ 11 w 68"/>
                <a:gd name="T71" fmla="*/ 2 h 210"/>
                <a:gd name="T72" fmla="*/ 11 w 68"/>
                <a:gd name="T73" fmla="*/ 2 h 210"/>
                <a:gd name="T74" fmla="*/ 11 w 68"/>
                <a:gd name="T75" fmla="*/ 2 h 210"/>
                <a:gd name="T76" fmla="*/ 11 w 68"/>
                <a:gd name="T77" fmla="*/ 1 h 210"/>
                <a:gd name="T78" fmla="*/ 11 w 68"/>
                <a:gd name="T79" fmla="*/ 0 h 210"/>
                <a:gd name="T80" fmla="*/ 11 w 68"/>
                <a:gd name="T81" fmla="*/ 1 h 210"/>
                <a:gd name="T82" fmla="*/ 10 w 68"/>
                <a:gd name="T83" fmla="*/ 2 h 210"/>
                <a:gd name="T84" fmla="*/ 9 w 68"/>
                <a:gd name="T85" fmla="*/ 2 h 210"/>
                <a:gd name="T86" fmla="*/ 9 w 68"/>
                <a:gd name="T87" fmla="*/ 2 h 210"/>
                <a:gd name="T88" fmla="*/ 9 w 68"/>
                <a:gd name="T89" fmla="*/ 2 h 210"/>
                <a:gd name="T90" fmla="*/ 9 w 68"/>
                <a:gd name="T91" fmla="*/ 2 h 210"/>
                <a:gd name="T92" fmla="*/ 7 w 68"/>
                <a:gd name="T93" fmla="*/ 2 h 210"/>
                <a:gd name="T94" fmla="*/ 6 w 68"/>
                <a:gd name="T95" fmla="*/ 1 h 210"/>
                <a:gd name="T96" fmla="*/ 3 w 68"/>
                <a:gd name="T97" fmla="*/ 10 h 210"/>
                <a:gd name="T98" fmla="*/ 2 w 68"/>
                <a:gd name="T99" fmla="*/ 12 h 210"/>
                <a:gd name="T100" fmla="*/ 2 w 68"/>
                <a:gd name="T101" fmla="*/ 12 h 210"/>
                <a:gd name="T102" fmla="*/ 1 w 68"/>
                <a:gd name="T103" fmla="*/ 13 h 210"/>
                <a:gd name="T104" fmla="*/ 1 w 68"/>
                <a:gd name="T105" fmla="*/ 13 h 210"/>
                <a:gd name="T106" fmla="*/ 0 w 68"/>
                <a:gd name="T107" fmla="*/ 14 h 210"/>
                <a:gd name="T108" fmla="*/ 5 w 68"/>
                <a:gd name="T109" fmla="*/ 25 h 210"/>
                <a:gd name="T110" fmla="*/ 6 w 68"/>
                <a:gd name="T111" fmla="*/ 25 h 2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"/>
                <a:gd name="T169" fmla="*/ 0 h 210"/>
                <a:gd name="T170" fmla="*/ 68 w 68"/>
                <a:gd name="T171" fmla="*/ 210 h 2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" h="210">
                  <a:moveTo>
                    <a:pt x="37" y="207"/>
                  </a:moveTo>
                  <a:lnTo>
                    <a:pt x="51" y="132"/>
                  </a:lnTo>
                  <a:lnTo>
                    <a:pt x="59" y="116"/>
                  </a:lnTo>
                  <a:lnTo>
                    <a:pt x="57" y="111"/>
                  </a:lnTo>
                  <a:lnTo>
                    <a:pt x="59" y="100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46" y="103"/>
                  </a:lnTo>
                  <a:lnTo>
                    <a:pt x="37" y="105"/>
                  </a:lnTo>
                  <a:lnTo>
                    <a:pt x="36" y="107"/>
                  </a:lnTo>
                  <a:lnTo>
                    <a:pt x="32" y="103"/>
                  </a:lnTo>
                  <a:lnTo>
                    <a:pt x="32" y="99"/>
                  </a:lnTo>
                  <a:lnTo>
                    <a:pt x="36" y="96"/>
                  </a:lnTo>
                  <a:lnTo>
                    <a:pt x="39" y="85"/>
                  </a:lnTo>
                  <a:lnTo>
                    <a:pt x="42" y="82"/>
                  </a:lnTo>
                  <a:lnTo>
                    <a:pt x="47" y="82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5" y="78"/>
                  </a:lnTo>
                  <a:lnTo>
                    <a:pt x="37" y="78"/>
                  </a:lnTo>
                  <a:lnTo>
                    <a:pt x="38" y="74"/>
                  </a:lnTo>
                  <a:lnTo>
                    <a:pt x="36" y="70"/>
                  </a:lnTo>
                  <a:lnTo>
                    <a:pt x="36" y="57"/>
                  </a:lnTo>
                  <a:lnTo>
                    <a:pt x="41" y="52"/>
                  </a:lnTo>
                  <a:lnTo>
                    <a:pt x="42" y="44"/>
                  </a:lnTo>
                  <a:lnTo>
                    <a:pt x="43" y="42"/>
                  </a:lnTo>
                  <a:lnTo>
                    <a:pt x="46" y="41"/>
                  </a:lnTo>
                  <a:lnTo>
                    <a:pt x="52" y="42"/>
                  </a:lnTo>
                  <a:lnTo>
                    <a:pt x="56" y="41"/>
                  </a:lnTo>
                  <a:lnTo>
                    <a:pt x="57" y="46"/>
                  </a:lnTo>
                  <a:lnTo>
                    <a:pt x="60" y="49"/>
                  </a:lnTo>
                  <a:lnTo>
                    <a:pt x="63" y="49"/>
                  </a:lnTo>
                  <a:lnTo>
                    <a:pt x="63" y="33"/>
                  </a:lnTo>
                  <a:lnTo>
                    <a:pt x="68" y="28"/>
                  </a:lnTo>
                  <a:lnTo>
                    <a:pt x="65" y="22"/>
                  </a:lnTo>
                  <a:lnTo>
                    <a:pt x="67" y="17"/>
                  </a:lnTo>
                  <a:lnTo>
                    <a:pt x="65" y="14"/>
                  </a:lnTo>
                  <a:lnTo>
                    <a:pt x="68" y="11"/>
                  </a:lnTo>
                  <a:lnTo>
                    <a:pt x="67" y="1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2" y="13"/>
                  </a:lnTo>
                  <a:lnTo>
                    <a:pt x="58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1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19" y="86"/>
                  </a:lnTo>
                  <a:lnTo>
                    <a:pt x="11" y="95"/>
                  </a:lnTo>
                  <a:lnTo>
                    <a:pt x="14" y="99"/>
                  </a:lnTo>
                  <a:lnTo>
                    <a:pt x="6" y="108"/>
                  </a:lnTo>
                  <a:lnTo>
                    <a:pt x="6" y="112"/>
                  </a:lnTo>
                  <a:lnTo>
                    <a:pt x="0" y="115"/>
                  </a:lnTo>
                  <a:lnTo>
                    <a:pt x="32" y="210"/>
                  </a:lnTo>
                  <a:lnTo>
                    <a:pt x="37" y="20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6" name="Freeform 164"/>
            <p:cNvSpPr>
              <a:spLocks/>
            </p:cNvSpPr>
            <p:nvPr/>
          </p:nvSpPr>
          <p:spPr bwMode="auto">
            <a:xfrm>
              <a:off x="5400116" y="1345599"/>
              <a:ext cx="532126" cy="456419"/>
            </a:xfrm>
            <a:custGeom>
              <a:avLst/>
              <a:gdLst>
                <a:gd name="T0" fmla="*/ 73 w 447"/>
                <a:gd name="T1" fmla="*/ 49 h 459"/>
                <a:gd name="T2" fmla="*/ 72 w 447"/>
                <a:gd name="T3" fmla="*/ 50 h 459"/>
                <a:gd name="T4" fmla="*/ 69 w 447"/>
                <a:gd name="T5" fmla="*/ 49 h 459"/>
                <a:gd name="T6" fmla="*/ 69 w 447"/>
                <a:gd name="T7" fmla="*/ 49 h 459"/>
                <a:gd name="T8" fmla="*/ 69 w 447"/>
                <a:gd name="T9" fmla="*/ 49 h 459"/>
                <a:gd name="T10" fmla="*/ 65 w 447"/>
                <a:gd name="T11" fmla="*/ 49 h 459"/>
                <a:gd name="T12" fmla="*/ 63 w 447"/>
                <a:gd name="T13" fmla="*/ 50 h 459"/>
                <a:gd name="T14" fmla="*/ 60 w 447"/>
                <a:gd name="T15" fmla="*/ 53 h 459"/>
                <a:gd name="T16" fmla="*/ 58 w 447"/>
                <a:gd name="T17" fmla="*/ 55 h 459"/>
                <a:gd name="T18" fmla="*/ 45 w 447"/>
                <a:gd name="T19" fmla="*/ 54 h 459"/>
                <a:gd name="T20" fmla="*/ 36 w 447"/>
                <a:gd name="T21" fmla="*/ 51 h 459"/>
                <a:gd name="T22" fmla="*/ 36 w 447"/>
                <a:gd name="T23" fmla="*/ 51 h 459"/>
                <a:gd name="T24" fmla="*/ 36 w 447"/>
                <a:gd name="T25" fmla="*/ 47 h 459"/>
                <a:gd name="T26" fmla="*/ 36 w 447"/>
                <a:gd name="T27" fmla="*/ 47 h 459"/>
                <a:gd name="T28" fmla="*/ 32 w 447"/>
                <a:gd name="T29" fmla="*/ 47 h 459"/>
                <a:gd name="T30" fmla="*/ 30 w 447"/>
                <a:gd name="T31" fmla="*/ 45 h 459"/>
                <a:gd name="T32" fmla="*/ 2 w 447"/>
                <a:gd name="T33" fmla="*/ 35 h 459"/>
                <a:gd name="T34" fmla="*/ 0 w 447"/>
                <a:gd name="T35" fmla="*/ 28 h 459"/>
                <a:gd name="T36" fmla="*/ 17 w 447"/>
                <a:gd name="T37" fmla="*/ 21 h 459"/>
                <a:gd name="T38" fmla="*/ 18 w 447"/>
                <a:gd name="T39" fmla="*/ 18 h 459"/>
                <a:gd name="T40" fmla="*/ 19 w 447"/>
                <a:gd name="T41" fmla="*/ 7 h 459"/>
                <a:gd name="T42" fmla="*/ 23 w 447"/>
                <a:gd name="T43" fmla="*/ 6 h 459"/>
                <a:gd name="T44" fmla="*/ 26 w 447"/>
                <a:gd name="T45" fmla="*/ 3 h 459"/>
                <a:gd name="T46" fmla="*/ 31 w 447"/>
                <a:gd name="T47" fmla="*/ 0 h 459"/>
                <a:gd name="T48" fmla="*/ 35 w 447"/>
                <a:gd name="T49" fmla="*/ 1 h 459"/>
                <a:gd name="T50" fmla="*/ 40 w 447"/>
                <a:gd name="T51" fmla="*/ 1 h 459"/>
                <a:gd name="T52" fmla="*/ 42 w 447"/>
                <a:gd name="T53" fmla="*/ 2 h 459"/>
                <a:gd name="T54" fmla="*/ 44 w 447"/>
                <a:gd name="T55" fmla="*/ 2 h 459"/>
                <a:gd name="T56" fmla="*/ 45 w 447"/>
                <a:gd name="T57" fmla="*/ 2 h 459"/>
                <a:gd name="T58" fmla="*/ 46 w 447"/>
                <a:gd name="T59" fmla="*/ 5 h 459"/>
                <a:gd name="T60" fmla="*/ 47 w 447"/>
                <a:gd name="T61" fmla="*/ 6 h 459"/>
                <a:gd name="T62" fmla="*/ 49 w 447"/>
                <a:gd name="T63" fmla="*/ 7 h 459"/>
                <a:gd name="T64" fmla="*/ 49 w 447"/>
                <a:gd name="T65" fmla="*/ 10 h 459"/>
                <a:gd name="T66" fmla="*/ 51 w 447"/>
                <a:gd name="T67" fmla="*/ 11 h 459"/>
                <a:gd name="T68" fmla="*/ 56 w 447"/>
                <a:gd name="T69" fmla="*/ 11 h 459"/>
                <a:gd name="T70" fmla="*/ 55 w 447"/>
                <a:gd name="T71" fmla="*/ 12 h 459"/>
                <a:gd name="T72" fmla="*/ 55 w 447"/>
                <a:gd name="T73" fmla="*/ 13 h 459"/>
                <a:gd name="T74" fmla="*/ 55 w 447"/>
                <a:gd name="T75" fmla="*/ 15 h 459"/>
                <a:gd name="T76" fmla="*/ 52 w 447"/>
                <a:gd name="T77" fmla="*/ 18 h 459"/>
                <a:gd name="T78" fmla="*/ 52 w 447"/>
                <a:gd name="T79" fmla="*/ 19 h 459"/>
                <a:gd name="T80" fmla="*/ 51 w 447"/>
                <a:gd name="T81" fmla="*/ 19 h 459"/>
                <a:gd name="T82" fmla="*/ 50 w 447"/>
                <a:gd name="T83" fmla="*/ 20 h 459"/>
                <a:gd name="T84" fmla="*/ 50 w 447"/>
                <a:gd name="T85" fmla="*/ 23 h 459"/>
                <a:gd name="T86" fmla="*/ 49 w 447"/>
                <a:gd name="T87" fmla="*/ 23 h 459"/>
                <a:gd name="T88" fmla="*/ 49 w 447"/>
                <a:gd name="T89" fmla="*/ 24 h 459"/>
                <a:gd name="T90" fmla="*/ 49 w 447"/>
                <a:gd name="T91" fmla="*/ 25 h 459"/>
                <a:gd name="T92" fmla="*/ 50 w 447"/>
                <a:gd name="T93" fmla="*/ 26 h 459"/>
                <a:gd name="T94" fmla="*/ 51 w 447"/>
                <a:gd name="T95" fmla="*/ 26 h 459"/>
                <a:gd name="T96" fmla="*/ 52 w 447"/>
                <a:gd name="T97" fmla="*/ 26 h 459"/>
                <a:gd name="T98" fmla="*/ 53 w 447"/>
                <a:gd name="T99" fmla="*/ 27 h 459"/>
                <a:gd name="T100" fmla="*/ 53 w 447"/>
                <a:gd name="T101" fmla="*/ 28 h 459"/>
                <a:gd name="T102" fmla="*/ 53 w 447"/>
                <a:gd name="T103" fmla="*/ 29 h 459"/>
                <a:gd name="T104" fmla="*/ 60 w 447"/>
                <a:gd name="T105" fmla="*/ 33 h 459"/>
                <a:gd name="T106" fmla="*/ 62 w 447"/>
                <a:gd name="T107" fmla="*/ 33 h 459"/>
                <a:gd name="T108" fmla="*/ 66 w 447"/>
                <a:gd name="T109" fmla="*/ 38 h 459"/>
                <a:gd name="T110" fmla="*/ 66 w 447"/>
                <a:gd name="T111" fmla="*/ 43 h 459"/>
                <a:gd name="T112" fmla="*/ 67 w 447"/>
                <a:gd name="T113" fmla="*/ 43 h 459"/>
                <a:gd name="T114" fmla="*/ 68 w 447"/>
                <a:gd name="T115" fmla="*/ 46 h 459"/>
                <a:gd name="T116" fmla="*/ 73 w 447"/>
                <a:gd name="T117" fmla="*/ 49 h 45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47"/>
                <a:gd name="T178" fmla="*/ 0 h 459"/>
                <a:gd name="T179" fmla="*/ 447 w 447"/>
                <a:gd name="T180" fmla="*/ 459 h 45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47" h="459">
                  <a:moveTo>
                    <a:pt x="447" y="409"/>
                  </a:moveTo>
                  <a:lnTo>
                    <a:pt x="441" y="418"/>
                  </a:lnTo>
                  <a:lnTo>
                    <a:pt x="425" y="410"/>
                  </a:lnTo>
                  <a:lnTo>
                    <a:pt x="424" y="411"/>
                  </a:lnTo>
                  <a:lnTo>
                    <a:pt x="422" y="413"/>
                  </a:lnTo>
                  <a:lnTo>
                    <a:pt x="401" y="409"/>
                  </a:lnTo>
                  <a:lnTo>
                    <a:pt x="388" y="414"/>
                  </a:lnTo>
                  <a:lnTo>
                    <a:pt x="371" y="445"/>
                  </a:lnTo>
                  <a:lnTo>
                    <a:pt x="356" y="459"/>
                  </a:lnTo>
                  <a:lnTo>
                    <a:pt x="275" y="454"/>
                  </a:lnTo>
                  <a:lnTo>
                    <a:pt x="222" y="431"/>
                  </a:lnTo>
                  <a:lnTo>
                    <a:pt x="220" y="428"/>
                  </a:lnTo>
                  <a:lnTo>
                    <a:pt x="220" y="395"/>
                  </a:lnTo>
                  <a:lnTo>
                    <a:pt x="218" y="393"/>
                  </a:lnTo>
                  <a:lnTo>
                    <a:pt x="194" y="390"/>
                  </a:lnTo>
                  <a:lnTo>
                    <a:pt x="187" y="375"/>
                  </a:lnTo>
                  <a:lnTo>
                    <a:pt x="14" y="295"/>
                  </a:lnTo>
                  <a:lnTo>
                    <a:pt x="0" y="233"/>
                  </a:lnTo>
                  <a:lnTo>
                    <a:pt x="103" y="172"/>
                  </a:lnTo>
                  <a:lnTo>
                    <a:pt x="112" y="150"/>
                  </a:lnTo>
                  <a:lnTo>
                    <a:pt x="117" y="61"/>
                  </a:lnTo>
                  <a:lnTo>
                    <a:pt x="143" y="51"/>
                  </a:lnTo>
                  <a:lnTo>
                    <a:pt x="158" y="26"/>
                  </a:lnTo>
                  <a:lnTo>
                    <a:pt x="191" y="0"/>
                  </a:lnTo>
                  <a:lnTo>
                    <a:pt x="210" y="8"/>
                  </a:lnTo>
                  <a:lnTo>
                    <a:pt x="249" y="8"/>
                  </a:lnTo>
                  <a:lnTo>
                    <a:pt x="256" y="17"/>
                  </a:lnTo>
                  <a:lnTo>
                    <a:pt x="270" y="19"/>
                  </a:lnTo>
                  <a:lnTo>
                    <a:pt x="276" y="13"/>
                  </a:lnTo>
                  <a:lnTo>
                    <a:pt x="280" y="40"/>
                  </a:lnTo>
                  <a:lnTo>
                    <a:pt x="288" y="54"/>
                  </a:lnTo>
                  <a:lnTo>
                    <a:pt x="297" y="61"/>
                  </a:lnTo>
                  <a:lnTo>
                    <a:pt x="304" y="81"/>
                  </a:lnTo>
                  <a:lnTo>
                    <a:pt x="312" y="89"/>
                  </a:lnTo>
                  <a:lnTo>
                    <a:pt x="344" y="94"/>
                  </a:lnTo>
                  <a:lnTo>
                    <a:pt x="338" y="100"/>
                  </a:lnTo>
                  <a:lnTo>
                    <a:pt x="334" y="112"/>
                  </a:lnTo>
                  <a:lnTo>
                    <a:pt x="338" y="127"/>
                  </a:lnTo>
                  <a:lnTo>
                    <a:pt x="319" y="154"/>
                  </a:lnTo>
                  <a:lnTo>
                    <a:pt x="319" y="160"/>
                  </a:lnTo>
                  <a:lnTo>
                    <a:pt x="312" y="163"/>
                  </a:lnTo>
                  <a:lnTo>
                    <a:pt x="309" y="169"/>
                  </a:lnTo>
                  <a:lnTo>
                    <a:pt x="306" y="190"/>
                  </a:lnTo>
                  <a:lnTo>
                    <a:pt x="304" y="195"/>
                  </a:lnTo>
                  <a:lnTo>
                    <a:pt x="300" y="197"/>
                  </a:lnTo>
                  <a:lnTo>
                    <a:pt x="303" y="210"/>
                  </a:lnTo>
                  <a:lnTo>
                    <a:pt x="308" y="214"/>
                  </a:lnTo>
                  <a:lnTo>
                    <a:pt x="315" y="214"/>
                  </a:lnTo>
                  <a:lnTo>
                    <a:pt x="318" y="221"/>
                  </a:lnTo>
                  <a:lnTo>
                    <a:pt x="323" y="226"/>
                  </a:lnTo>
                  <a:lnTo>
                    <a:pt x="328" y="237"/>
                  </a:lnTo>
                  <a:lnTo>
                    <a:pt x="329" y="246"/>
                  </a:lnTo>
                  <a:lnTo>
                    <a:pt x="371" y="274"/>
                  </a:lnTo>
                  <a:lnTo>
                    <a:pt x="382" y="277"/>
                  </a:lnTo>
                  <a:lnTo>
                    <a:pt x="407" y="319"/>
                  </a:lnTo>
                  <a:lnTo>
                    <a:pt x="403" y="359"/>
                  </a:lnTo>
                  <a:lnTo>
                    <a:pt x="414" y="365"/>
                  </a:lnTo>
                  <a:lnTo>
                    <a:pt x="417" y="381"/>
                  </a:lnTo>
                  <a:lnTo>
                    <a:pt x="447" y="40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7" name="Freeform 165"/>
            <p:cNvSpPr>
              <a:spLocks/>
            </p:cNvSpPr>
            <p:nvPr/>
          </p:nvSpPr>
          <p:spPr bwMode="auto">
            <a:xfrm>
              <a:off x="5400116" y="1345599"/>
              <a:ext cx="532126" cy="456419"/>
            </a:xfrm>
            <a:custGeom>
              <a:avLst/>
              <a:gdLst>
                <a:gd name="T0" fmla="*/ 73 w 447"/>
                <a:gd name="T1" fmla="*/ 49 h 459"/>
                <a:gd name="T2" fmla="*/ 72 w 447"/>
                <a:gd name="T3" fmla="*/ 50 h 459"/>
                <a:gd name="T4" fmla="*/ 69 w 447"/>
                <a:gd name="T5" fmla="*/ 49 h 459"/>
                <a:gd name="T6" fmla="*/ 69 w 447"/>
                <a:gd name="T7" fmla="*/ 49 h 459"/>
                <a:gd name="T8" fmla="*/ 69 w 447"/>
                <a:gd name="T9" fmla="*/ 49 h 459"/>
                <a:gd name="T10" fmla="*/ 65 w 447"/>
                <a:gd name="T11" fmla="*/ 49 h 459"/>
                <a:gd name="T12" fmla="*/ 63 w 447"/>
                <a:gd name="T13" fmla="*/ 50 h 459"/>
                <a:gd name="T14" fmla="*/ 60 w 447"/>
                <a:gd name="T15" fmla="*/ 53 h 459"/>
                <a:gd name="T16" fmla="*/ 58 w 447"/>
                <a:gd name="T17" fmla="*/ 55 h 459"/>
                <a:gd name="T18" fmla="*/ 45 w 447"/>
                <a:gd name="T19" fmla="*/ 54 h 459"/>
                <a:gd name="T20" fmla="*/ 36 w 447"/>
                <a:gd name="T21" fmla="*/ 51 h 459"/>
                <a:gd name="T22" fmla="*/ 36 w 447"/>
                <a:gd name="T23" fmla="*/ 51 h 459"/>
                <a:gd name="T24" fmla="*/ 36 w 447"/>
                <a:gd name="T25" fmla="*/ 47 h 459"/>
                <a:gd name="T26" fmla="*/ 36 w 447"/>
                <a:gd name="T27" fmla="*/ 47 h 459"/>
                <a:gd name="T28" fmla="*/ 32 w 447"/>
                <a:gd name="T29" fmla="*/ 47 h 459"/>
                <a:gd name="T30" fmla="*/ 30 w 447"/>
                <a:gd name="T31" fmla="*/ 45 h 459"/>
                <a:gd name="T32" fmla="*/ 2 w 447"/>
                <a:gd name="T33" fmla="*/ 35 h 459"/>
                <a:gd name="T34" fmla="*/ 2 w 447"/>
                <a:gd name="T35" fmla="*/ 35 h 459"/>
                <a:gd name="T36" fmla="*/ 0 w 447"/>
                <a:gd name="T37" fmla="*/ 28 h 459"/>
                <a:gd name="T38" fmla="*/ 17 w 447"/>
                <a:gd name="T39" fmla="*/ 21 h 459"/>
                <a:gd name="T40" fmla="*/ 18 w 447"/>
                <a:gd name="T41" fmla="*/ 18 h 459"/>
                <a:gd name="T42" fmla="*/ 19 w 447"/>
                <a:gd name="T43" fmla="*/ 7 h 459"/>
                <a:gd name="T44" fmla="*/ 23 w 447"/>
                <a:gd name="T45" fmla="*/ 6 h 459"/>
                <a:gd name="T46" fmla="*/ 26 w 447"/>
                <a:gd name="T47" fmla="*/ 3 h 459"/>
                <a:gd name="T48" fmla="*/ 31 w 447"/>
                <a:gd name="T49" fmla="*/ 0 h 459"/>
                <a:gd name="T50" fmla="*/ 35 w 447"/>
                <a:gd name="T51" fmla="*/ 1 h 459"/>
                <a:gd name="T52" fmla="*/ 40 w 447"/>
                <a:gd name="T53" fmla="*/ 1 h 459"/>
                <a:gd name="T54" fmla="*/ 42 w 447"/>
                <a:gd name="T55" fmla="*/ 2 h 459"/>
                <a:gd name="T56" fmla="*/ 44 w 447"/>
                <a:gd name="T57" fmla="*/ 2 h 459"/>
                <a:gd name="T58" fmla="*/ 45 w 447"/>
                <a:gd name="T59" fmla="*/ 2 h 459"/>
                <a:gd name="T60" fmla="*/ 46 w 447"/>
                <a:gd name="T61" fmla="*/ 5 h 459"/>
                <a:gd name="T62" fmla="*/ 47 w 447"/>
                <a:gd name="T63" fmla="*/ 6 h 459"/>
                <a:gd name="T64" fmla="*/ 49 w 447"/>
                <a:gd name="T65" fmla="*/ 7 h 459"/>
                <a:gd name="T66" fmla="*/ 49 w 447"/>
                <a:gd name="T67" fmla="*/ 10 h 459"/>
                <a:gd name="T68" fmla="*/ 51 w 447"/>
                <a:gd name="T69" fmla="*/ 11 h 459"/>
                <a:gd name="T70" fmla="*/ 56 w 447"/>
                <a:gd name="T71" fmla="*/ 11 h 459"/>
                <a:gd name="T72" fmla="*/ 55 w 447"/>
                <a:gd name="T73" fmla="*/ 12 h 459"/>
                <a:gd name="T74" fmla="*/ 55 w 447"/>
                <a:gd name="T75" fmla="*/ 13 h 459"/>
                <a:gd name="T76" fmla="*/ 55 w 447"/>
                <a:gd name="T77" fmla="*/ 15 h 459"/>
                <a:gd name="T78" fmla="*/ 52 w 447"/>
                <a:gd name="T79" fmla="*/ 18 h 459"/>
                <a:gd name="T80" fmla="*/ 52 w 447"/>
                <a:gd name="T81" fmla="*/ 19 h 459"/>
                <a:gd name="T82" fmla="*/ 51 w 447"/>
                <a:gd name="T83" fmla="*/ 19 h 459"/>
                <a:gd name="T84" fmla="*/ 50 w 447"/>
                <a:gd name="T85" fmla="*/ 20 h 459"/>
                <a:gd name="T86" fmla="*/ 50 w 447"/>
                <a:gd name="T87" fmla="*/ 23 h 459"/>
                <a:gd name="T88" fmla="*/ 49 w 447"/>
                <a:gd name="T89" fmla="*/ 23 h 459"/>
                <a:gd name="T90" fmla="*/ 49 w 447"/>
                <a:gd name="T91" fmla="*/ 24 h 459"/>
                <a:gd name="T92" fmla="*/ 49 w 447"/>
                <a:gd name="T93" fmla="*/ 25 h 459"/>
                <a:gd name="T94" fmla="*/ 50 w 447"/>
                <a:gd name="T95" fmla="*/ 26 h 459"/>
                <a:gd name="T96" fmla="*/ 51 w 447"/>
                <a:gd name="T97" fmla="*/ 26 h 459"/>
                <a:gd name="T98" fmla="*/ 52 w 447"/>
                <a:gd name="T99" fmla="*/ 26 h 459"/>
                <a:gd name="T100" fmla="*/ 53 w 447"/>
                <a:gd name="T101" fmla="*/ 27 h 459"/>
                <a:gd name="T102" fmla="*/ 53 w 447"/>
                <a:gd name="T103" fmla="*/ 28 h 459"/>
                <a:gd name="T104" fmla="*/ 53 w 447"/>
                <a:gd name="T105" fmla="*/ 29 h 459"/>
                <a:gd name="T106" fmla="*/ 60 w 447"/>
                <a:gd name="T107" fmla="*/ 33 h 459"/>
                <a:gd name="T108" fmla="*/ 62 w 447"/>
                <a:gd name="T109" fmla="*/ 33 h 459"/>
                <a:gd name="T110" fmla="*/ 66 w 447"/>
                <a:gd name="T111" fmla="*/ 38 h 459"/>
                <a:gd name="T112" fmla="*/ 66 w 447"/>
                <a:gd name="T113" fmla="*/ 43 h 459"/>
                <a:gd name="T114" fmla="*/ 67 w 447"/>
                <a:gd name="T115" fmla="*/ 43 h 459"/>
                <a:gd name="T116" fmla="*/ 68 w 447"/>
                <a:gd name="T117" fmla="*/ 46 h 459"/>
                <a:gd name="T118" fmla="*/ 73 w 447"/>
                <a:gd name="T119" fmla="*/ 49 h 45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7"/>
                <a:gd name="T181" fmla="*/ 0 h 459"/>
                <a:gd name="T182" fmla="*/ 447 w 447"/>
                <a:gd name="T183" fmla="*/ 459 h 45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7" h="459">
                  <a:moveTo>
                    <a:pt x="447" y="409"/>
                  </a:moveTo>
                  <a:lnTo>
                    <a:pt x="441" y="418"/>
                  </a:lnTo>
                  <a:lnTo>
                    <a:pt x="425" y="410"/>
                  </a:lnTo>
                  <a:lnTo>
                    <a:pt x="424" y="411"/>
                  </a:lnTo>
                  <a:lnTo>
                    <a:pt x="422" y="413"/>
                  </a:lnTo>
                  <a:lnTo>
                    <a:pt x="401" y="409"/>
                  </a:lnTo>
                  <a:lnTo>
                    <a:pt x="388" y="414"/>
                  </a:lnTo>
                  <a:lnTo>
                    <a:pt x="371" y="445"/>
                  </a:lnTo>
                  <a:lnTo>
                    <a:pt x="356" y="459"/>
                  </a:lnTo>
                  <a:lnTo>
                    <a:pt x="275" y="454"/>
                  </a:lnTo>
                  <a:lnTo>
                    <a:pt x="222" y="431"/>
                  </a:lnTo>
                  <a:lnTo>
                    <a:pt x="220" y="428"/>
                  </a:lnTo>
                  <a:lnTo>
                    <a:pt x="220" y="395"/>
                  </a:lnTo>
                  <a:lnTo>
                    <a:pt x="218" y="393"/>
                  </a:lnTo>
                  <a:lnTo>
                    <a:pt x="194" y="390"/>
                  </a:lnTo>
                  <a:lnTo>
                    <a:pt x="187" y="375"/>
                  </a:lnTo>
                  <a:lnTo>
                    <a:pt x="14" y="295"/>
                  </a:lnTo>
                  <a:lnTo>
                    <a:pt x="0" y="233"/>
                  </a:lnTo>
                  <a:lnTo>
                    <a:pt x="103" y="172"/>
                  </a:lnTo>
                  <a:lnTo>
                    <a:pt x="112" y="150"/>
                  </a:lnTo>
                  <a:lnTo>
                    <a:pt x="117" y="61"/>
                  </a:lnTo>
                  <a:lnTo>
                    <a:pt x="143" y="51"/>
                  </a:lnTo>
                  <a:lnTo>
                    <a:pt x="158" y="26"/>
                  </a:lnTo>
                  <a:lnTo>
                    <a:pt x="191" y="0"/>
                  </a:lnTo>
                  <a:lnTo>
                    <a:pt x="210" y="8"/>
                  </a:lnTo>
                  <a:lnTo>
                    <a:pt x="249" y="8"/>
                  </a:lnTo>
                  <a:lnTo>
                    <a:pt x="256" y="17"/>
                  </a:lnTo>
                  <a:lnTo>
                    <a:pt x="270" y="19"/>
                  </a:lnTo>
                  <a:lnTo>
                    <a:pt x="276" y="13"/>
                  </a:lnTo>
                  <a:lnTo>
                    <a:pt x="280" y="40"/>
                  </a:lnTo>
                  <a:lnTo>
                    <a:pt x="288" y="54"/>
                  </a:lnTo>
                  <a:lnTo>
                    <a:pt x="297" y="61"/>
                  </a:lnTo>
                  <a:lnTo>
                    <a:pt x="304" y="81"/>
                  </a:lnTo>
                  <a:lnTo>
                    <a:pt x="312" y="89"/>
                  </a:lnTo>
                  <a:lnTo>
                    <a:pt x="344" y="94"/>
                  </a:lnTo>
                  <a:lnTo>
                    <a:pt x="338" y="100"/>
                  </a:lnTo>
                  <a:lnTo>
                    <a:pt x="334" y="112"/>
                  </a:lnTo>
                  <a:lnTo>
                    <a:pt x="338" y="127"/>
                  </a:lnTo>
                  <a:lnTo>
                    <a:pt x="319" y="154"/>
                  </a:lnTo>
                  <a:lnTo>
                    <a:pt x="319" y="160"/>
                  </a:lnTo>
                  <a:lnTo>
                    <a:pt x="312" y="163"/>
                  </a:lnTo>
                  <a:lnTo>
                    <a:pt x="309" y="169"/>
                  </a:lnTo>
                  <a:lnTo>
                    <a:pt x="306" y="190"/>
                  </a:lnTo>
                  <a:lnTo>
                    <a:pt x="304" y="195"/>
                  </a:lnTo>
                  <a:lnTo>
                    <a:pt x="300" y="197"/>
                  </a:lnTo>
                  <a:lnTo>
                    <a:pt x="303" y="210"/>
                  </a:lnTo>
                  <a:lnTo>
                    <a:pt x="308" y="214"/>
                  </a:lnTo>
                  <a:lnTo>
                    <a:pt x="315" y="214"/>
                  </a:lnTo>
                  <a:lnTo>
                    <a:pt x="318" y="221"/>
                  </a:lnTo>
                  <a:lnTo>
                    <a:pt x="323" y="226"/>
                  </a:lnTo>
                  <a:lnTo>
                    <a:pt x="328" y="237"/>
                  </a:lnTo>
                  <a:lnTo>
                    <a:pt x="329" y="246"/>
                  </a:lnTo>
                  <a:lnTo>
                    <a:pt x="371" y="274"/>
                  </a:lnTo>
                  <a:lnTo>
                    <a:pt x="382" y="277"/>
                  </a:lnTo>
                  <a:lnTo>
                    <a:pt x="407" y="319"/>
                  </a:lnTo>
                  <a:lnTo>
                    <a:pt x="403" y="359"/>
                  </a:lnTo>
                  <a:lnTo>
                    <a:pt x="414" y="365"/>
                  </a:lnTo>
                  <a:lnTo>
                    <a:pt x="417" y="381"/>
                  </a:lnTo>
                  <a:lnTo>
                    <a:pt x="447" y="40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8" name="Freeform 166"/>
            <p:cNvSpPr>
              <a:spLocks/>
            </p:cNvSpPr>
            <p:nvPr/>
          </p:nvSpPr>
          <p:spPr bwMode="auto">
            <a:xfrm>
              <a:off x="6054103" y="1956012"/>
              <a:ext cx="44682" cy="81636"/>
            </a:xfrm>
            <a:custGeom>
              <a:avLst/>
              <a:gdLst>
                <a:gd name="T0" fmla="*/ 2 w 38"/>
                <a:gd name="T1" fmla="*/ 10 h 83"/>
                <a:gd name="T2" fmla="*/ 5 w 38"/>
                <a:gd name="T3" fmla="*/ 8 h 83"/>
                <a:gd name="T4" fmla="*/ 5 w 38"/>
                <a:gd name="T5" fmla="*/ 8 h 83"/>
                <a:gd name="T6" fmla="*/ 5 w 38"/>
                <a:gd name="T7" fmla="*/ 8 h 83"/>
                <a:gd name="T8" fmla="*/ 6 w 38"/>
                <a:gd name="T9" fmla="*/ 7 h 83"/>
                <a:gd name="T10" fmla="*/ 6 w 38"/>
                <a:gd name="T11" fmla="*/ 7 h 83"/>
                <a:gd name="T12" fmla="*/ 6 w 38"/>
                <a:gd name="T13" fmla="*/ 5 h 83"/>
                <a:gd name="T14" fmla="*/ 6 w 38"/>
                <a:gd name="T15" fmla="*/ 5 h 83"/>
                <a:gd name="T16" fmla="*/ 6 w 38"/>
                <a:gd name="T17" fmla="*/ 3 h 83"/>
                <a:gd name="T18" fmla="*/ 6 w 38"/>
                <a:gd name="T19" fmla="*/ 3 h 83"/>
                <a:gd name="T20" fmla="*/ 6 w 38"/>
                <a:gd name="T21" fmla="*/ 3 h 83"/>
                <a:gd name="T22" fmla="*/ 6 w 38"/>
                <a:gd name="T23" fmla="*/ 2 h 83"/>
                <a:gd name="T24" fmla="*/ 6 w 38"/>
                <a:gd name="T25" fmla="*/ 2 h 83"/>
                <a:gd name="T26" fmla="*/ 6 w 38"/>
                <a:gd name="T27" fmla="*/ 2 h 83"/>
                <a:gd name="T28" fmla="*/ 6 w 38"/>
                <a:gd name="T29" fmla="*/ 2 h 83"/>
                <a:gd name="T30" fmla="*/ 5 w 38"/>
                <a:gd name="T31" fmla="*/ 2 h 83"/>
                <a:gd name="T32" fmla="*/ 5 w 38"/>
                <a:gd name="T33" fmla="*/ 1 h 83"/>
                <a:gd name="T34" fmla="*/ 4 w 38"/>
                <a:gd name="T35" fmla="*/ 1 h 83"/>
                <a:gd name="T36" fmla="*/ 3 w 38"/>
                <a:gd name="T37" fmla="*/ 0 h 83"/>
                <a:gd name="T38" fmla="*/ 3 w 38"/>
                <a:gd name="T39" fmla="*/ 1 h 83"/>
                <a:gd name="T40" fmla="*/ 1 w 38"/>
                <a:gd name="T41" fmla="*/ 3 h 83"/>
                <a:gd name="T42" fmla="*/ 1 w 38"/>
                <a:gd name="T43" fmla="*/ 4 h 83"/>
                <a:gd name="T44" fmla="*/ 1 w 38"/>
                <a:gd name="T45" fmla="*/ 5 h 83"/>
                <a:gd name="T46" fmla="*/ 0 w 38"/>
                <a:gd name="T47" fmla="*/ 5 h 83"/>
                <a:gd name="T48" fmla="*/ 1 w 38"/>
                <a:gd name="T49" fmla="*/ 6 h 83"/>
                <a:gd name="T50" fmla="*/ 1 w 38"/>
                <a:gd name="T51" fmla="*/ 6 h 83"/>
                <a:gd name="T52" fmla="*/ 1 w 38"/>
                <a:gd name="T53" fmla="*/ 7 h 83"/>
                <a:gd name="T54" fmla="*/ 1 w 38"/>
                <a:gd name="T55" fmla="*/ 7 h 83"/>
                <a:gd name="T56" fmla="*/ 1 w 38"/>
                <a:gd name="T57" fmla="*/ 7 h 83"/>
                <a:gd name="T58" fmla="*/ 1 w 38"/>
                <a:gd name="T59" fmla="*/ 8 h 83"/>
                <a:gd name="T60" fmla="*/ 1 w 38"/>
                <a:gd name="T61" fmla="*/ 8 h 83"/>
                <a:gd name="T62" fmla="*/ 1 w 38"/>
                <a:gd name="T63" fmla="*/ 9 h 83"/>
                <a:gd name="T64" fmla="*/ 2 w 38"/>
                <a:gd name="T65" fmla="*/ 10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83"/>
                <a:gd name="T101" fmla="*/ 38 w 38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83">
                  <a:moveTo>
                    <a:pt x="14" y="83"/>
                  </a:moveTo>
                  <a:lnTo>
                    <a:pt x="31" y="76"/>
                  </a:lnTo>
                  <a:lnTo>
                    <a:pt x="32" y="74"/>
                  </a:lnTo>
                  <a:lnTo>
                    <a:pt x="33" y="68"/>
                  </a:lnTo>
                  <a:lnTo>
                    <a:pt x="37" y="62"/>
                  </a:lnTo>
                  <a:lnTo>
                    <a:pt x="38" y="59"/>
                  </a:lnTo>
                  <a:lnTo>
                    <a:pt x="37" y="47"/>
                  </a:lnTo>
                  <a:lnTo>
                    <a:pt x="35" y="43"/>
                  </a:lnTo>
                  <a:lnTo>
                    <a:pt x="35" y="28"/>
                  </a:lnTo>
                  <a:lnTo>
                    <a:pt x="36" y="27"/>
                  </a:lnTo>
                  <a:lnTo>
                    <a:pt x="35" y="25"/>
                  </a:lnTo>
                  <a:lnTo>
                    <a:pt x="37" y="21"/>
                  </a:lnTo>
                  <a:lnTo>
                    <a:pt x="37" y="18"/>
                  </a:lnTo>
                  <a:lnTo>
                    <a:pt x="38" y="14"/>
                  </a:lnTo>
                  <a:lnTo>
                    <a:pt x="36" y="13"/>
                  </a:lnTo>
                  <a:lnTo>
                    <a:pt x="31" y="12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7" y="3"/>
                  </a:lnTo>
                  <a:lnTo>
                    <a:pt x="7" y="30"/>
                  </a:lnTo>
                  <a:lnTo>
                    <a:pt x="1" y="36"/>
                  </a:lnTo>
                  <a:lnTo>
                    <a:pt x="1" y="43"/>
                  </a:lnTo>
                  <a:lnTo>
                    <a:pt x="0" y="46"/>
                  </a:lnTo>
                  <a:lnTo>
                    <a:pt x="2" y="49"/>
                  </a:lnTo>
                  <a:lnTo>
                    <a:pt x="1" y="53"/>
                  </a:lnTo>
                  <a:lnTo>
                    <a:pt x="4" y="61"/>
                  </a:lnTo>
                  <a:lnTo>
                    <a:pt x="2" y="64"/>
                  </a:lnTo>
                  <a:lnTo>
                    <a:pt x="4" y="66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9" y="82"/>
                  </a:lnTo>
                  <a:lnTo>
                    <a:pt x="14" y="8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9" name="Freeform 167"/>
            <p:cNvSpPr>
              <a:spLocks/>
            </p:cNvSpPr>
            <p:nvPr/>
          </p:nvSpPr>
          <p:spPr bwMode="auto">
            <a:xfrm>
              <a:off x="6054103" y="1956012"/>
              <a:ext cx="44682" cy="81636"/>
            </a:xfrm>
            <a:custGeom>
              <a:avLst/>
              <a:gdLst>
                <a:gd name="T0" fmla="*/ 2 w 38"/>
                <a:gd name="T1" fmla="*/ 10 h 83"/>
                <a:gd name="T2" fmla="*/ 5 w 38"/>
                <a:gd name="T3" fmla="*/ 8 h 83"/>
                <a:gd name="T4" fmla="*/ 5 w 38"/>
                <a:gd name="T5" fmla="*/ 8 h 83"/>
                <a:gd name="T6" fmla="*/ 5 w 38"/>
                <a:gd name="T7" fmla="*/ 8 h 83"/>
                <a:gd name="T8" fmla="*/ 6 w 38"/>
                <a:gd name="T9" fmla="*/ 7 h 83"/>
                <a:gd name="T10" fmla="*/ 6 w 38"/>
                <a:gd name="T11" fmla="*/ 7 h 83"/>
                <a:gd name="T12" fmla="*/ 6 w 38"/>
                <a:gd name="T13" fmla="*/ 5 h 83"/>
                <a:gd name="T14" fmla="*/ 6 w 38"/>
                <a:gd name="T15" fmla="*/ 5 h 83"/>
                <a:gd name="T16" fmla="*/ 6 w 38"/>
                <a:gd name="T17" fmla="*/ 3 h 83"/>
                <a:gd name="T18" fmla="*/ 6 w 38"/>
                <a:gd name="T19" fmla="*/ 3 h 83"/>
                <a:gd name="T20" fmla="*/ 6 w 38"/>
                <a:gd name="T21" fmla="*/ 3 h 83"/>
                <a:gd name="T22" fmla="*/ 6 w 38"/>
                <a:gd name="T23" fmla="*/ 2 h 83"/>
                <a:gd name="T24" fmla="*/ 6 w 38"/>
                <a:gd name="T25" fmla="*/ 2 h 83"/>
                <a:gd name="T26" fmla="*/ 6 w 38"/>
                <a:gd name="T27" fmla="*/ 2 h 83"/>
                <a:gd name="T28" fmla="*/ 6 w 38"/>
                <a:gd name="T29" fmla="*/ 2 h 83"/>
                <a:gd name="T30" fmla="*/ 5 w 38"/>
                <a:gd name="T31" fmla="*/ 2 h 83"/>
                <a:gd name="T32" fmla="*/ 5 w 38"/>
                <a:gd name="T33" fmla="*/ 1 h 83"/>
                <a:gd name="T34" fmla="*/ 4 w 38"/>
                <a:gd name="T35" fmla="*/ 1 h 83"/>
                <a:gd name="T36" fmla="*/ 3 w 38"/>
                <a:gd name="T37" fmla="*/ 0 h 83"/>
                <a:gd name="T38" fmla="*/ 3 w 38"/>
                <a:gd name="T39" fmla="*/ 1 h 83"/>
                <a:gd name="T40" fmla="*/ 1 w 38"/>
                <a:gd name="T41" fmla="*/ 3 h 83"/>
                <a:gd name="T42" fmla="*/ 1 w 38"/>
                <a:gd name="T43" fmla="*/ 4 h 83"/>
                <a:gd name="T44" fmla="*/ 1 w 38"/>
                <a:gd name="T45" fmla="*/ 5 h 83"/>
                <a:gd name="T46" fmla="*/ 0 w 38"/>
                <a:gd name="T47" fmla="*/ 5 h 83"/>
                <a:gd name="T48" fmla="*/ 1 w 38"/>
                <a:gd name="T49" fmla="*/ 6 h 83"/>
                <a:gd name="T50" fmla="*/ 1 w 38"/>
                <a:gd name="T51" fmla="*/ 6 h 83"/>
                <a:gd name="T52" fmla="*/ 1 w 38"/>
                <a:gd name="T53" fmla="*/ 7 h 83"/>
                <a:gd name="T54" fmla="*/ 1 w 38"/>
                <a:gd name="T55" fmla="*/ 7 h 83"/>
                <a:gd name="T56" fmla="*/ 1 w 38"/>
                <a:gd name="T57" fmla="*/ 7 h 83"/>
                <a:gd name="T58" fmla="*/ 1 w 38"/>
                <a:gd name="T59" fmla="*/ 8 h 83"/>
                <a:gd name="T60" fmla="*/ 1 w 38"/>
                <a:gd name="T61" fmla="*/ 8 h 83"/>
                <a:gd name="T62" fmla="*/ 1 w 38"/>
                <a:gd name="T63" fmla="*/ 9 h 83"/>
                <a:gd name="T64" fmla="*/ 2 w 38"/>
                <a:gd name="T65" fmla="*/ 10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83"/>
                <a:gd name="T101" fmla="*/ 38 w 38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83">
                  <a:moveTo>
                    <a:pt x="14" y="83"/>
                  </a:moveTo>
                  <a:lnTo>
                    <a:pt x="31" y="76"/>
                  </a:lnTo>
                  <a:lnTo>
                    <a:pt x="32" y="74"/>
                  </a:lnTo>
                  <a:lnTo>
                    <a:pt x="33" y="68"/>
                  </a:lnTo>
                  <a:lnTo>
                    <a:pt x="37" y="62"/>
                  </a:lnTo>
                  <a:lnTo>
                    <a:pt x="38" y="59"/>
                  </a:lnTo>
                  <a:lnTo>
                    <a:pt x="37" y="47"/>
                  </a:lnTo>
                  <a:lnTo>
                    <a:pt x="35" y="43"/>
                  </a:lnTo>
                  <a:lnTo>
                    <a:pt x="35" y="28"/>
                  </a:lnTo>
                  <a:lnTo>
                    <a:pt x="36" y="27"/>
                  </a:lnTo>
                  <a:lnTo>
                    <a:pt x="35" y="25"/>
                  </a:lnTo>
                  <a:lnTo>
                    <a:pt x="37" y="21"/>
                  </a:lnTo>
                  <a:lnTo>
                    <a:pt x="37" y="18"/>
                  </a:lnTo>
                  <a:lnTo>
                    <a:pt x="38" y="14"/>
                  </a:lnTo>
                  <a:lnTo>
                    <a:pt x="36" y="13"/>
                  </a:lnTo>
                  <a:lnTo>
                    <a:pt x="31" y="12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7" y="3"/>
                  </a:lnTo>
                  <a:lnTo>
                    <a:pt x="7" y="30"/>
                  </a:lnTo>
                  <a:lnTo>
                    <a:pt x="1" y="36"/>
                  </a:lnTo>
                  <a:lnTo>
                    <a:pt x="1" y="43"/>
                  </a:lnTo>
                  <a:lnTo>
                    <a:pt x="0" y="46"/>
                  </a:lnTo>
                  <a:lnTo>
                    <a:pt x="2" y="49"/>
                  </a:lnTo>
                  <a:lnTo>
                    <a:pt x="1" y="53"/>
                  </a:lnTo>
                  <a:lnTo>
                    <a:pt x="4" y="61"/>
                  </a:lnTo>
                  <a:lnTo>
                    <a:pt x="2" y="64"/>
                  </a:lnTo>
                  <a:lnTo>
                    <a:pt x="4" y="66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9" y="82"/>
                  </a:lnTo>
                  <a:lnTo>
                    <a:pt x="14" y="8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0" name="Freeform 168"/>
            <p:cNvSpPr>
              <a:spLocks/>
            </p:cNvSpPr>
            <p:nvPr/>
          </p:nvSpPr>
          <p:spPr bwMode="auto">
            <a:xfrm>
              <a:off x="2983206" y="2497778"/>
              <a:ext cx="412296" cy="257895"/>
            </a:xfrm>
            <a:custGeom>
              <a:avLst/>
              <a:gdLst>
                <a:gd name="T0" fmla="*/ 35 w 346"/>
                <a:gd name="T1" fmla="*/ 1 h 257"/>
                <a:gd name="T2" fmla="*/ 23 w 346"/>
                <a:gd name="T3" fmla="*/ 6 h 257"/>
                <a:gd name="T4" fmla="*/ 11 w 346"/>
                <a:gd name="T5" fmla="*/ 10 h 257"/>
                <a:gd name="T6" fmla="*/ 6 w 346"/>
                <a:gd name="T7" fmla="*/ 17 h 257"/>
                <a:gd name="T8" fmla="*/ 0 w 346"/>
                <a:gd name="T9" fmla="*/ 23 h 257"/>
                <a:gd name="T10" fmla="*/ 1 w 346"/>
                <a:gd name="T11" fmla="*/ 27 h 257"/>
                <a:gd name="T12" fmla="*/ 1 w 346"/>
                <a:gd name="T13" fmla="*/ 28 h 257"/>
                <a:gd name="T14" fmla="*/ 1 w 346"/>
                <a:gd name="T15" fmla="*/ 28 h 257"/>
                <a:gd name="T16" fmla="*/ 2 w 346"/>
                <a:gd name="T17" fmla="*/ 29 h 257"/>
                <a:gd name="T18" fmla="*/ 2 w 346"/>
                <a:gd name="T19" fmla="*/ 30 h 257"/>
                <a:gd name="T20" fmla="*/ 3 w 346"/>
                <a:gd name="T21" fmla="*/ 30 h 257"/>
                <a:gd name="T22" fmla="*/ 4 w 346"/>
                <a:gd name="T23" fmla="*/ 30 h 257"/>
                <a:gd name="T24" fmla="*/ 5 w 346"/>
                <a:gd name="T25" fmla="*/ 30 h 257"/>
                <a:gd name="T26" fmla="*/ 5 w 346"/>
                <a:gd name="T27" fmla="*/ 30 h 257"/>
                <a:gd name="T28" fmla="*/ 6 w 346"/>
                <a:gd name="T29" fmla="*/ 31 h 257"/>
                <a:gd name="T30" fmla="*/ 7 w 346"/>
                <a:gd name="T31" fmla="*/ 30 h 257"/>
                <a:gd name="T32" fmla="*/ 14 w 346"/>
                <a:gd name="T33" fmla="*/ 30 h 257"/>
                <a:gd name="T34" fmla="*/ 15 w 346"/>
                <a:gd name="T35" fmla="*/ 29 h 257"/>
                <a:gd name="T36" fmla="*/ 17 w 346"/>
                <a:gd name="T37" fmla="*/ 30 h 257"/>
                <a:gd name="T38" fmla="*/ 18 w 346"/>
                <a:gd name="T39" fmla="*/ 32 h 257"/>
                <a:gd name="T40" fmla="*/ 19 w 346"/>
                <a:gd name="T41" fmla="*/ 31 h 257"/>
                <a:gd name="T42" fmla="*/ 18 w 346"/>
                <a:gd name="T43" fmla="*/ 29 h 257"/>
                <a:gd name="T44" fmla="*/ 18 w 346"/>
                <a:gd name="T45" fmla="*/ 27 h 257"/>
                <a:gd name="T46" fmla="*/ 18 w 346"/>
                <a:gd name="T47" fmla="*/ 26 h 257"/>
                <a:gd name="T48" fmla="*/ 17 w 346"/>
                <a:gd name="T49" fmla="*/ 24 h 257"/>
                <a:gd name="T50" fmla="*/ 18 w 346"/>
                <a:gd name="T51" fmla="*/ 23 h 257"/>
                <a:gd name="T52" fmla="*/ 33 w 346"/>
                <a:gd name="T53" fmla="*/ 24 h 257"/>
                <a:gd name="T54" fmla="*/ 38 w 346"/>
                <a:gd name="T55" fmla="*/ 23 h 257"/>
                <a:gd name="T56" fmla="*/ 42 w 346"/>
                <a:gd name="T57" fmla="*/ 23 h 257"/>
                <a:gd name="T58" fmla="*/ 43 w 346"/>
                <a:gd name="T59" fmla="*/ 24 h 257"/>
                <a:gd name="T60" fmla="*/ 45 w 346"/>
                <a:gd name="T61" fmla="*/ 23 h 257"/>
                <a:gd name="T62" fmla="*/ 47 w 346"/>
                <a:gd name="T63" fmla="*/ 23 h 257"/>
                <a:gd name="T64" fmla="*/ 47 w 346"/>
                <a:gd name="T65" fmla="*/ 22 h 257"/>
                <a:gd name="T66" fmla="*/ 48 w 346"/>
                <a:gd name="T67" fmla="*/ 22 h 257"/>
                <a:gd name="T68" fmla="*/ 49 w 346"/>
                <a:gd name="T69" fmla="*/ 21 h 257"/>
                <a:gd name="T70" fmla="*/ 50 w 346"/>
                <a:gd name="T71" fmla="*/ 20 h 257"/>
                <a:gd name="T72" fmla="*/ 53 w 346"/>
                <a:gd name="T73" fmla="*/ 20 h 257"/>
                <a:gd name="T74" fmla="*/ 54 w 346"/>
                <a:gd name="T75" fmla="*/ 21 h 257"/>
                <a:gd name="T76" fmla="*/ 56 w 346"/>
                <a:gd name="T77" fmla="*/ 19 h 257"/>
                <a:gd name="T78" fmla="*/ 56 w 346"/>
                <a:gd name="T79" fmla="*/ 18 h 257"/>
                <a:gd name="T80" fmla="*/ 56 w 346"/>
                <a:gd name="T81" fmla="*/ 18 h 257"/>
                <a:gd name="T82" fmla="*/ 55 w 346"/>
                <a:gd name="T83" fmla="*/ 16 h 257"/>
                <a:gd name="T84" fmla="*/ 55 w 346"/>
                <a:gd name="T85" fmla="*/ 15 h 257"/>
                <a:gd name="T86" fmla="*/ 55 w 346"/>
                <a:gd name="T87" fmla="*/ 15 h 257"/>
                <a:gd name="T88" fmla="*/ 55 w 346"/>
                <a:gd name="T89" fmla="*/ 14 h 257"/>
                <a:gd name="T90" fmla="*/ 53 w 346"/>
                <a:gd name="T91" fmla="*/ 13 h 257"/>
                <a:gd name="T92" fmla="*/ 52 w 346"/>
                <a:gd name="T93" fmla="*/ 14 h 257"/>
                <a:gd name="T94" fmla="*/ 49 w 346"/>
                <a:gd name="T95" fmla="*/ 13 h 257"/>
                <a:gd name="T96" fmla="*/ 41 w 346"/>
                <a:gd name="T97" fmla="*/ 5 h 257"/>
                <a:gd name="T98" fmla="*/ 41 w 346"/>
                <a:gd name="T99" fmla="*/ 4 h 257"/>
                <a:gd name="T100" fmla="*/ 39 w 346"/>
                <a:gd name="T101" fmla="*/ 3 h 257"/>
                <a:gd name="T102" fmla="*/ 40 w 346"/>
                <a:gd name="T103" fmla="*/ 1 h 25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46"/>
                <a:gd name="T157" fmla="*/ 0 h 257"/>
                <a:gd name="T158" fmla="*/ 346 w 346"/>
                <a:gd name="T159" fmla="*/ 257 h 25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46" h="257">
                  <a:moveTo>
                    <a:pt x="245" y="0"/>
                  </a:moveTo>
                  <a:lnTo>
                    <a:pt x="217" y="1"/>
                  </a:lnTo>
                  <a:lnTo>
                    <a:pt x="150" y="42"/>
                  </a:lnTo>
                  <a:lnTo>
                    <a:pt x="140" y="55"/>
                  </a:lnTo>
                  <a:lnTo>
                    <a:pt x="125" y="66"/>
                  </a:lnTo>
                  <a:lnTo>
                    <a:pt x="67" y="81"/>
                  </a:lnTo>
                  <a:lnTo>
                    <a:pt x="60" y="86"/>
                  </a:lnTo>
                  <a:lnTo>
                    <a:pt x="37" y="136"/>
                  </a:lnTo>
                  <a:lnTo>
                    <a:pt x="11" y="157"/>
                  </a:lnTo>
                  <a:lnTo>
                    <a:pt x="0" y="187"/>
                  </a:lnTo>
                  <a:lnTo>
                    <a:pt x="0" y="217"/>
                  </a:lnTo>
                  <a:lnTo>
                    <a:pt x="1" y="218"/>
                  </a:lnTo>
                  <a:lnTo>
                    <a:pt x="2" y="219"/>
                  </a:lnTo>
                  <a:lnTo>
                    <a:pt x="2" y="223"/>
                  </a:lnTo>
                  <a:lnTo>
                    <a:pt x="3" y="224"/>
                  </a:lnTo>
                  <a:lnTo>
                    <a:pt x="5" y="225"/>
                  </a:lnTo>
                  <a:lnTo>
                    <a:pt x="8" y="230"/>
                  </a:lnTo>
                  <a:lnTo>
                    <a:pt x="10" y="231"/>
                  </a:lnTo>
                  <a:lnTo>
                    <a:pt x="11" y="233"/>
                  </a:lnTo>
                  <a:lnTo>
                    <a:pt x="11" y="238"/>
                  </a:lnTo>
                  <a:lnTo>
                    <a:pt x="14" y="238"/>
                  </a:lnTo>
                  <a:lnTo>
                    <a:pt x="17" y="241"/>
                  </a:lnTo>
                  <a:lnTo>
                    <a:pt x="17" y="244"/>
                  </a:lnTo>
                  <a:lnTo>
                    <a:pt x="23" y="247"/>
                  </a:lnTo>
                  <a:lnTo>
                    <a:pt x="24" y="246"/>
                  </a:lnTo>
                  <a:lnTo>
                    <a:pt x="28" y="246"/>
                  </a:lnTo>
                  <a:lnTo>
                    <a:pt x="29" y="244"/>
                  </a:lnTo>
                  <a:lnTo>
                    <a:pt x="30" y="244"/>
                  </a:lnTo>
                  <a:lnTo>
                    <a:pt x="32" y="247"/>
                  </a:lnTo>
                  <a:lnTo>
                    <a:pt x="38" y="250"/>
                  </a:lnTo>
                  <a:lnTo>
                    <a:pt x="40" y="248"/>
                  </a:lnTo>
                  <a:lnTo>
                    <a:pt x="43" y="243"/>
                  </a:lnTo>
                  <a:lnTo>
                    <a:pt x="72" y="235"/>
                  </a:lnTo>
                  <a:lnTo>
                    <a:pt x="87" y="239"/>
                  </a:lnTo>
                  <a:lnTo>
                    <a:pt x="92" y="235"/>
                  </a:lnTo>
                  <a:lnTo>
                    <a:pt x="93" y="235"/>
                  </a:lnTo>
                  <a:lnTo>
                    <a:pt x="98" y="243"/>
                  </a:lnTo>
                  <a:lnTo>
                    <a:pt x="102" y="244"/>
                  </a:lnTo>
                  <a:lnTo>
                    <a:pt x="107" y="255"/>
                  </a:lnTo>
                  <a:lnTo>
                    <a:pt x="109" y="257"/>
                  </a:lnTo>
                  <a:lnTo>
                    <a:pt x="114" y="257"/>
                  </a:lnTo>
                  <a:lnTo>
                    <a:pt x="116" y="255"/>
                  </a:lnTo>
                  <a:lnTo>
                    <a:pt x="113" y="249"/>
                  </a:lnTo>
                  <a:lnTo>
                    <a:pt x="113" y="236"/>
                  </a:lnTo>
                  <a:lnTo>
                    <a:pt x="111" y="228"/>
                  </a:lnTo>
                  <a:lnTo>
                    <a:pt x="112" y="218"/>
                  </a:lnTo>
                  <a:lnTo>
                    <a:pt x="109" y="217"/>
                  </a:lnTo>
                  <a:lnTo>
                    <a:pt x="109" y="210"/>
                  </a:lnTo>
                  <a:lnTo>
                    <a:pt x="107" y="208"/>
                  </a:lnTo>
                  <a:lnTo>
                    <a:pt x="104" y="200"/>
                  </a:lnTo>
                  <a:lnTo>
                    <a:pt x="105" y="194"/>
                  </a:lnTo>
                  <a:lnTo>
                    <a:pt x="108" y="187"/>
                  </a:lnTo>
                  <a:lnTo>
                    <a:pt x="200" y="191"/>
                  </a:lnTo>
                  <a:lnTo>
                    <a:pt x="203" y="190"/>
                  </a:lnTo>
                  <a:lnTo>
                    <a:pt x="214" y="183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57" y="186"/>
                  </a:lnTo>
                  <a:lnTo>
                    <a:pt x="261" y="190"/>
                  </a:lnTo>
                  <a:lnTo>
                    <a:pt x="263" y="190"/>
                  </a:lnTo>
                  <a:lnTo>
                    <a:pt x="265" y="188"/>
                  </a:lnTo>
                  <a:lnTo>
                    <a:pt x="277" y="188"/>
                  </a:lnTo>
                  <a:lnTo>
                    <a:pt x="281" y="184"/>
                  </a:lnTo>
                  <a:lnTo>
                    <a:pt x="285" y="184"/>
                  </a:lnTo>
                  <a:lnTo>
                    <a:pt x="286" y="180"/>
                  </a:lnTo>
                  <a:lnTo>
                    <a:pt x="288" y="178"/>
                  </a:lnTo>
                  <a:lnTo>
                    <a:pt x="289" y="176"/>
                  </a:lnTo>
                  <a:lnTo>
                    <a:pt x="291" y="175"/>
                  </a:lnTo>
                  <a:lnTo>
                    <a:pt x="294" y="175"/>
                  </a:lnTo>
                  <a:lnTo>
                    <a:pt x="300" y="165"/>
                  </a:lnTo>
                  <a:lnTo>
                    <a:pt x="302" y="164"/>
                  </a:lnTo>
                  <a:lnTo>
                    <a:pt x="307" y="164"/>
                  </a:lnTo>
                  <a:lnTo>
                    <a:pt x="314" y="166"/>
                  </a:lnTo>
                  <a:lnTo>
                    <a:pt x="322" y="164"/>
                  </a:lnTo>
                  <a:lnTo>
                    <a:pt x="327" y="166"/>
                  </a:lnTo>
                  <a:lnTo>
                    <a:pt x="331" y="165"/>
                  </a:lnTo>
                  <a:lnTo>
                    <a:pt x="341" y="155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5" y="148"/>
                  </a:lnTo>
                  <a:lnTo>
                    <a:pt x="346" y="145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32" y="128"/>
                  </a:lnTo>
                  <a:lnTo>
                    <a:pt x="331" y="125"/>
                  </a:lnTo>
                  <a:lnTo>
                    <a:pt x="332" y="123"/>
                  </a:lnTo>
                  <a:lnTo>
                    <a:pt x="335" y="121"/>
                  </a:lnTo>
                  <a:lnTo>
                    <a:pt x="339" y="122"/>
                  </a:lnTo>
                  <a:lnTo>
                    <a:pt x="340" y="120"/>
                  </a:lnTo>
                  <a:lnTo>
                    <a:pt x="334" y="109"/>
                  </a:lnTo>
                  <a:lnTo>
                    <a:pt x="329" y="107"/>
                  </a:lnTo>
                  <a:lnTo>
                    <a:pt x="326" y="108"/>
                  </a:lnTo>
                  <a:lnTo>
                    <a:pt x="322" y="111"/>
                  </a:lnTo>
                  <a:lnTo>
                    <a:pt x="318" y="113"/>
                  </a:lnTo>
                  <a:lnTo>
                    <a:pt x="314" y="113"/>
                  </a:lnTo>
                  <a:lnTo>
                    <a:pt x="300" y="107"/>
                  </a:lnTo>
                  <a:lnTo>
                    <a:pt x="253" y="47"/>
                  </a:lnTo>
                  <a:lnTo>
                    <a:pt x="250" y="40"/>
                  </a:lnTo>
                  <a:lnTo>
                    <a:pt x="250" y="33"/>
                  </a:lnTo>
                  <a:lnTo>
                    <a:pt x="249" y="31"/>
                  </a:lnTo>
                  <a:lnTo>
                    <a:pt x="241" y="25"/>
                  </a:lnTo>
                  <a:lnTo>
                    <a:pt x="240" y="22"/>
                  </a:lnTo>
                  <a:lnTo>
                    <a:pt x="243" y="14"/>
                  </a:lnTo>
                  <a:lnTo>
                    <a:pt x="243" y="4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1" name="Freeform 169"/>
            <p:cNvSpPr>
              <a:spLocks/>
            </p:cNvSpPr>
            <p:nvPr/>
          </p:nvSpPr>
          <p:spPr bwMode="auto">
            <a:xfrm>
              <a:off x="2983206" y="2497778"/>
              <a:ext cx="412296" cy="257895"/>
            </a:xfrm>
            <a:custGeom>
              <a:avLst/>
              <a:gdLst>
                <a:gd name="T0" fmla="*/ 35 w 346"/>
                <a:gd name="T1" fmla="*/ 1 h 257"/>
                <a:gd name="T2" fmla="*/ 23 w 346"/>
                <a:gd name="T3" fmla="*/ 6 h 257"/>
                <a:gd name="T4" fmla="*/ 11 w 346"/>
                <a:gd name="T5" fmla="*/ 10 h 257"/>
                <a:gd name="T6" fmla="*/ 6 w 346"/>
                <a:gd name="T7" fmla="*/ 17 h 257"/>
                <a:gd name="T8" fmla="*/ 0 w 346"/>
                <a:gd name="T9" fmla="*/ 23 h 257"/>
                <a:gd name="T10" fmla="*/ 1 w 346"/>
                <a:gd name="T11" fmla="*/ 27 h 257"/>
                <a:gd name="T12" fmla="*/ 1 w 346"/>
                <a:gd name="T13" fmla="*/ 28 h 257"/>
                <a:gd name="T14" fmla="*/ 1 w 346"/>
                <a:gd name="T15" fmla="*/ 28 h 257"/>
                <a:gd name="T16" fmla="*/ 2 w 346"/>
                <a:gd name="T17" fmla="*/ 29 h 257"/>
                <a:gd name="T18" fmla="*/ 2 w 346"/>
                <a:gd name="T19" fmla="*/ 30 h 257"/>
                <a:gd name="T20" fmla="*/ 3 w 346"/>
                <a:gd name="T21" fmla="*/ 30 h 257"/>
                <a:gd name="T22" fmla="*/ 4 w 346"/>
                <a:gd name="T23" fmla="*/ 30 h 257"/>
                <a:gd name="T24" fmla="*/ 5 w 346"/>
                <a:gd name="T25" fmla="*/ 30 h 257"/>
                <a:gd name="T26" fmla="*/ 5 w 346"/>
                <a:gd name="T27" fmla="*/ 30 h 257"/>
                <a:gd name="T28" fmla="*/ 6 w 346"/>
                <a:gd name="T29" fmla="*/ 31 h 257"/>
                <a:gd name="T30" fmla="*/ 7 w 346"/>
                <a:gd name="T31" fmla="*/ 30 h 257"/>
                <a:gd name="T32" fmla="*/ 14 w 346"/>
                <a:gd name="T33" fmla="*/ 30 h 257"/>
                <a:gd name="T34" fmla="*/ 15 w 346"/>
                <a:gd name="T35" fmla="*/ 29 h 257"/>
                <a:gd name="T36" fmla="*/ 17 w 346"/>
                <a:gd name="T37" fmla="*/ 30 h 257"/>
                <a:gd name="T38" fmla="*/ 18 w 346"/>
                <a:gd name="T39" fmla="*/ 32 h 257"/>
                <a:gd name="T40" fmla="*/ 19 w 346"/>
                <a:gd name="T41" fmla="*/ 31 h 257"/>
                <a:gd name="T42" fmla="*/ 18 w 346"/>
                <a:gd name="T43" fmla="*/ 29 h 257"/>
                <a:gd name="T44" fmla="*/ 18 w 346"/>
                <a:gd name="T45" fmla="*/ 27 h 257"/>
                <a:gd name="T46" fmla="*/ 18 w 346"/>
                <a:gd name="T47" fmla="*/ 26 h 257"/>
                <a:gd name="T48" fmla="*/ 17 w 346"/>
                <a:gd name="T49" fmla="*/ 24 h 257"/>
                <a:gd name="T50" fmla="*/ 18 w 346"/>
                <a:gd name="T51" fmla="*/ 23 h 257"/>
                <a:gd name="T52" fmla="*/ 33 w 346"/>
                <a:gd name="T53" fmla="*/ 24 h 257"/>
                <a:gd name="T54" fmla="*/ 38 w 346"/>
                <a:gd name="T55" fmla="*/ 23 h 257"/>
                <a:gd name="T56" fmla="*/ 42 w 346"/>
                <a:gd name="T57" fmla="*/ 23 h 257"/>
                <a:gd name="T58" fmla="*/ 43 w 346"/>
                <a:gd name="T59" fmla="*/ 24 h 257"/>
                <a:gd name="T60" fmla="*/ 45 w 346"/>
                <a:gd name="T61" fmla="*/ 23 h 257"/>
                <a:gd name="T62" fmla="*/ 47 w 346"/>
                <a:gd name="T63" fmla="*/ 23 h 257"/>
                <a:gd name="T64" fmla="*/ 47 w 346"/>
                <a:gd name="T65" fmla="*/ 22 h 257"/>
                <a:gd name="T66" fmla="*/ 48 w 346"/>
                <a:gd name="T67" fmla="*/ 22 h 257"/>
                <a:gd name="T68" fmla="*/ 49 w 346"/>
                <a:gd name="T69" fmla="*/ 21 h 257"/>
                <a:gd name="T70" fmla="*/ 50 w 346"/>
                <a:gd name="T71" fmla="*/ 20 h 257"/>
                <a:gd name="T72" fmla="*/ 53 w 346"/>
                <a:gd name="T73" fmla="*/ 20 h 257"/>
                <a:gd name="T74" fmla="*/ 54 w 346"/>
                <a:gd name="T75" fmla="*/ 21 h 257"/>
                <a:gd name="T76" fmla="*/ 56 w 346"/>
                <a:gd name="T77" fmla="*/ 19 h 257"/>
                <a:gd name="T78" fmla="*/ 56 w 346"/>
                <a:gd name="T79" fmla="*/ 18 h 257"/>
                <a:gd name="T80" fmla="*/ 56 w 346"/>
                <a:gd name="T81" fmla="*/ 18 h 257"/>
                <a:gd name="T82" fmla="*/ 55 w 346"/>
                <a:gd name="T83" fmla="*/ 16 h 257"/>
                <a:gd name="T84" fmla="*/ 55 w 346"/>
                <a:gd name="T85" fmla="*/ 15 h 257"/>
                <a:gd name="T86" fmla="*/ 55 w 346"/>
                <a:gd name="T87" fmla="*/ 15 h 257"/>
                <a:gd name="T88" fmla="*/ 55 w 346"/>
                <a:gd name="T89" fmla="*/ 14 h 257"/>
                <a:gd name="T90" fmla="*/ 53 w 346"/>
                <a:gd name="T91" fmla="*/ 13 h 257"/>
                <a:gd name="T92" fmla="*/ 52 w 346"/>
                <a:gd name="T93" fmla="*/ 14 h 257"/>
                <a:gd name="T94" fmla="*/ 49 w 346"/>
                <a:gd name="T95" fmla="*/ 13 h 257"/>
                <a:gd name="T96" fmla="*/ 41 w 346"/>
                <a:gd name="T97" fmla="*/ 5 h 257"/>
                <a:gd name="T98" fmla="*/ 41 w 346"/>
                <a:gd name="T99" fmla="*/ 4 h 257"/>
                <a:gd name="T100" fmla="*/ 39 w 346"/>
                <a:gd name="T101" fmla="*/ 3 h 257"/>
                <a:gd name="T102" fmla="*/ 40 w 346"/>
                <a:gd name="T103" fmla="*/ 1 h 25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46"/>
                <a:gd name="T157" fmla="*/ 0 h 257"/>
                <a:gd name="T158" fmla="*/ 346 w 346"/>
                <a:gd name="T159" fmla="*/ 257 h 25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46" h="257">
                  <a:moveTo>
                    <a:pt x="245" y="0"/>
                  </a:moveTo>
                  <a:lnTo>
                    <a:pt x="217" y="1"/>
                  </a:lnTo>
                  <a:lnTo>
                    <a:pt x="150" y="42"/>
                  </a:lnTo>
                  <a:lnTo>
                    <a:pt x="140" y="55"/>
                  </a:lnTo>
                  <a:lnTo>
                    <a:pt x="125" y="66"/>
                  </a:lnTo>
                  <a:lnTo>
                    <a:pt x="67" y="81"/>
                  </a:lnTo>
                  <a:lnTo>
                    <a:pt x="60" y="86"/>
                  </a:lnTo>
                  <a:lnTo>
                    <a:pt x="37" y="136"/>
                  </a:lnTo>
                  <a:lnTo>
                    <a:pt x="11" y="157"/>
                  </a:lnTo>
                  <a:lnTo>
                    <a:pt x="0" y="187"/>
                  </a:lnTo>
                  <a:lnTo>
                    <a:pt x="0" y="217"/>
                  </a:lnTo>
                  <a:lnTo>
                    <a:pt x="1" y="218"/>
                  </a:lnTo>
                  <a:lnTo>
                    <a:pt x="2" y="219"/>
                  </a:lnTo>
                  <a:lnTo>
                    <a:pt x="2" y="223"/>
                  </a:lnTo>
                  <a:lnTo>
                    <a:pt x="3" y="224"/>
                  </a:lnTo>
                  <a:lnTo>
                    <a:pt x="5" y="225"/>
                  </a:lnTo>
                  <a:lnTo>
                    <a:pt x="8" y="230"/>
                  </a:lnTo>
                  <a:lnTo>
                    <a:pt x="10" y="231"/>
                  </a:lnTo>
                  <a:lnTo>
                    <a:pt x="11" y="233"/>
                  </a:lnTo>
                  <a:lnTo>
                    <a:pt x="11" y="238"/>
                  </a:lnTo>
                  <a:lnTo>
                    <a:pt x="14" y="238"/>
                  </a:lnTo>
                  <a:lnTo>
                    <a:pt x="17" y="241"/>
                  </a:lnTo>
                  <a:lnTo>
                    <a:pt x="17" y="244"/>
                  </a:lnTo>
                  <a:lnTo>
                    <a:pt x="23" y="247"/>
                  </a:lnTo>
                  <a:lnTo>
                    <a:pt x="24" y="246"/>
                  </a:lnTo>
                  <a:lnTo>
                    <a:pt x="28" y="246"/>
                  </a:lnTo>
                  <a:lnTo>
                    <a:pt x="29" y="244"/>
                  </a:lnTo>
                  <a:lnTo>
                    <a:pt x="30" y="244"/>
                  </a:lnTo>
                  <a:lnTo>
                    <a:pt x="32" y="247"/>
                  </a:lnTo>
                  <a:lnTo>
                    <a:pt x="38" y="250"/>
                  </a:lnTo>
                  <a:lnTo>
                    <a:pt x="40" y="248"/>
                  </a:lnTo>
                  <a:lnTo>
                    <a:pt x="43" y="243"/>
                  </a:lnTo>
                  <a:lnTo>
                    <a:pt x="72" y="235"/>
                  </a:lnTo>
                  <a:lnTo>
                    <a:pt x="87" y="239"/>
                  </a:lnTo>
                  <a:lnTo>
                    <a:pt x="92" y="235"/>
                  </a:lnTo>
                  <a:lnTo>
                    <a:pt x="93" y="235"/>
                  </a:lnTo>
                  <a:lnTo>
                    <a:pt x="98" y="243"/>
                  </a:lnTo>
                  <a:lnTo>
                    <a:pt x="102" y="244"/>
                  </a:lnTo>
                  <a:lnTo>
                    <a:pt x="107" y="255"/>
                  </a:lnTo>
                  <a:lnTo>
                    <a:pt x="109" y="257"/>
                  </a:lnTo>
                  <a:lnTo>
                    <a:pt x="114" y="257"/>
                  </a:lnTo>
                  <a:lnTo>
                    <a:pt x="116" y="255"/>
                  </a:lnTo>
                  <a:lnTo>
                    <a:pt x="113" y="249"/>
                  </a:lnTo>
                  <a:lnTo>
                    <a:pt x="113" y="236"/>
                  </a:lnTo>
                  <a:lnTo>
                    <a:pt x="111" y="228"/>
                  </a:lnTo>
                  <a:lnTo>
                    <a:pt x="112" y="218"/>
                  </a:lnTo>
                  <a:lnTo>
                    <a:pt x="109" y="217"/>
                  </a:lnTo>
                  <a:lnTo>
                    <a:pt x="109" y="210"/>
                  </a:lnTo>
                  <a:lnTo>
                    <a:pt x="107" y="208"/>
                  </a:lnTo>
                  <a:lnTo>
                    <a:pt x="104" y="200"/>
                  </a:lnTo>
                  <a:lnTo>
                    <a:pt x="105" y="194"/>
                  </a:lnTo>
                  <a:lnTo>
                    <a:pt x="108" y="187"/>
                  </a:lnTo>
                  <a:lnTo>
                    <a:pt x="200" y="191"/>
                  </a:lnTo>
                  <a:lnTo>
                    <a:pt x="203" y="190"/>
                  </a:lnTo>
                  <a:lnTo>
                    <a:pt x="214" y="183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57" y="186"/>
                  </a:lnTo>
                  <a:lnTo>
                    <a:pt x="261" y="190"/>
                  </a:lnTo>
                  <a:lnTo>
                    <a:pt x="263" y="190"/>
                  </a:lnTo>
                  <a:lnTo>
                    <a:pt x="265" y="188"/>
                  </a:lnTo>
                  <a:lnTo>
                    <a:pt x="277" y="188"/>
                  </a:lnTo>
                  <a:lnTo>
                    <a:pt x="281" y="184"/>
                  </a:lnTo>
                  <a:lnTo>
                    <a:pt x="285" y="184"/>
                  </a:lnTo>
                  <a:lnTo>
                    <a:pt x="286" y="180"/>
                  </a:lnTo>
                  <a:lnTo>
                    <a:pt x="288" y="178"/>
                  </a:lnTo>
                  <a:lnTo>
                    <a:pt x="289" y="176"/>
                  </a:lnTo>
                  <a:lnTo>
                    <a:pt x="291" y="175"/>
                  </a:lnTo>
                  <a:lnTo>
                    <a:pt x="294" y="175"/>
                  </a:lnTo>
                  <a:lnTo>
                    <a:pt x="300" y="165"/>
                  </a:lnTo>
                  <a:lnTo>
                    <a:pt x="302" y="164"/>
                  </a:lnTo>
                  <a:lnTo>
                    <a:pt x="307" y="164"/>
                  </a:lnTo>
                  <a:lnTo>
                    <a:pt x="314" y="166"/>
                  </a:lnTo>
                  <a:lnTo>
                    <a:pt x="322" y="164"/>
                  </a:lnTo>
                  <a:lnTo>
                    <a:pt x="327" y="166"/>
                  </a:lnTo>
                  <a:lnTo>
                    <a:pt x="331" y="165"/>
                  </a:lnTo>
                  <a:lnTo>
                    <a:pt x="341" y="155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5" y="148"/>
                  </a:lnTo>
                  <a:lnTo>
                    <a:pt x="346" y="145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32" y="128"/>
                  </a:lnTo>
                  <a:lnTo>
                    <a:pt x="331" y="125"/>
                  </a:lnTo>
                  <a:lnTo>
                    <a:pt x="332" y="123"/>
                  </a:lnTo>
                  <a:lnTo>
                    <a:pt x="335" y="121"/>
                  </a:lnTo>
                  <a:lnTo>
                    <a:pt x="339" y="122"/>
                  </a:lnTo>
                  <a:lnTo>
                    <a:pt x="340" y="120"/>
                  </a:lnTo>
                  <a:lnTo>
                    <a:pt x="334" y="109"/>
                  </a:lnTo>
                  <a:lnTo>
                    <a:pt x="329" y="107"/>
                  </a:lnTo>
                  <a:lnTo>
                    <a:pt x="326" y="108"/>
                  </a:lnTo>
                  <a:lnTo>
                    <a:pt x="322" y="111"/>
                  </a:lnTo>
                  <a:lnTo>
                    <a:pt x="318" y="113"/>
                  </a:lnTo>
                  <a:lnTo>
                    <a:pt x="314" y="113"/>
                  </a:lnTo>
                  <a:lnTo>
                    <a:pt x="300" y="107"/>
                  </a:lnTo>
                  <a:lnTo>
                    <a:pt x="253" y="47"/>
                  </a:lnTo>
                  <a:lnTo>
                    <a:pt x="250" y="40"/>
                  </a:lnTo>
                  <a:lnTo>
                    <a:pt x="250" y="33"/>
                  </a:lnTo>
                  <a:lnTo>
                    <a:pt x="249" y="31"/>
                  </a:lnTo>
                  <a:lnTo>
                    <a:pt x="241" y="25"/>
                  </a:lnTo>
                  <a:lnTo>
                    <a:pt x="240" y="22"/>
                  </a:lnTo>
                  <a:lnTo>
                    <a:pt x="243" y="14"/>
                  </a:lnTo>
                  <a:lnTo>
                    <a:pt x="243" y="4"/>
                  </a:lnTo>
                  <a:lnTo>
                    <a:pt x="24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2" name="Freeform 170"/>
            <p:cNvSpPr>
              <a:spLocks/>
            </p:cNvSpPr>
            <p:nvPr/>
          </p:nvSpPr>
          <p:spPr bwMode="auto">
            <a:xfrm>
              <a:off x="2440926" y="2603534"/>
              <a:ext cx="402141" cy="256040"/>
            </a:xfrm>
            <a:custGeom>
              <a:avLst/>
              <a:gdLst>
                <a:gd name="T0" fmla="*/ 24 w 337"/>
                <a:gd name="T1" fmla="*/ 2 h 256"/>
                <a:gd name="T2" fmla="*/ 21 w 337"/>
                <a:gd name="T3" fmla="*/ 2 h 256"/>
                <a:gd name="T4" fmla="*/ 18 w 337"/>
                <a:gd name="T5" fmla="*/ 2 h 256"/>
                <a:gd name="T6" fmla="*/ 15 w 337"/>
                <a:gd name="T7" fmla="*/ 2 h 256"/>
                <a:gd name="T8" fmla="*/ 13 w 337"/>
                <a:gd name="T9" fmla="*/ 1 h 256"/>
                <a:gd name="T10" fmla="*/ 11 w 337"/>
                <a:gd name="T11" fmla="*/ 2 h 256"/>
                <a:gd name="T12" fmla="*/ 9 w 337"/>
                <a:gd name="T13" fmla="*/ 3 h 256"/>
                <a:gd name="T14" fmla="*/ 10 w 337"/>
                <a:gd name="T15" fmla="*/ 4 h 256"/>
                <a:gd name="T16" fmla="*/ 6 w 337"/>
                <a:gd name="T17" fmla="*/ 6 h 256"/>
                <a:gd name="T18" fmla="*/ 1 w 337"/>
                <a:gd name="T19" fmla="*/ 10 h 256"/>
                <a:gd name="T20" fmla="*/ 1 w 337"/>
                <a:gd name="T21" fmla="*/ 11 h 256"/>
                <a:gd name="T22" fmla="*/ 2 w 337"/>
                <a:gd name="T23" fmla="*/ 10 h 256"/>
                <a:gd name="T24" fmla="*/ 4 w 337"/>
                <a:gd name="T25" fmla="*/ 13 h 256"/>
                <a:gd name="T26" fmla="*/ 10 w 337"/>
                <a:gd name="T27" fmla="*/ 18 h 256"/>
                <a:gd name="T28" fmla="*/ 12 w 337"/>
                <a:gd name="T29" fmla="*/ 20 h 256"/>
                <a:gd name="T30" fmla="*/ 15 w 337"/>
                <a:gd name="T31" fmla="*/ 21 h 256"/>
                <a:gd name="T32" fmla="*/ 18 w 337"/>
                <a:gd name="T33" fmla="*/ 19 h 256"/>
                <a:gd name="T34" fmla="*/ 19 w 337"/>
                <a:gd name="T35" fmla="*/ 16 h 256"/>
                <a:gd name="T36" fmla="*/ 24 w 337"/>
                <a:gd name="T37" fmla="*/ 16 h 256"/>
                <a:gd name="T38" fmla="*/ 31 w 337"/>
                <a:gd name="T39" fmla="*/ 17 h 256"/>
                <a:gd name="T40" fmla="*/ 32 w 337"/>
                <a:gd name="T41" fmla="*/ 18 h 256"/>
                <a:gd name="T42" fmla="*/ 33 w 337"/>
                <a:gd name="T43" fmla="*/ 19 h 256"/>
                <a:gd name="T44" fmla="*/ 33 w 337"/>
                <a:gd name="T45" fmla="*/ 20 h 256"/>
                <a:gd name="T46" fmla="*/ 34 w 337"/>
                <a:gd name="T47" fmla="*/ 22 h 256"/>
                <a:gd name="T48" fmla="*/ 33 w 337"/>
                <a:gd name="T49" fmla="*/ 25 h 256"/>
                <a:gd name="T50" fmla="*/ 36 w 337"/>
                <a:gd name="T51" fmla="*/ 24 h 256"/>
                <a:gd name="T52" fmla="*/ 36 w 337"/>
                <a:gd name="T53" fmla="*/ 24 h 256"/>
                <a:gd name="T54" fmla="*/ 39 w 337"/>
                <a:gd name="T55" fmla="*/ 24 h 256"/>
                <a:gd name="T56" fmla="*/ 41 w 337"/>
                <a:gd name="T57" fmla="*/ 25 h 256"/>
                <a:gd name="T58" fmla="*/ 43 w 337"/>
                <a:gd name="T59" fmla="*/ 28 h 256"/>
                <a:gd name="T60" fmla="*/ 42 w 337"/>
                <a:gd name="T61" fmla="*/ 30 h 256"/>
                <a:gd name="T62" fmla="*/ 43 w 337"/>
                <a:gd name="T63" fmla="*/ 30 h 256"/>
                <a:gd name="T64" fmla="*/ 46 w 337"/>
                <a:gd name="T65" fmla="*/ 31 h 256"/>
                <a:gd name="T66" fmla="*/ 48 w 337"/>
                <a:gd name="T67" fmla="*/ 29 h 256"/>
                <a:gd name="T68" fmla="*/ 50 w 337"/>
                <a:gd name="T69" fmla="*/ 29 h 256"/>
                <a:gd name="T70" fmla="*/ 53 w 337"/>
                <a:gd name="T71" fmla="*/ 27 h 256"/>
                <a:gd name="T72" fmla="*/ 53 w 337"/>
                <a:gd name="T73" fmla="*/ 26 h 256"/>
                <a:gd name="T74" fmla="*/ 52 w 337"/>
                <a:gd name="T75" fmla="*/ 25 h 256"/>
                <a:gd name="T76" fmla="*/ 52 w 337"/>
                <a:gd name="T77" fmla="*/ 24 h 256"/>
                <a:gd name="T78" fmla="*/ 55 w 337"/>
                <a:gd name="T79" fmla="*/ 25 h 256"/>
                <a:gd name="T80" fmla="*/ 56 w 337"/>
                <a:gd name="T81" fmla="*/ 24 h 256"/>
                <a:gd name="T82" fmla="*/ 54 w 337"/>
                <a:gd name="T83" fmla="*/ 23 h 256"/>
                <a:gd name="T84" fmla="*/ 55 w 337"/>
                <a:gd name="T85" fmla="*/ 21 h 256"/>
                <a:gd name="T86" fmla="*/ 54 w 337"/>
                <a:gd name="T87" fmla="*/ 19 h 256"/>
                <a:gd name="T88" fmla="*/ 52 w 337"/>
                <a:gd name="T89" fmla="*/ 16 h 256"/>
                <a:gd name="T90" fmla="*/ 53 w 337"/>
                <a:gd name="T91" fmla="*/ 14 h 256"/>
                <a:gd name="T92" fmla="*/ 52 w 337"/>
                <a:gd name="T93" fmla="*/ 13 h 256"/>
                <a:gd name="T94" fmla="*/ 49 w 337"/>
                <a:gd name="T95" fmla="*/ 9 h 256"/>
                <a:gd name="T96" fmla="*/ 48 w 337"/>
                <a:gd name="T97" fmla="*/ 9 h 256"/>
                <a:gd name="T98" fmla="*/ 50 w 337"/>
                <a:gd name="T99" fmla="*/ 8 h 256"/>
                <a:gd name="T100" fmla="*/ 50 w 337"/>
                <a:gd name="T101" fmla="*/ 7 h 256"/>
                <a:gd name="T102" fmla="*/ 47 w 337"/>
                <a:gd name="T103" fmla="*/ 6 h 256"/>
                <a:gd name="T104" fmla="*/ 46 w 337"/>
                <a:gd name="T105" fmla="*/ 3 h 256"/>
                <a:gd name="T106" fmla="*/ 46 w 337"/>
                <a:gd name="T107" fmla="*/ 3 h 256"/>
                <a:gd name="T108" fmla="*/ 45 w 337"/>
                <a:gd name="T109" fmla="*/ 1 h 256"/>
                <a:gd name="T110" fmla="*/ 43 w 337"/>
                <a:gd name="T111" fmla="*/ 1 h 256"/>
                <a:gd name="T112" fmla="*/ 41 w 337"/>
                <a:gd name="T113" fmla="*/ 3 h 256"/>
                <a:gd name="T114" fmla="*/ 37 w 337"/>
                <a:gd name="T115" fmla="*/ 3 h 256"/>
                <a:gd name="T116" fmla="*/ 34 w 337"/>
                <a:gd name="T117" fmla="*/ 3 h 256"/>
                <a:gd name="T118" fmla="*/ 31 w 337"/>
                <a:gd name="T119" fmla="*/ 3 h 256"/>
                <a:gd name="T120" fmla="*/ 29 w 337"/>
                <a:gd name="T121" fmla="*/ 4 h 256"/>
                <a:gd name="T122" fmla="*/ 28 w 337"/>
                <a:gd name="T123" fmla="*/ 2 h 2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7"/>
                <a:gd name="T187" fmla="*/ 0 h 256"/>
                <a:gd name="T188" fmla="*/ 337 w 337"/>
                <a:gd name="T189" fmla="*/ 256 h 2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7" h="256">
                  <a:moveTo>
                    <a:pt x="172" y="13"/>
                  </a:moveTo>
                  <a:lnTo>
                    <a:pt x="163" y="12"/>
                  </a:lnTo>
                  <a:lnTo>
                    <a:pt x="158" y="14"/>
                  </a:lnTo>
                  <a:lnTo>
                    <a:pt x="145" y="13"/>
                  </a:lnTo>
                  <a:lnTo>
                    <a:pt x="144" y="14"/>
                  </a:lnTo>
                  <a:lnTo>
                    <a:pt x="137" y="14"/>
                  </a:lnTo>
                  <a:lnTo>
                    <a:pt x="132" y="16"/>
                  </a:lnTo>
                  <a:lnTo>
                    <a:pt x="126" y="17"/>
                  </a:lnTo>
                  <a:lnTo>
                    <a:pt x="121" y="14"/>
                  </a:lnTo>
                  <a:lnTo>
                    <a:pt x="118" y="15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8"/>
                  </a:lnTo>
                  <a:lnTo>
                    <a:pt x="100" y="9"/>
                  </a:lnTo>
                  <a:lnTo>
                    <a:pt x="99" y="11"/>
                  </a:lnTo>
                  <a:lnTo>
                    <a:pt x="94" y="11"/>
                  </a:lnTo>
                  <a:lnTo>
                    <a:pt x="94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8" y="4"/>
                  </a:lnTo>
                  <a:lnTo>
                    <a:pt x="75" y="1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67" y="11"/>
                  </a:lnTo>
                  <a:lnTo>
                    <a:pt x="67" y="15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7" y="21"/>
                  </a:lnTo>
                  <a:lnTo>
                    <a:pt x="55" y="22"/>
                  </a:lnTo>
                  <a:lnTo>
                    <a:pt x="54" y="25"/>
                  </a:lnTo>
                  <a:lnTo>
                    <a:pt x="58" y="28"/>
                  </a:lnTo>
                  <a:lnTo>
                    <a:pt x="62" y="33"/>
                  </a:lnTo>
                  <a:lnTo>
                    <a:pt x="63" y="47"/>
                  </a:lnTo>
                  <a:lnTo>
                    <a:pt x="57" y="47"/>
                  </a:lnTo>
                  <a:lnTo>
                    <a:pt x="54" y="49"/>
                  </a:lnTo>
                  <a:lnTo>
                    <a:pt x="38" y="50"/>
                  </a:lnTo>
                  <a:lnTo>
                    <a:pt x="22" y="56"/>
                  </a:lnTo>
                  <a:lnTo>
                    <a:pt x="17" y="60"/>
                  </a:lnTo>
                  <a:lnTo>
                    <a:pt x="9" y="77"/>
                  </a:lnTo>
                  <a:lnTo>
                    <a:pt x="5" y="80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1"/>
                  </a:lnTo>
                  <a:lnTo>
                    <a:pt x="7" y="90"/>
                  </a:lnTo>
                  <a:lnTo>
                    <a:pt x="11" y="84"/>
                  </a:lnTo>
                  <a:lnTo>
                    <a:pt x="14" y="83"/>
                  </a:lnTo>
                  <a:lnTo>
                    <a:pt x="17" y="94"/>
                  </a:lnTo>
                  <a:lnTo>
                    <a:pt x="24" y="96"/>
                  </a:lnTo>
                  <a:lnTo>
                    <a:pt x="25" y="97"/>
                  </a:lnTo>
                  <a:lnTo>
                    <a:pt x="25" y="108"/>
                  </a:lnTo>
                  <a:lnTo>
                    <a:pt x="33" y="121"/>
                  </a:lnTo>
                  <a:lnTo>
                    <a:pt x="54" y="133"/>
                  </a:lnTo>
                  <a:lnTo>
                    <a:pt x="62" y="140"/>
                  </a:lnTo>
                  <a:lnTo>
                    <a:pt x="62" y="149"/>
                  </a:lnTo>
                  <a:lnTo>
                    <a:pt x="69" y="151"/>
                  </a:lnTo>
                  <a:lnTo>
                    <a:pt x="72" y="155"/>
                  </a:lnTo>
                  <a:lnTo>
                    <a:pt x="74" y="157"/>
                  </a:lnTo>
                  <a:lnTo>
                    <a:pt x="74" y="161"/>
                  </a:lnTo>
                  <a:lnTo>
                    <a:pt x="77" y="163"/>
                  </a:lnTo>
                  <a:lnTo>
                    <a:pt x="80" y="167"/>
                  </a:lnTo>
                  <a:lnTo>
                    <a:pt x="87" y="170"/>
                  </a:lnTo>
                  <a:lnTo>
                    <a:pt x="94" y="169"/>
                  </a:lnTo>
                  <a:lnTo>
                    <a:pt x="96" y="167"/>
                  </a:lnTo>
                  <a:lnTo>
                    <a:pt x="100" y="160"/>
                  </a:lnTo>
                  <a:lnTo>
                    <a:pt x="104" y="158"/>
                  </a:lnTo>
                  <a:lnTo>
                    <a:pt x="106" y="157"/>
                  </a:lnTo>
                  <a:lnTo>
                    <a:pt x="106" y="153"/>
                  </a:lnTo>
                  <a:lnTo>
                    <a:pt x="111" y="151"/>
                  </a:lnTo>
                  <a:lnTo>
                    <a:pt x="118" y="140"/>
                  </a:lnTo>
                  <a:lnTo>
                    <a:pt x="118" y="133"/>
                  </a:lnTo>
                  <a:lnTo>
                    <a:pt x="120" y="132"/>
                  </a:lnTo>
                  <a:lnTo>
                    <a:pt x="128" y="131"/>
                  </a:lnTo>
                  <a:lnTo>
                    <a:pt x="131" y="133"/>
                  </a:lnTo>
                  <a:lnTo>
                    <a:pt x="143" y="131"/>
                  </a:lnTo>
                  <a:lnTo>
                    <a:pt x="144" y="126"/>
                  </a:lnTo>
                  <a:lnTo>
                    <a:pt x="176" y="128"/>
                  </a:lnTo>
                  <a:lnTo>
                    <a:pt x="179" y="134"/>
                  </a:lnTo>
                  <a:lnTo>
                    <a:pt x="184" y="136"/>
                  </a:lnTo>
                  <a:lnTo>
                    <a:pt x="187" y="141"/>
                  </a:lnTo>
                  <a:lnTo>
                    <a:pt x="191" y="144"/>
                  </a:lnTo>
                  <a:lnTo>
                    <a:pt x="192" y="146"/>
                  </a:lnTo>
                  <a:lnTo>
                    <a:pt x="194" y="148"/>
                  </a:lnTo>
                  <a:lnTo>
                    <a:pt x="193" y="151"/>
                  </a:lnTo>
                  <a:lnTo>
                    <a:pt x="193" y="153"/>
                  </a:lnTo>
                  <a:lnTo>
                    <a:pt x="199" y="155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0" y="161"/>
                  </a:lnTo>
                  <a:lnTo>
                    <a:pt x="201" y="164"/>
                  </a:lnTo>
                  <a:lnTo>
                    <a:pt x="200" y="165"/>
                  </a:lnTo>
                  <a:lnTo>
                    <a:pt x="201" y="169"/>
                  </a:lnTo>
                  <a:lnTo>
                    <a:pt x="202" y="171"/>
                  </a:lnTo>
                  <a:lnTo>
                    <a:pt x="206" y="173"/>
                  </a:lnTo>
                  <a:lnTo>
                    <a:pt x="208" y="176"/>
                  </a:lnTo>
                  <a:lnTo>
                    <a:pt x="209" y="185"/>
                  </a:lnTo>
                  <a:lnTo>
                    <a:pt x="208" y="186"/>
                  </a:lnTo>
                  <a:lnTo>
                    <a:pt x="204" y="187"/>
                  </a:lnTo>
                  <a:lnTo>
                    <a:pt x="200" y="202"/>
                  </a:lnTo>
                  <a:lnTo>
                    <a:pt x="200" y="204"/>
                  </a:lnTo>
                  <a:lnTo>
                    <a:pt x="210" y="200"/>
                  </a:lnTo>
                  <a:lnTo>
                    <a:pt x="215" y="196"/>
                  </a:lnTo>
                  <a:lnTo>
                    <a:pt x="216" y="196"/>
                  </a:lnTo>
                  <a:lnTo>
                    <a:pt x="217" y="198"/>
                  </a:lnTo>
                  <a:lnTo>
                    <a:pt x="217" y="201"/>
                  </a:lnTo>
                  <a:lnTo>
                    <a:pt x="221" y="201"/>
                  </a:lnTo>
                  <a:lnTo>
                    <a:pt x="223" y="196"/>
                  </a:lnTo>
                  <a:lnTo>
                    <a:pt x="226" y="194"/>
                  </a:lnTo>
                  <a:lnTo>
                    <a:pt x="233" y="199"/>
                  </a:lnTo>
                  <a:lnTo>
                    <a:pt x="235" y="199"/>
                  </a:lnTo>
                  <a:lnTo>
                    <a:pt x="237" y="197"/>
                  </a:lnTo>
                  <a:lnTo>
                    <a:pt x="244" y="194"/>
                  </a:lnTo>
                  <a:lnTo>
                    <a:pt x="246" y="195"/>
                  </a:lnTo>
                  <a:lnTo>
                    <a:pt x="246" y="196"/>
                  </a:lnTo>
                  <a:lnTo>
                    <a:pt x="248" y="200"/>
                  </a:lnTo>
                  <a:lnTo>
                    <a:pt x="255" y="203"/>
                  </a:lnTo>
                  <a:lnTo>
                    <a:pt x="255" y="209"/>
                  </a:lnTo>
                  <a:lnTo>
                    <a:pt x="258" y="214"/>
                  </a:lnTo>
                  <a:lnTo>
                    <a:pt x="259" y="227"/>
                  </a:lnTo>
                  <a:lnTo>
                    <a:pt x="261" y="229"/>
                  </a:lnTo>
                  <a:lnTo>
                    <a:pt x="261" y="241"/>
                  </a:lnTo>
                  <a:lnTo>
                    <a:pt x="259" y="243"/>
                  </a:lnTo>
                  <a:lnTo>
                    <a:pt x="256" y="246"/>
                  </a:lnTo>
                  <a:lnTo>
                    <a:pt x="255" y="247"/>
                  </a:lnTo>
                  <a:lnTo>
                    <a:pt x="256" y="248"/>
                  </a:lnTo>
                  <a:lnTo>
                    <a:pt x="259" y="248"/>
                  </a:lnTo>
                  <a:lnTo>
                    <a:pt x="262" y="246"/>
                  </a:lnTo>
                  <a:lnTo>
                    <a:pt x="264" y="246"/>
                  </a:lnTo>
                  <a:lnTo>
                    <a:pt x="273" y="256"/>
                  </a:lnTo>
                  <a:lnTo>
                    <a:pt x="276" y="254"/>
                  </a:lnTo>
                  <a:lnTo>
                    <a:pt x="279" y="252"/>
                  </a:lnTo>
                  <a:lnTo>
                    <a:pt x="286" y="252"/>
                  </a:lnTo>
                  <a:lnTo>
                    <a:pt x="286" y="248"/>
                  </a:lnTo>
                  <a:lnTo>
                    <a:pt x="290" y="243"/>
                  </a:lnTo>
                  <a:lnTo>
                    <a:pt x="291" y="237"/>
                  </a:lnTo>
                  <a:lnTo>
                    <a:pt x="293" y="235"/>
                  </a:lnTo>
                  <a:lnTo>
                    <a:pt x="298" y="235"/>
                  </a:lnTo>
                  <a:lnTo>
                    <a:pt x="301" y="240"/>
                  </a:lnTo>
                  <a:lnTo>
                    <a:pt x="304" y="239"/>
                  </a:lnTo>
                  <a:lnTo>
                    <a:pt x="315" y="239"/>
                  </a:lnTo>
                  <a:lnTo>
                    <a:pt x="316" y="236"/>
                  </a:lnTo>
                  <a:lnTo>
                    <a:pt x="320" y="230"/>
                  </a:lnTo>
                  <a:lnTo>
                    <a:pt x="321" y="219"/>
                  </a:lnTo>
                  <a:lnTo>
                    <a:pt x="325" y="216"/>
                  </a:lnTo>
                  <a:lnTo>
                    <a:pt x="324" y="214"/>
                  </a:lnTo>
                  <a:lnTo>
                    <a:pt x="323" y="214"/>
                  </a:lnTo>
                  <a:lnTo>
                    <a:pt x="323" y="213"/>
                  </a:lnTo>
                  <a:lnTo>
                    <a:pt x="323" y="210"/>
                  </a:lnTo>
                  <a:lnTo>
                    <a:pt x="320" y="209"/>
                  </a:lnTo>
                  <a:lnTo>
                    <a:pt x="313" y="209"/>
                  </a:lnTo>
                  <a:lnTo>
                    <a:pt x="312" y="208"/>
                  </a:lnTo>
                  <a:lnTo>
                    <a:pt x="314" y="204"/>
                  </a:lnTo>
                  <a:lnTo>
                    <a:pt x="313" y="200"/>
                  </a:lnTo>
                  <a:lnTo>
                    <a:pt x="311" y="199"/>
                  </a:lnTo>
                  <a:lnTo>
                    <a:pt x="319" y="196"/>
                  </a:lnTo>
                  <a:lnTo>
                    <a:pt x="326" y="196"/>
                  </a:lnTo>
                  <a:lnTo>
                    <a:pt x="329" y="199"/>
                  </a:lnTo>
                  <a:lnTo>
                    <a:pt x="331" y="200"/>
                  </a:lnTo>
                  <a:lnTo>
                    <a:pt x="334" y="199"/>
                  </a:lnTo>
                  <a:lnTo>
                    <a:pt x="336" y="204"/>
                  </a:lnTo>
                  <a:lnTo>
                    <a:pt x="337" y="204"/>
                  </a:lnTo>
                  <a:lnTo>
                    <a:pt x="337" y="192"/>
                  </a:lnTo>
                  <a:lnTo>
                    <a:pt x="334" y="188"/>
                  </a:lnTo>
                  <a:lnTo>
                    <a:pt x="334" y="184"/>
                  </a:lnTo>
                  <a:lnTo>
                    <a:pt x="331" y="184"/>
                  </a:lnTo>
                  <a:lnTo>
                    <a:pt x="329" y="182"/>
                  </a:lnTo>
                  <a:lnTo>
                    <a:pt x="327" y="183"/>
                  </a:lnTo>
                  <a:lnTo>
                    <a:pt x="330" y="176"/>
                  </a:lnTo>
                  <a:lnTo>
                    <a:pt x="332" y="172"/>
                  </a:lnTo>
                  <a:lnTo>
                    <a:pt x="334" y="171"/>
                  </a:lnTo>
                  <a:lnTo>
                    <a:pt x="334" y="170"/>
                  </a:lnTo>
                  <a:lnTo>
                    <a:pt x="331" y="166"/>
                  </a:lnTo>
                  <a:lnTo>
                    <a:pt x="328" y="166"/>
                  </a:lnTo>
                  <a:lnTo>
                    <a:pt x="330" y="155"/>
                  </a:lnTo>
                  <a:lnTo>
                    <a:pt x="324" y="155"/>
                  </a:lnTo>
                  <a:lnTo>
                    <a:pt x="318" y="151"/>
                  </a:lnTo>
                  <a:lnTo>
                    <a:pt x="316" y="150"/>
                  </a:lnTo>
                  <a:lnTo>
                    <a:pt x="316" y="129"/>
                  </a:lnTo>
                  <a:lnTo>
                    <a:pt x="319" y="126"/>
                  </a:lnTo>
                  <a:lnTo>
                    <a:pt x="319" y="124"/>
                  </a:lnTo>
                  <a:lnTo>
                    <a:pt x="325" y="118"/>
                  </a:lnTo>
                  <a:lnTo>
                    <a:pt x="325" y="114"/>
                  </a:lnTo>
                  <a:lnTo>
                    <a:pt x="324" y="111"/>
                  </a:lnTo>
                  <a:lnTo>
                    <a:pt x="319" y="109"/>
                  </a:lnTo>
                  <a:lnTo>
                    <a:pt x="318" y="105"/>
                  </a:lnTo>
                  <a:lnTo>
                    <a:pt x="312" y="105"/>
                  </a:lnTo>
                  <a:lnTo>
                    <a:pt x="310" y="100"/>
                  </a:lnTo>
                  <a:lnTo>
                    <a:pt x="308" y="77"/>
                  </a:lnTo>
                  <a:lnTo>
                    <a:pt x="304" y="76"/>
                  </a:lnTo>
                  <a:lnTo>
                    <a:pt x="300" y="77"/>
                  </a:lnTo>
                  <a:lnTo>
                    <a:pt x="295" y="83"/>
                  </a:lnTo>
                  <a:lnTo>
                    <a:pt x="293" y="83"/>
                  </a:lnTo>
                  <a:lnTo>
                    <a:pt x="293" y="76"/>
                  </a:lnTo>
                  <a:lnTo>
                    <a:pt x="294" y="75"/>
                  </a:lnTo>
                  <a:lnTo>
                    <a:pt x="298" y="73"/>
                  </a:lnTo>
                  <a:lnTo>
                    <a:pt x="298" y="70"/>
                  </a:lnTo>
                  <a:lnTo>
                    <a:pt x="302" y="69"/>
                  </a:lnTo>
                  <a:lnTo>
                    <a:pt x="303" y="66"/>
                  </a:lnTo>
                  <a:lnTo>
                    <a:pt x="307" y="66"/>
                  </a:lnTo>
                  <a:lnTo>
                    <a:pt x="306" y="61"/>
                  </a:lnTo>
                  <a:lnTo>
                    <a:pt x="306" y="60"/>
                  </a:lnTo>
                  <a:lnTo>
                    <a:pt x="301" y="60"/>
                  </a:lnTo>
                  <a:lnTo>
                    <a:pt x="298" y="57"/>
                  </a:lnTo>
                  <a:lnTo>
                    <a:pt x="295" y="55"/>
                  </a:lnTo>
                  <a:lnTo>
                    <a:pt x="291" y="48"/>
                  </a:lnTo>
                  <a:lnTo>
                    <a:pt x="288" y="49"/>
                  </a:lnTo>
                  <a:lnTo>
                    <a:pt x="287" y="49"/>
                  </a:lnTo>
                  <a:lnTo>
                    <a:pt x="287" y="34"/>
                  </a:lnTo>
                  <a:lnTo>
                    <a:pt x="284" y="31"/>
                  </a:lnTo>
                  <a:lnTo>
                    <a:pt x="282" y="29"/>
                  </a:lnTo>
                  <a:lnTo>
                    <a:pt x="283" y="24"/>
                  </a:lnTo>
                  <a:lnTo>
                    <a:pt x="281" y="23"/>
                  </a:lnTo>
                  <a:lnTo>
                    <a:pt x="278" y="23"/>
                  </a:lnTo>
                  <a:lnTo>
                    <a:pt x="277" y="22"/>
                  </a:lnTo>
                  <a:lnTo>
                    <a:pt x="278" y="13"/>
                  </a:lnTo>
                  <a:lnTo>
                    <a:pt x="278" y="11"/>
                  </a:lnTo>
                  <a:lnTo>
                    <a:pt x="275" y="9"/>
                  </a:lnTo>
                  <a:lnTo>
                    <a:pt x="273" y="9"/>
                  </a:lnTo>
                  <a:lnTo>
                    <a:pt x="271" y="12"/>
                  </a:lnTo>
                  <a:lnTo>
                    <a:pt x="269" y="12"/>
                  </a:lnTo>
                  <a:lnTo>
                    <a:pt x="264" y="9"/>
                  </a:lnTo>
                  <a:lnTo>
                    <a:pt x="262" y="9"/>
                  </a:lnTo>
                  <a:lnTo>
                    <a:pt x="261" y="10"/>
                  </a:lnTo>
                  <a:lnTo>
                    <a:pt x="261" y="17"/>
                  </a:lnTo>
                  <a:lnTo>
                    <a:pt x="258" y="19"/>
                  </a:lnTo>
                  <a:lnTo>
                    <a:pt x="247" y="23"/>
                  </a:lnTo>
                  <a:lnTo>
                    <a:pt x="247" y="27"/>
                  </a:lnTo>
                  <a:lnTo>
                    <a:pt x="245" y="32"/>
                  </a:lnTo>
                  <a:lnTo>
                    <a:pt x="233" y="27"/>
                  </a:lnTo>
                  <a:lnTo>
                    <a:pt x="226" y="23"/>
                  </a:lnTo>
                  <a:lnTo>
                    <a:pt x="218" y="21"/>
                  </a:lnTo>
                  <a:lnTo>
                    <a:pt x="216" y="22"/>
                  </a:lnTo>
                  <a:lnTo>
                    <a:pt x="213" y="26"/>
                  </a:lnTo>
                  <a:lnTo>
                    <a:pt x="208" y="28"/>
                  </a:lnTo>
                  <a:lnTo>
                    <a:pt x="206" y="33"/>
                  </a:lnTo>
                  <a:lnTo>
                    <a:pt x="203" y="36"/>
                  </a:lnTo>
                  <a:lnTo>
                    <a:pt x="199" y="34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80" y="28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69" y="29"/>
                  </a:lnTo>
                  <a:lnTo>
                    <a:pt x="166" y="25"/>
                  </a:lnTo>
                  <a:lnTo>
                    <a:pt x="166" y="22"/>
                  </a:lnTo>
                  <a:lnTo>
                    <a:pt x="169" y="19"/>
                  </a:lnTo>
                  <a:lnTo>
                    <a:pt x="169" y="16"/>
                  </a:lnTo>
                  <a:lnTo>
                    <a:pt x="172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3" name="Freeform 171"/>
            <p:cNvSpPr>
              <a:spLocks/>
            </p:cNvSpPr>
            <p:nvPr/>
          </p:nvSpPr>
          <p:spPr bwMode="auto">
            <a:xfrm>
              <a:off x="2440926" y="2603534"/>
              <a:ext cx="402141" cy="256040"/>
            </a:xfrm>
            <a:custGeom>
              <a:avLst/>
              <a:gdLst>
                <a:gd name="T0" fmla="*/ 24 w 337"/>
                <a:gd name="T1" fmla="*/ 2 h 256"/>
                <a:gd name="T2" fmla="*/ 21 w 337"/>
                <a:gd name="T3" fmla="*/ 2 h 256"/>
                <a:gd name="T4" fmla="*/ 18 w 337"/>
                <a:gd name="T5" fmla="*/ 2 h 256"/>
                <a:gd name="T6" fmla="*/ 15 w 337"/>
                <a:gd name="T7" fmla="*/ 2 h 256"/>
                <a:gd name="T8" fmla="*/ 13 w 337"/>
                <a:gd name="T9" fmla="*/ 1 h 256"/>
                <a:gd name="T10" fmla="*/ 11 w 337"/>
                <a:gd name="T11" fmla="*/ 2 h 256"/>
                <a:gd name="T12" fmla="*/ 9 w 337"/>
                <a:gd name="T13" fmla="*/ 3 h 256"/>
                <a:gd name="T14" fmla="*/ 10 w 337"/>
                <a:gd name="T15" fmla="*/ 4 h 256"/>
                <a:gd name="T16" fmla="*/ 6 w 337"/>
                <a:gd name="T17" fmla="*/ 6 h 256"/>
                <a:gd name="T18" fmla="*/ 1 w 337"/>
                <a:gd name="T19" fmla="*/ 10 h 256"/>
                <a:gd name="T20" fmla="*/ 1 w 337"/>
                <a:gd name="T21" fmla="*/ 11 h 256"/>
                <a:gd name="T22" fmla="*/ 2 w 337"/>
                <a:gd name="T23" fmla="*/ 10 h 256"/>
                <a:gd name="T24" fmla="*/ 4 w 337"/>
                <a:gd name="T25" fmla="*/ 13 h 256"/>
                <a:gd name="T26" fmla="*/ 10 w 337"/>
                <a:gd name="T27" fmla="*/ 18 h 256"/>
                <a:gd name="T28" fmla="*/ 12 w 337"/>
                <a:gd name="T29" fmla="*/ 20 h 256"/>
                <a:gd name="T30" fmla="*/ 15 w 337"/>
                <a:gd name="T31" fmla="*/ 21 h 256"/>
                <a:gd name="T32" fmla="*/ 18 w 337"/>
                <a:gd name="T33" fmla="*/ 19 h 256"/>
                <a:gd name="T34" fmla="*/ 19 w 337"/>
                <a:gd name="T35" fmla="*/ 16 h 256"/>
                <a:gd name="T36" fmla="*/ 24 w 337"/>
                <a:gd name="T37" fmla="*/ 16 h 256"/>
                <a:gd name="T38" fmla="*/ 31 w 337"/>
                <a:gd name="T39" fmla="*/ 17 h 256"/>
                <a:gd name="T40" fmla="*/ 32 w 337"/>
                <a:gd name="T41" fmla="*/ 18 h 256"/>
                <a:gd name="T42" fmla="*/ 33 w 337"/>
                <a:gd name="T43" fmla="*/ 19 h 256"/>
                <a:gd name="T44" fmla="*/ 33 w 337"/>
                <a:gd name="T45" fmla="*/ 20 h 256"/>
                <a:gd name="T46" fmla="*/ 34 w 337"/>
                <a:gd name="T47" fmla="*/ 22 h 256"/>
                <a:gd name="T48" fmla="*/ 33 w 337"/>
                <a:gd name="T49" fmla="*/ 25 h 256"/>
                <a:gd name="T50" fmla="*/ 36 w 337"/>
                <a:gd name="T51" fmla="*/ 24 h 256"/>
                <a:gd name="T52" fmla="*/ 36 w 337"/>
                <a:gd name="T53" fmla="*/ 24 h 256"/>
                <a:gd name="T54" fmla="*/ 39 w 337"/>
                <a:gd name="T55" fmla="*/ 24 h 256"/>
                <a:gd name="T56" fmla="*/ 41 w 337"/>
                <a:gd name="T57" fmla="*/ 25 h 256"/>
                <a:gd name="T58" fmla="*/ 43 w 337"/>
                <a:gd name="T59" fmla="*/ 28 h 256"/>
                <a:gd name="T60" fmla="*/ 42 w 337"/>
                <a:gd name="T61" fmla="*/ 30 h 256"/>
                <a:gd name="T62" fmla="*/ 43 w 337"/>
                <a:gd name="T63" fmla="*/ 30 h 256"/>
                <a:gd name="T64" fmla="*/ 46 w 337"/>
                <a:gd name="T65" fmla="*/ 31 h 256"/>
                <a:gd name="T66" fmla="*/ 48 w 337"/>
                <a:gd name="T67" fmla="*/ 29 h 256"/>
                <a:gd name="T68" fmla="*/ 50 w 337"/>
                <a:gd name="T69" fmla="*/ 29 h 256"/>
                <a:gd name="T70" fmla="*/ 53 w 337"/>
                <a:gd name="T71" fmla="*/ 27 h 256"/>
                <a:gd name="T72" fmla="*/ 53 w 337"/>
                <a:gd name="T73" fmla="*/ 26 h 256"/>
                <a:gd name="T74" fmla="*/ 52 w 337"/>
                <a:gd name="T75" fmla="*/ 25 h 256"/>
                <a:gd name="T76" fmla="*/ 52 w 337"/>
                <a:gd name="T77" fmla="*/ 24 h 256"/>
                <a:gd name="T78" fmla="*/ 55 w 337"/>
                <a:gd name="T79" fmla="*/ 25 h 256"/>
                <a:gd name="T80" fmla="*/ 56 w 337"/>
                <a:gd name="T81" fmla="*/ 24 h 256"/>
                <a:gd name="T82" fmla="*/ 54 w 337"/>
                <a:gd name="T83" fmla="*/ 23 h 256"/>
                <a:gd name="T84" fmla="*/ 55 w 337"/>
                <a:gd name="T85" fmla="*/ 21 h 256"/>
                <a:gd name="T86" fmla="*/ 54 w 337"/>
                <a:gd name="T87" fmla="*/ 19 h 256"/>
                <a:gd name="T88" fmla="*/ 52 w 337"/>
                <a:gd name="T89" fmla="*/ 16 h 256"/>
                <a:gd name="T90" fmla="*/ 53 w 337"/>
                <a:gd name="T91" fmla="*/ 14 h 256"/>
                <a:gd name="T92" fmla="*/ 52 w 337"/>
                <a:gd name="T93" fmla="*/ 13 h 256"/>
                <a:gd name="T94" fmla="*/ 49 w 337"/>
                <a:gd name="T95" fmla="*/ 9 h 256"/>
                <a:gd name="T96" fmla="*/ 48 w 337"/>
                <a:gd name="T97" fmla="*/ 9 h 256"/>
                <a:gd name="T98" fmla="*/ 50 w 337"/>
                <a:gd name="T99" fmla="*/ 8 h 256"/>
                <a:gd name="T100" fmla="*/ 50 w 337"/>
                <a:gd name="T101" fmla="*/ 7 h 256"/>
                <a:gd name="T102" fmla="*/ 47 w 337"/>
                <a:gd name="T103" fmla="*/ 6 h 256"/>
                <a:gd name="T104" fmla="*/ 46 w 337"/>
                <a:gd name="T105" fmla="*/ 3 h 256"/>
                <a:gd name="T106" fmla="*/ 46 w 337"/>
                <a:gd name="T107" fmla="*/ 3 h 256"/>
                <a:gd name="T108" fmla="*/ 45 w 337"/>
                <a:gd name="T109" fmla="*/ 1 h 256"/>
                <a:gd name="T110" fmla="*/ 43 w 337"/>
                <a:gd name="T111" fmla="*/ 1 h 256"/>
                <a:gd name="T112" fmla="*/ 41 w 337"/>
                <a:gd name="T113" fmla="*/ 3 h 256"/>
                <a:gd name="T114" fmla="*/ 37 w 337"/>
                <a:gd name="T115" fmla="*/ 3 h 256"/>
                <a:gd name="T116" fmla="*/ 34 w 337"/>
                <a:gd name="T117" fmla="*/ 3 h 256"/>
                <a:gd name="T118" fmla="*/ 31 w 337"/>
                <a:gd name="T119" fmla="*/ 3 h 256"/>
                <a:gd name="T120" fmla="*/ 29 w 337"/>
                <a:gd name="T121" fmla="*/ 4 h 256"/>
                <a:gd name="T122" fmla="*/ 28 w 337"/>
                <a:gd name="T123" fmla="*/ 2 h 2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7"/>
                <a:gd name="T187" fmla="*/ 0 h 256"/>
                <a:gd name="T188" fmla="*/ 337 w 337"/>
                <a:gd name="T189" fmla="*/ 256 h 2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7" h="256">
                  <a:moveTo>
                    <a:pt x="172" y="13"/>
                  </a:moveTo>
                  <a:lnTo>
                    <a:pt x="163" y="12"/>
                  </a:lnTo>
                  <a:lnTo>
                    <a:pt x="158" y="14"/>
                  </a:lnTo>
                  <a:lnTo>
                    <a:pt x="145" y="13"/>
                  </a:lnTo>
                  <a:lnTo>
                    <a:pt x="144" y="14"/>
                  </a:lnTo>
                  <a:lnTo>
                    <a:pt x="137" y="14"/>
                  </a:lnTo>
                  <a:lnTo>
                    <a:pt x="132" y="16"/>
                  </a:lnTo>
                  <a:lnTo>
                    <a:pt x="126" y="17"/>
                  </a:lnTo>
                  <a:lnTo>
                    <a:pt x="121" y="14"/>
                  </a:lnTo>
                  <a:lnTo>
                    <a:pt x="118" y="15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8"/>
                  </a:lnTo>
                  <a:lnTo>
                    <a:pt x="100" y="9"/>
                  </a:lnTo>
                  <a:lnTo>
                    <a:pt x="99" y="11"/>
                  </a:lnTo>
                  <a:lnTo>
                    <a:pt x="94" y="11"/>
                  </a:lnTo>
                  <a:lnTo>
                    <a:pt x="94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8" y="4"/>
                  </a:lnTo>
                  <a:lnTo>
                    <a:pt x="75" y="1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67" y="11"/>
                  </a:lnTo>
                  <a:lnTo>
                    <a:pt x="67" y="15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7" y="21"/>
                  </a:lnTo>
                  <a:lnTo>
                    <a:pt x="55" y="22"/>
                  </a:lnTo>
                  <a:lnTo>
                    <a:pt x="54" y="25"/>
                  </a:lnTo>
                  <a:lnTo>
                    <a:pt x="58" y="28"/>
                  </a:lnTo>
                  <a:lnTo>
                    <a:pt x="62" y="33"/>
                  </a:lnTo>
                  <a:lnTo>
                    <a:pt x="63" y="47"/>
                  </a:lnTo>
                  <a:lnTo>
                    <a:pt x="57" y="47"/>
                  </a:lnTo>
                  <a:lnTo>
                    <a:pt x="54" y="49"/>
                  </a:lnTo>
                  <a:lnTo>
                    <a:pt x="38" y="50"/>
                  </a:lnTo>
                  <a:lnTo>
                    <a:pt x="22" y="56"/>
                  </a:lnTo>
                  <a:lnTo>
                    <a:pt x="17" y="60"/>
                  </a:lnTo>
                  <a:lnTo>
                    <a:pt x="9" y="77"/>
                  </a:lnTo>
                  <a:lnTo>
                    <a:pt x="5" y="80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1"/>
                  </a:lnTo>
                  <a:lnTo>
                    <a:pt x="7" y="90"/>
                  </a:lnTo>
                  <a:lnTo>
                    <a:pt x="11" y="84"/>
                  </a:lnTo>
                  <a:lnTo>
                    <a:pt x="14" y="83"/>
                  </a:lnTo>
                  <a:lnTo>
                    <a:pt x="17" y="94"/>
                  </a:lnTo>
                  <a:lnTo>
                    <a:pt x="24" y="96"/>
                  </a:lnTo>
                  <a:lnTo>
                    <a:pt x="25" y="97"/>
                  </a:lnTo>
                  <a:lnTo>
                    <a:pt x="25" y="108"/>
                  </a:lnTo>
                  <a:lnTo>
                    <a:pt x="33" y="121"/>
                  </a:lnTo>
                  <a:lnTo>
                    <a:pt x="54" y="133"/>
                  </a:lnTo>
                  <a:lnTo>
                    <a:pt x="62" y="140"/>
                  </a:lnTo>
                  <a:lnTo>
                    <a:pt x="62" y="149"/>
                  </a:lnTo>
                  <a:lnTo>
                    <a:pt x="69" y="151"/>
                  </a:lnTo>
                  <a:lnTo>
                    <a:pt x="72" y="155"/>
                  </a:lnTo>
                  <a:lnTo>
                    <a:pt x="74" y="157"/>
                  </a:lnTo>
                  <a:lnTo>
                    <a:pt x="74" y="161"/>
                  </a:lnTo>
                  <a:lnTo>
                    <a:pt x="77" y="163"/>
                  </a:lnTo>
                  <a:lnTo>
                    <a:pt x="80" y="167"/>
                  </a:lnTo>
                  <a:lnTo>
                    <a:pt x="87" y="170"/>
                  </a:lnTo>
                  <a:lnTo>
                    <a:pt x="94" y="169"/>
                  </a:lnTo>
                  <a:lnTo>
                    <a:pt x="96" y="167"/>
                  </a:lnTo>
                  <a:lnTo>
                    <a:pt x="100" y="160"/>
                  </a:lnTo>
                  <a:lnTo>
                    <a:pt x="104" y="158"/>
                  </a:lnTo>
                  <a:lnTo>
                    <a:pt x="106" y="157"/>
                  </a:lnTo>
                  <a:lnTo>
                    <a:pt x="106" y="153"/>
                  </a:lnTo>
                  <a:lnTo>
                    <a:pt x="111" y="151"/>
                  </a:lnTo>
                  <a:lnTo>
                    <a:pt x="118" y="140"/>
                  </a:lnTo>
                  <a:lnTo>
                    <a:pt x="118" y="133"/>
                  </a:lnTo>
                  <a:lnTo>
                    <a:pt x="120" y="132"/>
                  </a:lnTo>
                  <a:lnTo>
                    <a:pt x="128" y="131"/>
                  </a:lnTo>
                  <a:lnTo>
                    <a:pt x="131" y="133"/>
                  </a:lnTo>
                  <a:lnTo>
                    <a:pt x="143" y="131"/>
                  </a:lnTo>
                  <a:lnTo>
                    <a:pt x="144" y="126"/>
                  </a:lnTo>
                  <a:lnTo>
                    <a:pt x="176" y="128"/>
                  </a:lnTo>
                  <a:lnTo>
                    <a:pt x="179" y="134"/>
                  </a:lnTo>
                  <a:lnTo>
                    <a:pt x="184" y="136"/>
                  </a:lnTo>
                  <a:lnTo>
                    <a:pt x="187" y="141"/>
                  </a:lnTo>
                  <a:lnTo>
                    <a:pt x="191" y="144"/>
                  </a:lnTo>
                  <a:lnTo>
                    <a:pt x="192" y="146"/>
                  </a:lnTo>
                  <a:lnTo>
                    <a:pt x="194" y="148"/>
                  </a:lnTo>
                  <a:lnTo>
                    <a:pt x="193" y="151"/>
                  </a:lnTo>
                  <a:lnTo>
                    <a:pt x="193" y="153"/>
                  </a:lnTo>
                  <a:lnTo>
                    <a:pt x="199" y="155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0" y="161"/>
                  </a:lnTo>
                  <a:lnTo>
                    <a:pt x="201" y="164"/>
                  </a:lnTo>
                  <a:lnTo>
                    <a:pt x="200" y="165"/>
                  </a:lnTo>
                  <a:lnTo>
                    <a:pt x="201" y="169"/>
                  </a:lnTo>
                  <a:lnTo>
                    <a:pt x="202" y="171"/>
                  </a:lnTo>
                  <a:lnTo>
                    <a:pt x="206" y="173"/>
                  </a:lnTo>
                  <a:lnTo>
                    <a:pt x="208" y="176"/>
                  </a:lnTo>
                  <a:lnTo>
                    <a:pt x="209" y="185"/>
                  </a:lnTo>
                  <a:lnTo>
                    <a:pt x="208" y="186"/>
                  </a:lnTo>
                  <a:lnTo>
                    <a:pt x="204" y="187"/>
                  </a:lnTo>
                  <a:lnTo>
                    <a:pt x="200" y="202"/>
                  </a:lnTo>
                  <a:lnTo>
                    <a:pt x="200" y="204"/>
                  </a:lnTo>
                  <a:lnTo>
                    <a:pt x="210" y="200"/>
                  </a:lnTo>
                  <a:lnTo>
                    <a:pt x="215" y="196"/>
                  </a:lnTo>
                  <a:lnTo>
                    <a:pt x="216" y="196"/>
                  </a:lnTo>
                  <a:lnTo>
                    <a:pt x="217" y="198"/>
                  </a:lnTo>
                  <a:lnTo>
                    <a:pt x="217" y="201"/>
                  </a:lnTo>
                  <a:lnTo>
                    <a:pt x="221" y="201"/>
                  </a:lnTo>
                  <a:lnTo>
                    <a:pt x="223" y="196"/>
                  </a:lnTo>
                  <a:lnTo>
                    <a:pt x="226" y="194"/>
                  </a:lnTo>
                  <a:lnTo>
                    <a:pt x="233" y="199"/>
                  </a:lnTo>
                  <a:lnTo>
                    <a:pt x="235" y="199"/>
                  </a:lnTo>
                  <a:lnTo>
                    <a:pt x="237" y="197"/>
                  </a:lnTo>
                  <a:lnTo>
                    <a:pt x="244" y="194"/>
                  </a:lnTo>
                  <a:lnTo>
                    <a:pt x="246" y="195"/>
                  </a:lnTo>
                  <a:lnTo>
                    <a:pt x="246" y="196"/>
                  </a:lnTo>
                  <a:lnTo>
                    <a:pt x="248" y="200"/>
                  </a:lnTo>
                  <a:lnTo>
                    <a:pt x="255" y="203"/>
                  </a:lnTo>
                  <a:lnTo>
                    <a:pt x="255" y="209"/>
                  </a:lnTo>
                  <a:lnTo>
                    <a:pt x="258" y="214"/>
                  </a:lnTo>
                  <a:lnTo>
                    <a:pt x="259" y="227"/>
                  </a:lnTo>
                  <a:lnTo>
                    <a:pt x="261" y="229"/>
                  </a:lnTo>
                  <a:lnTo>
                    <a:pt x="261" y="241"/>
                  </a:lnTo>
                  <a:lnTo>
                    <a:pt x="259" y="243"/>
                  </a:lnTo>
                  <a:lnTo>
                    <a:pt x="256" y="246"/>
                  </a:lnTo>
                  <a:lnTo>
                    <a:pt x="255" y="247"/>
                  </a:lnTo>
                  <a:lnTo>
                    <a:pt x="256" y="248"/>
                  </a:lnTo>
                  <a:lnTo>
                    <a:pt x="259" y="248"/>
                  </a:lnTo>
                  <a:lnTo>
                    <a:pt x="262" y="246"/>
                  </a:lnTo>
                  <a:lnTo>
                    <a:pt x="264" y="246"/>
                  </a:lnTo>
                  <a:lnTo>
                    <a:pt x="273" y="256"/>
                  </a:lnTo>
                  <a:lnTo>
                    <a:pt x="276" y="254"/>
                  </a:lnTo>
                  <a:lnTo>
                    <a:pt x="279" y="252"/>
                  </a:lnTo>
                  <a:lnTo>
                    <a:pt x="286" y="252"/>
                  </a:lnTo>
                  <a:lnTo>
                    <a:pt x="286" y="248"/>
                  </a:lnTo>
                  <a:lnTo>
                    <a:pt x="290" y="243"/>
                  </a:lnTo>
                  <a:lnTo>
                    <a:pt x="291" y="237"/>
                  </a:lnTo>
                  <a:lnTo>
                    <a:pt x="293" y="235"/>
                  </a:lnTo>
                  <a:lnTo>
                    <a:pt x="298" y="235"/>
                  </a:lnTo>
                  <a:lnTo>
                    <a:pt x="301" y="240"/>
                  </a:lnTo>
                  <a:lnTo>
                    <a:pt x="304" y="239"/>
                  </a:lnTo>
                  <a:lnTo>
                    <a:pt x="315" y="239"/>
                  </a:lnTo>
                  <a:lnTo>
                    <a:pt x="316" y="236"/>
                  </a:lnTo>
                  <a:lnTo>
                    <a:pt x="320" y="230"/>
                  </a:lnTo>
                  <a:lnTo>
                    <a:pt x="321" y="219"/>
                  </a:lnTo>
                  <a:lnTo>
                    <a:pt x="325" y="216"/>
                  </a:lnTo>
                  <a:lnTo>
                    <a:pt x="324" y="214"/>
                  </a:lnTo>
                  <a:lnTo>
                    <a:pt x="323" y="214"/>
                  </a:lnTo>
                  <a:lnTo>
                    <a:pt x="323" y="213"/>
                  </a:lnTo>
                  <a:lnTo>
                    <a:pt x="323" y="210"/>
                  </a:lnTo>
                  <a:lnTo>
                    <a:pt x="320" y="209"/>
                  </a:lnTo>
                  <a:lnTo>
                    <a:pt x="313" y="209"/>
                  </a:lnTo>
                  <a:lnTo>
                    <a:pt x="312" y="208"/>
                  </a:lnTo>
                  <a:lnTo>
                    <a:pt x="314" y="204"/>
                  </a:lnTo>
                  <a:lnTo>
                    <a:pt x="313" y="200"/>
                  </a:lnTo>
                  <a:lnTo>
                    <a:pt x="311" y="199"/>
                  </a:lnTo>
                  <a:lnTo>
                    <a:pt x="319" y="196"/>
                  </a:lnTo>
                  <a:lnTo>
                    <a:pt x="326" y="196"/>
                  </a:lnTo>
                  <a:lnTo>
                    <a:pt x="329" y="199"/>
                  </a:lnTo>
                  <a:lnTo>
                    <a:pt x="331" y="200"/>
                  </a:lnTo>
                  <a:lnTo>
                    <a:pt x="334" y="199"/>
                  </a:lnTo>
                  <a:lnTo>
                    <a:pt x="336" y="204"/>
                  </a:lnTo>
                  <a:lnTo>
                    <a:pt x="337" y="204"/>
                  </a:lnTo>
                  <a:lnTo>
                    <a:pt x="337" y="192"/>
                  </a:lnTo>
                  <a:lnTo>
                    <a:pt x="334" y="188"/>
                  </a:lnTo>
                  <a:lnTo>
                    <a:pt x="334" y="184"/>
                  </a:lnTo>
                  <a:lnTo>
                    <a:pt x="331" y="184"/>
                  </a:lnTo>
                  <a:lnTo>
                    <a:pt x="329" y="182"/>
                  </a:lnTo>
                  <a:lnTo>
                    <a:pt x="327" y="183"/>
                  </a:lnTo>
                  <a:lnTo>
                    <a:pt x="330" y="176"/>
                  </a:lnTo>
                  <a:lnTo>
                    <a:pt x="332" y="172"/>
                  </a:lnTo>
                  <a:lnTo>
                    <a:pt x="334" y="171"/>
                  </a:lnTo>
                  <a:lnTo>
                    <a:pt x="334" y="170"/>
                  </a:lnTo>
                  <a:lnTo>
                    <a:pt x="331" y="166"/>
                  </a:lnTo>
                  <a:lnTo>
                    <a:pt x="328" y="166"/>
                  </a:lnTo>
                  <a:lnTo>
                    <a:pt x="330" y="155"/>
                  </a:lnTo>
                  <a:lnTo>
                    <a:pt x="324" y="155"/>
                  </a:lnTo>
                  <a:lnTo>
                    <a:pt x="318" y="151"/>
                  </a:lnTo>
                  <a:lnTo>
                    <a:pt x="316" y="150"/>
                  </a:lnTo>
                  <a:lnTo>
                    <a:pt x="316" y="129"/>
                  </a:lnTo>
                  <a:lnTo>
                    <a:pt x="319" y="126"/>
                  </a:lnTo>
                  <a:lnTo>
                    <a:pt x="319" y="124"/>
                  </a:lnTo>
                  <a:lnTo>
                    <a:pt x="325" y="118"/>
                  </a:lnTo>
                  <a:lnTo>
                    <a:pt x="325" y="114"/>
                  </a:lnTo>
                  <a:lnTo>
                    <a:pt x="324" y="111"/>
                  </a:lnTo>
                  <a:lnTo>
                    <a:pt x="319" y="109"/>
                  </a:lnTo>
                  <a:lnTo>
                    <a:pt x="318" y="105"/>
                  </a:lnTo>
                  <a:lnTo>
                    <a:pt x="312" y="105"/>
                  </a:lnTo>
                  <a:lnTo>
                    <a:pt x="310" y="100"/>
                  </a:lnTo>
                  <a:lnTo>
                    <a:pt x="308" y="77"/>
                  </a:lnTo>
                  <a:lnTo>
                    <a:pt x="304" y="76"/>
                  </a:lnTo>
                  <a:lnTo>
                    <a:pt x="300" y="77"/>
                  </a:lnTo>
                  <a:lnTo>
                    <a:pt x="295" y="83"/>
                  </a:lnTo>
                  <a:lnTo>
                    <a:pt x="293" y="83"/>
                  </a:lnTo>
                  <a:lnTo>
                    <a:pt x="293" y="76"/>
                  </a:lnTo>
                  <a:lnTo>
                    <a:pt x="294" y="75"/>
                  </a:lnTo>
                  <a:lnTo>
                    <a:pt x="298" y="73"/>
                  </a:lnTo>
                  <a:lnTo>
                    <a:pt x="298" y="70"/>
                  </a:lnTo>
                  <a:lnTo>
                    <a:pt x="302" y="69"/>
                  </a:lnTo>
                  <a:lnTo>
                    <a:pt x="303" y="66"/>
                  </a:lnTo>
                  <a:lnTo>
                    <a:pt x="307" y="66"/>
                  </a:lnTo>
                  <a:lnTo>
                    <a:pt x="306" y="61"/>
                  </a:lnTo>
                  <a:lnTo>
                    <a:pt x="306" y="60"/>
                  </a:lnTo>
                  <a:lnTo>
                    <a:pt x="301" y="60"/>
                  </a:lnTo>
                  <a:lnTo>
                    <a:pt x="298" y="57"/>
                  </a:lnTo>
                  <a:lnTo>
                    <a:pt x="295" y="55"/>
                  </a:lnTo>
                  <a:lnTo>
                    <a:pt x="291" y="48"/>
                  </a:lnTo>
                  <a:lnTo>
                    <a:pt x="288" y="49"/>
                  </a:lnTo>
                  <a:lnTo>
                    <a:pt x="287" y="49"/>
                  </a:lnTo>
                  <a:lnTo>
                    <a:pt x="287" y="34"/>
                  </a:lnTo>
                  <a:lnTo>
                    <a:pt x="284" y="31"/>
                  </a:lnTo>
                  <a:lnTo>
                    <a:pt x="282" y="29"/>
                  </a:lnTo>
                  <a:lnTo>
                    <a:pt x="283" y="24"/>
                  </a:lnTo>
                  <a:lnTo>
                    <a:pt x="281" y="23"/>
                  </a:lnTo>
                  <a:lnTo>
                    <a:pt x="278" y="23"/>
                  </a:lnTo>
                  <a:lnTo>
                    <a:pt x="277" y="22"/>
                  </a:lnTo>
                  <a:lnTo>
                    <a:pt x="278" y="13"/>
                  </a:lnTo>
                  <a:lnTo>
                    <a:pt x="278" y="11"/>
                  </a:lnTo>
                  <a:lnTo>
                    <a:pt x="275" y="9"/>
                  </a:lnTo>
                  <a:lnTo>
                    <a:pt x="273" y="9"/>
                  </a:lnTo>
                  <a:lnTo>
                    <a:pt x="271" y="12"/>
                  </a:lnTo>
                  <a:lnTo>
                    <a:pt x="269" y="12"/>
                  </a:lnTo>
                  <a:lnTo>
                    <a:pt x="264" y="9"/>
                  </a:lnTo>
                  <a:lnTo>
                    <a:pt x="262" y="9"/>
                  </a:lnTo>
                  <a:lnTo>
                    <a:pt x="261" y="10"/>
                  </a:lnTo>
                  <a:lnTo>
                    <a:pt x="261" y="17"/>
                  </a:lnTo>
                  <a:lnTo>
                    <a:pt x="258" y="19"/>
                  </a:lnTo>
                  <a:lnTo>
                    <a:pt x="247" y="23"/>
                  </a:lnTo>
                  <a:lnTo>
                    <a:pt x="247" y="27"/>
                  </a:lnTo>
                  <a:lnTo>
                    <a:pt x="245" y="32"/>
                  </a:lnTo>
                  <a:lnTo>
                    <a:pt x="233" y="27"/>
                  </a:lnTo>
                  <a:lnTo>
                    <a:pt x="226" y="23"/>
                  </a:lnTo>
                  <a:lnTo>
                    <a:pt x="218" y="21"/>
                  </a:lnTo>
                  <a:lnTo>
                    <a:pt x="216" y="22"/>
                  </a:lnTo>
                  <a:lnTo>
                    <a:pt x="213" y="26"/>
                  </a:lnTo>
                  <a:lnTo>
                    <a:pt x="208" y="28"/>
                  </a:lnTo>
                  <a:lnTo>
                    <a:pt x="206" y="33"/>
                  </a:lnTo>
                  <a:lnTo>
                    <a:pt x="203" y="36"/>
                  </a:lnTo>
                  <a:lnTo>
                    <a:pt x="199" y="34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80" y="28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69" y="29"/>
                  </a:lnTo>
                  <a:lnTo>
                    <a:pt x="166" y="25"/>
                  </a:lnTo>
                  <a:lnTo>
                    <a:pt x="166" y="22"/>
                  </a:lnTo>
                  <a:lnTo>
                    <a:pt x="169" y="19"/>
                  </a:lnTo>
                  <a:lnTo>
                    <a:pt x="169" y="16"/>
                  </a:lnTo>
                  <a:lnTo>
                    <a:pt x="172" y="1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4" name="Freeform 172"/>
            <p:cNvSpPr>
              <a:spLocks/>
            </p:cNvSpPr>
            <p:nvPr/>
          </p:nvSpPr>
          <p:spPr bwMode="auto">
            <a:xfrm>
              <a:off x="3669689" y="1358585"/>
              <a:ext cx="219350" cy="382205"/>
            </a:xfrm>
            <a:custGeom>
              <a:avLst/>
              <a:gdLst>
                <a:gd name="T0" fmla="*/ 18 w 182"/>
                <a:gd name="T1" fmla="*/ 45 h 386"/>
                <a:gd name="T2" fmla="*/ 21 w 182"/>
                <a:gd name="T3" fmla="*/ 43 h 386"/>
                <a:gd name="T4" fmla="*/ 21 w 182"/>
                <a:gd name="T5" fmla="*/ 39 h 386"/>
                <a:gd name="T6" fmla="*/ 21 w 182"/>
                <a:gd name="T7" fmla="*/ 37 h 386"/>
                <a:gd name="T8" fmla="*/ 26 w 182"/>
                <a:gd name="T9" fmla="*/ 35 h 386"/>
                <a:gd name="T10" fmla="*/ 31 w 182"/>
                <a:gd name="T11" fmla="*/ 31 h 386"/>
                <a:gd name="T12" fmla="*/ 30 w 182"/>
                <a:gd name="T13" fmla="*/ 27 h 386"/>
                <a:gd name="T14" fmla="*/ 29 w 182"/>
                <a:gd name="T15" fmla="*/ 27 h 386"/>
                <a:gd name="T16" fmla="*/ 28 w 182"/>
                <a:gd name="T17" fmla="*/ 27 h 386"/>
                <a:gd name="T18" fmla="*/ 27 w 182"/>
                <a:gd name="T19" fmla="*/ 25 h 386"/>
                <a:gd name="T20" fmla="*/ 25 w 182"/>
                <a:gd name="T21" fmla="*/ 25 h 386"/>
                <a:gd name="T22" fmla="*/ 23 w 182"/>
                <a:gd name="T23" fmla="*/ 25 h 386"/>
                <a:gd name="T24" fmla="*/ 20 w 182"/>
                <a:gd name="T25" fmla="*/ 23 h 386"/>
                <a:gd name="T26" fmla="*/ 20 w 182"/>
                <a:gd name="T27" fmla="*/ 21 h 386"/>
                <a:gd name="T28" fmla="*/ 22 w 182"/>
                <a:gd name="T29" fmla="*/ 20 h 386"/>
                <a:gd name="T30" fmla="*/ 24 w 182"/>
                <a:gd name="T31" fmla="*/ 19 h 386"/>
                <a:gd name="T32" fmla="*/ 27 w 182"/>
                <a:gd name="T33" fmla="*/ 17 h 386"/>
                <a:gd name="T34" fmla="*/ 29 w 182"/>
                <a:gd name="T35" fmla="*/ 11 h 386"/>
                <a:gd name="T36" fmla="*/ 27 w 182"/>
                <a:gd name="T37" fmla="*/ 10 h 386"/>
                <a:gd name="T38" fmla="*/ 25 w 182"/>
                <a:gd name="T39" fmla="*/ 10 h 386"/>
                <a:gd name="T40" fmla="*/ 25 w 182"/>
                <a:gd name="T41" fmla="*/ 6 h 386"/>
                <a:gd name="T42" fmla="*/ 28 w 182"/>
                <a:gd name="T43" fmla="*/ 5 h 386"/>
                <a:gd name="T44" fmla="*/ 29 w 182"/>
                <a:gd name="T45" fmla="*/ 2 h 386"/>
                <a:gd name="T46" fmla="*/ 27 w 182"/>
                <a:gd name="T47" fmla="*/ 3 h 386"/>
                <a:gd name="T48" fmla="*/ 25 w 182"/>
                <a:gd name="T49" fmla="*/ 3 h 386"/>
                <a:gd name="T50" fmla="*/ 23 w 182"/>
                <a:gd name="T51" fmla="*/ 3 h 386"/>
                <a:gd name="T52" fmla="*/ 22 w 182"/>
                <a:gd name="T53" fmla="*/ 1 h 386"/>
                <a:gd name="T54" fmla="*/ 18 w 182"/>
                <a:gd name="T55" fmla="*/ 0 h 386"/>
                <a:gd name="T56" fmla="*/ 12 w 182"/>
                <a:gd name="T57" fmla="*/ 2 h 386"/>
                <a:gd name="T58" fmla="*/ 11 w 182"/>
                <a:gd name="T59" fmla="*/ 3 h 386"/>
                <a:gd name="T60" fmla="*/ 7 w 182"/>
                <a:gd name="T61" fmla="*/ 5 h 386"/>
                <a:gd name="T62" fmla="*/ 8 w 182"/>
                <a:gd name="T63" fmla="*/ 6 h 386"/>
                <a:gd name="T64" fmla="*/ 8 w 182"/>
                <a:gd name="T65" fmla="*/ 13 h 386"/>
                <a:gd name="T66" fmla="*/ 7 w 182"/>
                <a:gd name="T67" fmla="*/ 18 h 386"/>
                <a:gd name="T68" fmla="*/ 4 w 182"/>
                <a:gd name="T69" fmla="*/ 20 h 386"/>
                <a:gd name="T70" fmla="*/ 2 w 182"/>
                <a:gd name="T71" fmla="*/ 21 h 386"/>
                <a:gd name="T72" fmla="*/ 1 w 182"/>
                <a:gd name="T73" fmla="*/ 22 h 386"/>
                <a:gd name="T74" fmla="*/ 2 w 182"/>
                <a:gd name="T75" fmla="*/ 27 h 386"/>
                <a:gd name="T76" fmla="*/ 5 w 182"/>
                <a:gd name="T77" fmla="*/ 28 h 386"/>
                <a:gd name="T78" fmla="*/ 7 w 182"/>
                <a:gd name="T79" fmla="*/ 32 h 386"/>
                <a:gd name="T80" fmla="*/ 13 w 182"/>
                <a:gd name="T81" fmla="*/ 35 h 3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2"/>
                <a:gd name="T124" fmla="*/ 0 h 386"/>
                <a:gd name="T125" fmla="*/ 182 w 182"/>
                <a:gd name="T126" fmla="*/ 386 h 38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2" h="386">
                  <a:moveTo>
                    <a:pt x="92" y="386"/>
                  </a:moveTo>
                  <a:lnTo>
                    <a:pt x="103" y="385"/>
                  </a:lnTo>
                  <a:lnTo>
                    <a:pt x="121" y="370"/>
                  </a:lnTo>
                  <a:lnTo>
                    <a:pt x="126" y="362"/>
                  </a:lnTo>
                  <a:lnTo>
                    <a:pt x="126" y="355"/>
                  </a:lnTo>
                  <a:lnTo>
                    <a:pt x="121" y="331"/>
                  </a:lnTo>
                  <a:lnTo>
                    <a:pt x="122" y="324"/>
                  </a:lnTo>
                  <a:lnTo>
                    <a:pt x="126" y="315"/>
                  </a:lnTo>
                  <a:lnTo>
                    <a:pt x="145" y="305"/>
                  </a:lnTo>
                  <a:lnTo>
                    <a:pt x="148" y="297"/>
                  </a:lnTo>
                  <a:lnTo>
                    <a:pt x="178" y="275"/>
                  </a:lnTo>
                  <a:lnTo>
                    <a:pt x="182" y="267"/>
                  </a:lnTo>
                  <a:lnTo>
                    <a:pt x="181" y="234"/>
                  </a:lnTo>
                  <a:lnTo>
                    <a:pt x="177" y="231"/>
                  </a:lnTo>
                  <a:lnTo>
                    <a:pt x="174" y="232"/>
                  </a:lnTo>
                  <a:lnTo>
                    <a:pt x="169" y="232"/>
                  </a:lnTo>
                  <a:lnTo>
                    <a:pt x="166" y="228"/>
                  </a:lnTo>
                  <a:lnTo>
                    <a:pt x="166" y="225"/>
                  </a:lnTo>
                  <a:lnTo>
                    <a:pt x="159" y="209"/>
                  </a:lnTo>
                  <a:lnTo>
                    <a:pt x="155" y="209"/>
                  </a:lnTo>
                  <a:lnTo>
                    <a:pt x="148" y="214"/>
                  </a:lnTo>
                  <a:lnTo>
                    <a:pt x="144" y="210"/>
                  </a:lnTo>
                  <a:lnTo>
                    <a:pt x="142" y="205"/>
                  </a:lnTo>
                  <a:lnTo>
                    <a:pt x="137" y="207"/>
                  </a:lnTo>
                  <a:lnTo>
                    <a:pt x="133" y="207"/>
                  </a:lnTo>
                  <a:lnTo>
                    <a:pt x="118" y="199"/>
                  </a:lnTo>
                  <a:lnTo>
                    <a:pt x="115" y="190"/>
                  </a:lnTo>
                  <a:lnTo>
                    <a:pt x="115" y="180"/>
                  </a:lnTo>
                  <a:lnTo>
                    <a:pt x="125" y="182"/>
                  </a:lnTo>
                  <a:lnTo>
                    <a:pt x="127" y="169"/>
                  </a:lnTo>
                  <a:lnTo>
                    <a:pt x="134" y="167"/>
                  </a:lnTo>
                  <a:lnTo>
                    <a:pt x="139" y="162"/>
                  </a:lnTo>
                  <a:lnTo>
                    <a:pt x="144" y="160"/>
                  </a:lnTo>
                  <a:lnTo>
                    <a:pt x="160" y="144"/>
                  </a:lnTo>
                  <a:lnTo>
                    <a:pt x="173" y="117"/>
                  </a:lnTo>
                  <a:lnTo>
                    <a:pt x="169" y="97"/>
                  </a:lnTo>
                  <a:lnTo>
                    <a:pt x="161" y="93"/>
                  </a:lnTo>
                  <a:lnTo>
                    <a:pt x="159" y="86"/>
                  </a:lnTo>
                  <a:lnTo>
                    <a:pt x="151" y="84"/>
                  </a:lnTo>
                  <a:lnTo>
                    <a:pt x="147" y="78"/>
                  </a:lnTo>
                  <a:lnTo>
                    <a:pt x="144" y="66"/>
                  </a:lnTo>
                  <a:lnTo>
                    <a:pt x="146" y="54"/>
                  </a:lnTo>
                  <a:lnTo>
                    <a:pt x="153" y="49"/>
                  </a:lnTo>
                  <a:lnTo>
                    <a:pt x="163" y="45"/>
                  </a:lnTo>
                  <a:lnTo>
                    <a:pt x="173" y="25"/>
                  </a:lnTo>
                  <a:lnTo>
                    <a:pt x="168" y="15"/>
                  </a:lnTo>
                  <a:lnTo>
                    <a:pt x="161" y="15"/>
                  </a:lnTo>
                  <a:lnTo>
                    <a:pt x="157" y="22"/>
                  </a:lnTo>
                  <a:lnTo>
                    <a:pt x="152" y="26"/>
                  </a:lnTo>
                  <a:lnTo>
                    <a:pt x="146" y="29"/>
                  </a:lnTo>
                  <a:lnTo>
                    <a:pt x="143" y="33"/>
                  </a:lnTo>
                  <a:lnTo>
                    <a:pt x="134" y="29"/>
                  </a:lnTo>
                  <a:lnTo>
                    <a:pt x="136" y="19"/>
                  </a:lnTo>
                  <a:lnTo>
                    <a:pt x="129" y="7"/>
                  </a:lnTo>
                  <a:lnTo>
                    <a:pt x="131" y="5"/>
                  </a:lnTo>
                  <a:lnTo>
                    <a:pt x="107" y="0"/>
                  </a:lnTo>
                  <a:lnTo>
                    <a:pt x="86" y="5"/>
                  </a:lnTo>
                  <a:lnTo>
                    <a:pt x="69" y="15"/>
                  </a:lnTo>
                  <a:lnTo>
                    <a:pt x="66" y="19"/>
                  </a:lnTo>
                  <a:lnTo>
                    <a:pt x="62" y="20"/>
                  </a:lnTo>
                  <a:lnTo>
                    <a:pt x="61" y="25"/>
                  </a:lnTo>
                  <a:lnTo>
                    <a:pt x="44" y="41"/>
                  </a:lnTo>
                  <a:lnTo>
                    <a:pt x="42" y="45"/>
                  </a:lnTo>
                  <a:lnTo>
                    <a:pt x="48" y="47"/>
                  </a:lnTo>
                  <a:lnTo>
                    <a:pt x="49" y="50"/>
                  </a:lnTo>
                  <a:lnTo>
                    <a:pt x="46" y="111"/>
                  </a:lnTo>
                  <a:lnTo>
                    <a:pt x="50" y="117"/>
                  </a:lnTo>
                  <a:lnTo>
                    <a:pt x="41" y="153"/>
                  </a:lnTo>
                  <a:lnTo>
                    <a:pt x="24" y="165"/>
                  </a:lnTo>
                  <a:lnTo>
                    <a:pt x="22" y="173"/>
                  </a:lnTo>
                  <a:lnTo>
                    <a:pt x="15" y="177"/>
                  </a:lnTo>
                  <a:lnTo>
                    <a:pt x="12" y="181"/>
                  </a:lnTo>
                  <a:lnTo>
                    <a:pt x="11" y="183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11" y="227"/>
                  </a:lnTo>
                  <a:lnTo>
                    <a:pt x="27" y="233"/>
                  </a:lnTo>
                  <a:lnTo>
                    <a:pt x="31" y="238"/>
                  </a:lnTo>
                  <a:lnTo>
                    <a:pt x="38" y="255"/>
                  </a:lnTo>
                  <a:lnTo>
                    <a:pt x="38" y="270"/>
                  </a:lnTo>
                  <a:lnTo>
                    <a:pt x="74" y="291"/>
                  </a:lnTo>
                  <a:lnTo>
                    <a:pt x="76" y="291"/>
                  </a:lnTo>
                  <a:lnTo>
                    <a:pt x="92" y="38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5" name="Freeform 173"/>
            <p:cNvSpPr>
              <a:spLocks/>
            </p:cNvSpPr>
            <p:nvPr/>
          </p:nvSpPr>
          <p:spPr bwMode="auto">
            <a:xfrm>
              <a:off x="3669689" y="1358585"/>
              <a:ext cx="219350" cy="382205"/>
            </a:xfrm>
            <a:custGeom>
              <a:avLst/>
              <a:gdLst>
                <a:gd name="T0" fmla="*/ 18 w 182"/>
                <a:gd name="T1" fmla="*/ 45 h 386"/>
                <a:gd name="T2" fmla="*/ 21 w 182"/>
                <a:gd name="T3" fmla="*/ 43 h 386"/>
                <a:gd name="T4" fmla="*/ 21 w 182"/>
                <a:gd name="T5" fmla="*/ 39 h 386"/>
                <a:gd name="T6" fmla="*/ 21 w 182"/>
                <a:gd name="T7" fmla="*/ 37 h 386"/>
                <a:gd name="T8" fmla="*/ 26 w 182"/>
                <a:gd name="T9" fmla="*/ 35 h 386"/>
                <a:gd name="T10" fmla="*/ 31 w 182"/>
                <a:gd name="T11" fmla="*/ 31 h 386"/>
                <a:gd name="T12" fmla="*/ 30 w 182"/>
                <a:gd name="T13" fmla="*/ 27 h 386"/>
                <a:gd name="T14" fmla="*/ 29 w 182"/>
                <a:gd name="T15" fmla="*/ 27 h 386"/>
                <a:gd name="T16" fmla="*/ 28 w 182"/>
                <a:gd name="T17" fmla="*/ 27 h 386"/>
                <a:gd name="T18" fmla="*/ 27 w 182"/>
                <a:gd name="T19" fmla="*/ 25 h 386"/>
                <a:gd name="T20" fmla="*/ 25 w 182"/>
                <a:gd name="T21" fmla="*/ 25 h 386"/>
                <a:gd name="T22" fmla="*/ 23 w 182"/>
                <a:gd name="T23" fmla="*/ 25 h 386"/>
                <a:gd name="T24" fmla="*/ 20 w 182"/>
                <a:gd name="T25" fmla="*/ 23 h 386"/>
                <a:gd name="T26" fmla="*/ 20 w 182"/>
                <a:gd name="T27" fmla="*/ 21 h 386"/>
                <a:gd name="T28" fmla="*/ 22 w 182"/>
                <a:gd name="T29" fmla="*/ 20 h 386"/>
                <a:gd name="T30" fmla="*/ 24 w 182"/>
                <a:gd name="T31" fmla="*/ 19 h 386"/>
                <a:gd name="T32" fmla="*/ 27 w 182"/>
                <a:gd name="T33" fmla="*/ 17 h 386"/>
                <a:gd name="T34" fmla="*/ 29 w 182"/>
                <a:gd name="T35" fmla="*/ 11 h 386"/>
                <a:gd name="T36" fmla="*/ 27 w 182"/>
                <a:gd name="T37" fmla="*/ 10 h 386"/>
                <a:gd name="T38" fmla="*/ 25 w 182"/>
                <a:gd name="T39" fmla="*/ 10 h 386"/>
                <a:gd name="T40" fmla="*/ 25 w 182"/>
                <a:gd name="T41" fmla="*/ 6 h 386"/>
                <a:gd name="T42" fmla="*/ 28 w 182"/>
                <a:gd name="T43" fmla="*/ 5 h 386"/>
                <a:gd name="T44" fmla="*/ 29 w 182"/>
                <a:gd name="T45" fmla="*/ 2 h 386"/>
                <a:gd name="T46" fmla="*/ 27 w 182"/>
                <a:gd name="T47" fmla="*/ 3 h 386"/>
                <a:gd name="T48" fmla="*/ 25 w 182"/>
                <a:gd name="T49" fmla="*/ 3 h 386"/>
                <a:gd name="T50" fmla="*/ 23 w 182"/>
                <a:gd name="T51" fmla="*/ 3 h 386"/>
                <a:gd name="T52" fmla="*/ 22 w 182"/>
                <a:gd name="T53" fmla="*/ 1 h 386"/>
                <a:gd name="T54" fmla="*/ 18 w 182"/>
                <a:gd name="T55" fmla="*/ 0 h 386"/>
                <a:gd name="T56" fmla="*/ 12 w 182"/>
                <a:gd name="T57" fmla="*/ 2 h 386"/>
                <a:gd name="T58" fmla="*/ 11 w 182"/>
                <a:gd name="T59" fmla="*/ 3 h 386"/>
                <a:gd name="T60" fmla="*/ 7 w 182"/>
                <a:gd name="T61" fmla="*/ 5 h 386"/>
                <a:gd name="T62" fmla="*/ 8 w 182"/>
                <a:gd name="T63" fmla="*/ 6 h 386"/>
                <a:gd name="T64" fmla="*/ 8 w 182"/>
                <a:gd name="T65" fmla="*/ 13 h 386"/>
                <a:gd name="T66" fmla="*/ 7 w 182"/>
                <a:gd name="T67" fmla="*/ 18 h 386"/>
                <a:gd name="T68" fmla="*/ 4 w 182"/>
                <a:gd name="T69" fmla="*/ 20 h 386"/>
                <a:gd name="T70" fmla="*/ 2 w 182"/>
                <a:gd name="T71" fmla="*/ 21 h 386"/>
                <a:gd name="T72" fmla="*/ 1 w 182"/>
                <a:gd name="T73" fmla="*/ 22 h 386"/>
                <a:gd name="T74" fmla="*/ 2 w 182"/>
                <a:gd name="T75" fmla="*/ 27 h 386"/>
                <a:gd name="T76" fmla="*/ 5 w 182"/>
                <a:gd name="T77" fmla="*/ 28 h 386"/>
                <a:gd name="T78" fmla="*/ 7 w 182"/>
                <a:gd name="T79" fmla="*/ 32 h 386"/>
                <a:gd name="T80" fmla="*/ 13 w 182"/>
                <a:gd name="T81" fmla="*/ 35 h 3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2"/>
                <a:gd name="T124" fmla="*/ 0 h 386"/>
                <a:gd name="T125" fmla="*/ 182 w 182"/>
                <a:gd name="T126" fmla="*/ 386 h 38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2" h="386">
                  <a:moveTo>
                    <a:pt x="92" y="386"/>
                  </a:moveTo>
                  <a:lnTo>
                    <a:pt x="103" y="385"/>
                  </a:lnTo>
                  <a:lnTo>
                    <a:pt x="121" y="370"/>
                  </a:lnTo>
                  <a:lnTo>
                    <a:pt x="126" y="362"/>
                  </a:lnTo>
                  <a:lnTo>
                    <a:pt x="126" y="355"/>
                  </a:lnTo>
                  <a:lnTo>
                    <a:pt x="121" y="331"/>
                  </a:lnTo>
                  <a:lnTo>
                    <a:pt x="122" y="324"/>
                  </a:lnTo>
                  <a:lnTo>
                    <a:pt x="126" y="315"/>
                  </a:lnTo>
                  <a:lnTo>
                    <a:pt x="145" y="305"/>
                  </a:lnTo>
                  <a:lnTo>
                    <a:pt x="148" y="297"/>
                  </a:lnTo>
                  <a:lnTo>
                    <a:pt x="178" y="275"/>
                  </a:lnTo>
                  <a:lnTo>
                    <a:pt x="182" y="267"/>
                  </a:lnTo>
                  <a:lnTo>
                    <a:pt x="181" y="234"/>
                  </a:lnTo>
                  <a:lnTo>
                    <a:pt x="177" y="231"/>
                  </a:lnTo>
                  <a:lnTo>
                    <a:pt x="174" y="232"/>
                  </a:lnTo>
                  <a:lnTo>
                    <a:pt x="169" y="232"/>
                  </a:lnTo>
                  <a:lnTo>
                    <a:pt x="166" y="228"/>
                  </a:lnTo>
                  <a:lnTo>
                    <a:pt x="166" y="225"/>
                  </a:lnTo>
                  <a:lnTo>
                    <a:pt x="159" y="209"/>
                  </a:lnTo>
                  <a:lnTo>
                    <a:pt x="155" y="209"/>
                  </a:lnTo>
                  <a:lnTo>
                    <a:pt x="148" y="214"/>
                  </a:lnTo>
                  <a:lnTo>
                    <a:pt x="144" y="210"/>
                  </a:lnTo>
                  <a:lnTo>
                    <a:pt x="142" y="205"/>
                  </a:lnTo>
                  <a:lnTo>
                    <a:pt x="137" y="207"/>
                  </a:lnTo>
                  <a:lnTo>
                    <a:pt x="133" y="207"/>
                  </a:lnTo>
                  <a:lnTo>
                    <a:pt x="118" y="199"/>
                  </a:lnTo>
                  <a:lnTo>
                    <a:pt x="115" y="190"/>
                  </a:lnTo>
                  <a:lnTo>
                    <a:pt x="115" y="180"/>
                  </a:lnTo>
                  <a:lnTo>
                    <a:pt x="125" y="182"/>
                  </a:lnTo>
                  <a:lnTo>
                    <a:pt x="127" y="169"/>
                  </a:lnTo>
                  <a:lnTo>
                    <a:pt x="134" y="167"/>
                  </a:lnTo>
                  <a:lnTo>
                    <a:pt x="139" y="162"/>
                  </a:lnTo>
                  <a:lnTo>
                    <a:pt x="144" y="160"/>
                  </a:lnTo>
                  <a:lnTo>
                    <a:pt x="160" y="144"/>
                  </a:lnTo>
                  <a:lnTo>
                    <a:pt x="173" y="117"/>
                  </a:lnTo>
                  <a:lnTo>
                    <a:pt x="169" y="97"/>
                  </a:lnTo>
                  <a:lnTo>
                    <a:pt x="161" y="93"/>
                  </a:lnTo>
                  <a:lnTo>
                    <a:pt x="159" y="86"/>
                  </a:lnTo>
                  <a:lnTo>
                    <a:pt x="151" y="84"/>
                  </a:lnTo>
                  <a:lnTo>
                    <a:pt x="147" y="78"/>
                  </a:lnTo>
                  <a:lnTo>
                    <a:pt x="144" y="66"/>
                  </a:lnTo>
                  <a:lnTo>
                    <a:pt x="146" y="54"/>
                  </a:lnTo>
                  <a:lnTo>
                    <a:pt x="153" y="49"/>
                  </a:lnTo>
                  <a:lnTo>
                    <a:pt x="163" y="45"/>
                  </a:lnTo>
                  <a:lnTo>
                    <a:pt x="173" y="25"/>
                  </a:lnTo>
                  <a:lnTo>
                    <a:pt x="168" y="15"/>
                  </a:lnTo>
                  <a:lnTo>
                    <a:pt x="161" y="15"/>
                  </a:lnTo>
                  <a:lnTo>
                    <a:pt x="157" y="22"/>
                  </a:lnTo>
                  <a:lnTo>
                    <a:pt x="152" y="26"/>
                  </a:lnTo>
                  <a:lnTo>
                    <a:pt x="146" y="29"/>
                  </a:lnTo>
                  <a:lnTo>
                    <a:pt x="143" y="33"/>
                  </a:lnTo>
                  <a:lnTo>
                    <a:pt x="134" y="29"/>
                  </a:lnTo>
                  <a:lnTo>
                    <a:pt x="136" y="19"/>
                  </a:lnTo>
                  <a:lnTo>
                    <a:pt x="129" y="7"/>
                  </a:lnTo>
                  <a:lnTo>
                    <a:pt x="131" y="5"/>
                  </a:lnTo>
                  <a:lnTo>
                    <a:pt x="107" y="0"/>
                  </a:lnTo>
                  <a:lnTo>
                    <a:pt x="86" y="5"/>
                  </a:lnTo>
                  <a:lnTo>
                    <a:pt x="69" y="15"/>
                  </a:lnTo>
                  <a:lnTo>
                    <a:pt x="66" y="19"/>
                  </a:lnTo>
                  <a:lnTo>
                    <a:pt x="62" y="20"/>
                  </a:lnTo>
                  <a:lnTo>
                    <a:pt x="61" y="25"/>
                  </a:lnTo>
                  <a:lnTo>
                    <a:pt x="44" y="41"/>
                  </a:lnTo>
                  <a:lnTo>
                    <a:pt x="42" y="45"/>
                  </a:lnTo>
                  <a:lnTo>
                    <a:pt x="48" y="47"/>
                  </a:lnTo>
                  <a:lnTo>
                    <a:pt x="49" y="50"/>
                  </a:lnTo>
                  <a:lnTo>
                    <a:pt x="46" y="111"/>
                  </a:lnTo>
                  <a:lnTo>
                    <a:pt x="50" y="117"/>
                  </a:lnTo>
                  <a:lnTo>
                    <a:pt x="41" y="153"/>
                  </a:lnTo>
                  <a:lnTo>
                    <a:pt x="24" y="165"/>
                  </a:lnTo>
                  <a:lnTo>
                    <a:pt x="22" y="173"/>
                  </a:lnTo>
                  <a:lnTo>
                    <a:pt x="15" y="177"/>
                  </a:lnTo>
                  <a:lnTo>
                    <a:pt x="12" y="181"/>
                  </a:lnTo>
                  <a:lnTo>
                    <a:pt x="11" y="183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11" y="227"/>
                  </a:lnTo>
                  <a:lnTo>
                    <a:pt x="27" y="233"/>
                  </a:lnTo>
                  <a:lnTo>
                    <a:pt x="31" y="238"/>
                  </a:lnTo>
                  <a:lnTo>
                    <a:pt x="38" y="255"/>
                  </a:lnTo>
                  <a:lnTo>
                    <a:pt x="38" y="270"/>
                  </a:lnTo>
                  <a:lnTo>
                    <a:pt x="74" y="291"/>
                  </a:lnTo>
                  <a:lnTo>
                    <a:pt x="76" y="291"/>
                  </a:lnTo>
                  <a:lnTo>
                    <a:pt x="92" y="38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6" name="Freeform 174"/>
            <p:cNvSpPr>
              <a:spLocks/>
            </p:cNvSpPr>
            <p:nvPr/>
          </p:nvSpPr>
          <p:spPr bwMode="auto">
            <a:xfrm>
              <a:off x="4059645" y="2679603"/>
              <a:ext cx="718980" cy="378494"/>
            </a:xfrm>
            <a:custGeom>
              <a:avLst/>
              <a:gdLst>
                <a:gd name="T0" fmla="*/ 57 w 600"/>
                <a:gd name="T1" fmla="*/ 1 h 378"/>
                <a:gd name="T2" fmla="*/ 55 w 600"/>
                <a:gd name="T3" fmla="*/ 3 h 378"/>
                <a:gd name="T4" fmla="*/ 55 w 600"/>
                <a:gd name="T5" fmla="*/ 5 h 378"/>
                <a:gd name="T6" fmla="*/ 53 w 600"/>
                <a:gd name="T7" fmla="*/ 6 h 378"/>
                <a:gd name="T8" fmla="*/ 51 w 600"/>
                <a:gd name="T9" fmla="*/ 8 h 378"/>
                <a:gd name="T10" fmla="*/ 50 w 600"/>
                <a:gd name="T11" fmla="*/ 9 h 378"/>
                <a:gd name="T12" fmla="*/ 46 w 600"/>
                <a:gd name="T13" fmla="*/ 10 h 378"/>
                <a:gd name="T14" fmla="*/ 44 w 600"/>
                <a:gd name="T15" fmla="*/ 11 h 378"/>
                <a:gd name="T16" fmla="*/ 40 w 600"/>
                <a:gd name="T17" fmla="*/ 11 h 378"/>
                <a:gd name="T18" fmla="*/ 34 w 600"/>
                <a:gd name="T19" fmla="*/ 12 h 378"/>
                <a:gd name="T20" fmla="*/ 34 w 600"/>
                <a:gd name="T21" fmla="*/ 13 h 378"/>
                <a:gd name="T22" fmla="*/ 35 w 600"/>
                <a:gd name="T23" fmla="*/ 14 h 378"/>
                <a:gd name="T24" fmla="*/ 34 w 600"/>
                <a:gd name="T25" fmla="*/ 15 h 378"/>
                <a:gd name="T26" fmla="*/ 34 w 600"/>
                <a:gd name="T27" fmla="*/ 16 h 378"/>
                <a:gd name="T28" fmla="*/ 32 w 600"/>
                <a:gd name="T29" fmla="*/ 16 h 378"/>
                <a:gd name="T30" fmla="*/ 32 w 600"/>
                <a:gd name="T31" fmla="*/ 17 h 378"/>
                <a:gd name="T32" fmla="*/ 28 w 600"/>
                <a:gd name="T33" fmla="*/ 17 h 378"/>
                <a:gd name="T34" fmla="*/ 22 w 600"/>
                <a:gd name="T35" fmla="*/ 19 h 378"/>
                <a:gd name="T36" fmla="*/ 19 w 600"/>
                <a:gd name="T37" fmla="*/ 19 h 378"/>
                <a:gd name="T38" fmla="*/ 18 w 600"/>
                <a:gd name="T39" fmla="*/ 20 h 378"/>
                <a:gd name="T40" fmla="*/ 17 w 600"/>
                <a:gd name="T41" fmla="*/ 19 h 378"/>
                <a:gd name="T42" fmla="*/ 17 w 600"/>
                <a:gd name="T43" fmla="*/ 18 h 378"/>
                <a:gd name="T44" fmla="*/ 15 w 600"/>
                <a:gd name="T45" fmla="*/ 18 h 378"/>
                <a:gd name="T46" fmla="*/ 15 w 600"/>
                <a:gd name="T47" fmla="*/ 19 h 378"/>
                <a:gd name="T48" fmla="*/ 11 w 600"/>
                <a:gd name="T49" fmla="*/ 21 h 378"/>
                <a:gd name="T50" fmla="*/ 10 w 600"/>
                <a:gd name="T51" fmla="*/ 20 h 378"/>
                <a:gd name="T52" fmla="*/ 6 w 600"/>
                <a:gd name="T53" fmla="*/ 21 h 378"/>
                <a:gd name="T54" fmla="*/ 0 w 600"/>
                <a:gd name="T55" fmla="*/ 30 h 378"/>
                <a:gd name="T56" fmla="*/ 1 w 600"/>
                <a:gd name="T57" fmla="*/ 35 h 378"/>
                <a:gd name="T58" fmla="*/ 11 w 600"/>
                <a:gd name="T59" fmla="*/ 46 h 378"/>
                <a:gd name="T60" fmla="*/ 14 w 600"/>
                <a:gd name="T61" fmla="*/ 45 h 378"/>
                <a:gd name="T62" fmla="*/ 22 w 600"/>
                <a:gd name="T63" fmla="*/ 42 h 378"/>
                <a:gd name="T64" fmla="*/ 31 w 600"/>
                <a:gd name="T65" fmla="*/ 42 h 378"/>
                <a:gd name="T66" fmla="*/ 34 w 600"/>
                <a:gd name="T67" fmla="*/ 41 h 378"/>
                <a:gd name="T68" fmla="*/ 34 w 600"/>
                <a:gd name="T69" fmla="*/ 37 h 378"/>
                <a:gd name="T70" fmla="*/ 36 w 600"/>
                <a:gd name="T71" fmla="*/ 35 h 378"/>
                <a:gd name="T72" fmla="*/ 42 w 600"/>
                <a:gd name="T73" fmla="*/ 33 h 378"/>
                <a:gd name="T74" fmla="*/ 44 w 600"/>
                <a:gd name="T75" fmla="*/ 35 h 378"/>
                <a:gd name="T76" fmla="*/ 48 w 600"/>
                <a:gd name="T77" fmla="*/ 37 h 378"/>
                <a:gd name="T78" fmla="*/ 51 w 600"/>
                <a:gd name="T79" fmla="*/ 37 h 378"/>
                <a:gd name="T80" fmla="*/ 61 w 600"/>
                <a:gd name="T81" fmla="*/ 38 h 378"/>
                <a:gd name="T82" fmla="*/ 63 w 600"/>
                <a:gd name="T83" fmla="*/ 36 h 378"/>
                <a:gd name="T84" fmla="*/ 67 w 600"/>
                <a:gd name="T85" fmla="*/ 35 h 378"/>
                <a:gd name="T86" fmla="*/ 78 w 600"/>
                <a:gd name="T87" fmla="*/ 34 h 378"/>
                <a:gd name="T88" fmla="*/ 78 w 600"/>
                <a:gd name="T89" fmla="*/ 35 h 378"/>
                <a:gd name="T90" fmla="*/ 80 w 600"/>
                <a:gd name="T91" fmla="*/ 35 h 378"/>
                <a:gd name="T92" fmla="*/ 83 w 600"/>
                <a:gd name="T93" fmla="*/ 35 h 378"/>
                <a:gd name="T94" fmla="*/ 86 w 600"/>
                <a:gd name="T95" fmla="*/ 33 h 378"/>
                <a:gd name="T96" fmla="*/ 93 w 600"/>
                <a:gd name="T97" fmla="*/ 35 h 378"/>
                <a:gd name="T98" fmla="*/ 96 w 600"/>
                <a:gd name="T99" fmla="*/ 35 h 378"/>
                <a:gd name="T100" fmla="*/ 101 w 600"/>
                <a:gd name="T101" fmla="*/ 33 h 378"/>
                <a:gd name="T102" fmla="*/ 100 w 600"/>
                <a:gd name="T103" fmla="*/ 31 h 378"/>
                <a:gd name="T104" fmla="*/ 94 w 600"/>
                <a:gd name="T105" fmla="*/ 28 h 378"/>
                <a:gd name="T106" fmla="*/ 93 w 600"/>
                <a:gd name="T107" fmla="*/ 27 h 378"/>
                <a:gd name="T108" fmla="*/ 90 w 600"/>
                <a:gd name="T109" fmla="*/ 24 h 378"/>
                <a:gd name="T110" fmla="*/ 88 w 600"/>
                <a:gd name="T111" fmla="*/ 22 h 378"/>
                <a:gd name="T112" fmla="*/ 82 w 600"/>
                <a:gd name="T113" fmla="*/ 19 h 378"/>
                <a:gd name="T114" fmla="*/ 82 w 600"/>
                <a:gd name="T115" fmla="*/ 17 h 378"/>
                <a:gd name="T116" fmla="*/ 76 w 600"/>
                <a:gd name="T117" fmla="*/ 16 h 378"/>
                <a:gd name="T118" fmla="*/ 74 w 600"/>
                <a:gd name="T119" fmla="*/ 13 h 378"/>
                <a:gd name="T120" fmla="*/ 69 w 600"/>
                <a:gd name="T121" fmla="*/ 12 h 378"/>
                <a:gd name="T122" fmla="*/ 70 w 600"/>
                <a:gd name="T123" fmla="*/ 7 h 378"/>
                <a:gd name="T124" fmla="*/ 63 w 600"/>
                <a:gd name="T125" fmla="*/ 0 h 3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00"/>
                <a:gd name="T190" fmla="*/ 0 h 378"/>
                <a:gd name="T191" fmla="*/ 600 w 600"/>
                <a:gd name="T192" fmla="*/ 378 h 3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00" h="378">
                  <a:moveTo>
                    <a:pt x="378" y="0"/>
                  </a:moveTo>
                  <a:lnTo>
                    <a:pt x="343" y="8"/>
                  </a:lnTo>
                  <a:lnTo>
                    <a:pt x="338" y="12"/>
                  </a:lnTo>
                  <a:lnTo>
                    <a:pt x="334" y="23"/>
                  </a:lnTo>
                  <a:lnTo>
                    <a:pt x="334" y="35"/>
                  </a:lnTo>
                  <a:lnTo>
                    <a:pt x="329" y="37"/>
                  </a:lnTo>
                  <a:lnTo>
                    <a:pt x="324" y="45"/>
                  </a:lnTo>
                  <a:lnTo>
                    <a:pt x="319" y="47"/>
                  </a:lnTo>
                  <a:lnTo>
                    <a:pt x="316" y="48"/>
                  </a:lnTo>
                  <a:lnTo>
                    <a:pt x="303" y="62"/>
                  </a:lnTo>
                  <a:lnTo>
                    <a:pt x="299" y="70"/>
                  </a:lnTo>
                  <a:lnTo>
                    <a:pt x="297" y="73"/>
                  </a:lnTo>
                  <a:lnTo>
                    <a:pt x="281" y="79"/>
                  </a:lnTo>
                  <a:lnTo>
                    <a:pt x="277" y="86"/>
                  </a:lnTo>
                  <a:lnTo>
                    <a:pt x="268" y="91"/>
                  </a:lnTo>
                  <a:lnTo>
                    <a:pt x="264" y="89"/>
                  </a:lnTo>
                  <a:lnTo>
                    <a:pt x="244" y="92"/>
                  </a:lnTo>
                  <a:lnTo>
                    <a:pt x="242" y="93"/>
                  </a:lnTo>
                  <a:lnTo>
                    <a:pt x="216" y="95"/>
                  </a:lnTo>
                  <a:lnTo>
                    <a:pt x="206" y="98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10" y="108"/>
                  </a:lnTo>
                  <a:lnTo>
                    <a:pt x="212" y="114"/>
                  </a:lnTo>
                  <a:lnTo>
                    <a:pt x="210" y="118"/>
                  </a:lnTo>
                  <a:lnTo>
                    <a:pt x="206" y="121"/>
                  </a:lnTo>
                  <a:lnTo>
                    <a:pt x="204" y="127"/>
                  </a:lnTo>
                  <a:lnTo>
                    <a:pt x="200" y="130"/>
                  </a:lnTo>
                  <a:lnTo>
                    <a:pt x="196" y="130"/>
                  </a:lnTo>
                  <a:lnTo>
                    <a:pt x="194" y="133"/>
                  </a:lnTo>
                  <a:lnTo>
                    <a:pt x="193" y="138"/>
                  </a:lnTo>
                  <a:lnTo>
                    <a:pt x="192" y="138"/>
                  </a:lnTo>
                  <a:lnTo>
                    <a:pt x="171" y="138"/>
                  </a:lnTo>
                  <a:lnTo>
                    <a:pt x="165" y="142"/>
                  </a:lnTo>
                  <a:lnTo>
                    <a:pt x="152" y="141"/>
                  </a:lnTo>
                  <a:lnTo>
                    <a:pt x="131" y="151"/>
                  </a:lnTo>
                  <a:lnTo>
                    <a:pt x="128" y="154"/>
                  </a:lnTo>
                  <a:lnTo>
                    <a:pt x="115" y="157"/>
                  </a:lnTo>
                  <a:lnTo>
                    <a:pt x="114" y="161"/>
                  </a:lnTo>
                  <a:lnTo>
                    <a:pt x="111" y="162"/>
                  </a:lnTo>
                  <a:lnTo>
                    <a:pt x="105" y="156"/>
                  </a:lnTo>
                  <a:lnTo>
                    <a:pt x="102" y="154"/>
                  </a:lnTo>
                  <a:lnTo>
                    <a:pt x="99" y="149"/>
                  </a:lnTo>
                  <a:lnTo>
                    <a:pt x="98" y="149"/>
                  </a:lnTo>
                  <a:lnTo>
                    <a:pt x="95" y="149"/>
                  </a:lnTo>
                  <a:lnTo>
                    <a:pt x="92" y="150"/>
                  </a:lnTo>
                  <a:lnTo>
                    <a:pt x="89" y="151"/>
                  </a:lnTo>
                  <a:lnTo>
                    <a:pt x="88" y="156"/>
                  </a:lnTo>
                  <a:lnTo>
                    <a:pt x="77" y="158"/>
                  </a:lnTo>
                  <a:lnTo>
                    <a:pt x="69" y="165"/>
                  </a:lnTo>
                  <a:lnTo>
                    <a:pt x="65" y="165"/>
                  </a:lnTo>
                  <a:lnTo>
                    <a:pt x="59" y="163"/>
                  </a:lnTo>
                  <a:lnTo>
                    <a:pt x="43" y="165"/>
                  </a:lnTo>
                  <a:lnTo>
                    <a:pt x="40" y="167"/>
                  </a:lnTo>
                  <a:lnTo>
                    <a:pt x="1" y="236"/>
                  </a:lnTo>
                  <a:lnTo>
                    <a:pt x="0" y="247"/>
                  </a:lnTo>
                  <a:lnTo>
                    <a:pt x="3" y="259"/>
                  </a:lnTo>
                  <a:lnTo>
                    <a:pt x="3" y="287"/>
                  </a:lnTo>
                  <a:lnTo>
                    <a:pt x="48" y="361"/>
                  </a:lnTo>
                  <a:lnTo>
                    <a:pt x="68" y="378"/>
                  </a:lnTo>
                  <a:lnTo>
                    <a:pt x="74" y="377"/>
                  </a:lnTo>
                  <a:lnTo>
                    <a:pt x="81" y="365"/>
                  </a:lnTo>
                  <a:lnTo>
                    <a:pt x="115" y="341"/>
                  </a:lnTo>
                  <a:lnTo>
                    <a:pt x="131" y="337"/>
                  </a:lnTo>
                  <a:lnTo>
                    <a:pt x="160" y="351"/>
                  </a:lnTo>
                  <a:lnTo>
                    <a:pt x="185" y="343"/>
                  </a:lnTo>
                  <a:lnTo>
                    <a:pt x="190" y="337"/>
                  </a:lnTo>
                  <a:lnTo>
                    <a:pt x="201" y="335"/>
                  </a:lnTo>
                  <a:lnTo>
                    <a:pt x="199" y="329"/>
                  </a:lnTo>
                  <a:lnTo>
                    <a:pt x="202" y="301"/>
                  </a:lnTo>
                  <a:lnTo>
                    <a:pt x="208" y="297"/>
                  </a:lnTo>
                  <a:lnTo>
                    <a:pt x="214" y="284"/>
                  </a:lnTo>
                  <a:lnTo>
                    <a:pt x="231" y="270"/>
                  </a:lnTo>
                  <a:lnTo>
                    <a:pt x="254" y="271"/>
                  </a:lnTo>
                  <a:lnTo>
                    <a:pt x="262" y="279"/>
                  </a:lnTo>
                  <a:lnTo>
                    <a:pt x="264" y="287"/>
                  </a:lnTo>
                  <a:lnTo>
                    <a:pt x="280" y="302"/>
                  </a:lnTo>
                  <a:lnTo>
                    <a:pt x="286" y="303"/>
                  </a:lnTo>
                  <a:lnTo>
                    <a:pt x="293" y="297"/>
                  </a:lnTo>
                  <a:lnTo>
                    <a:pt x="305" y="304"/>
                  </a:lnTo>
                  <a:lnTo>
                    <a:pt x="324" y="310"/>
                  </a:lnTo>
                  <a:lnTo>
                    <a:pt x="366" y="310"/>
                  </a:lnTo>
                  <a:lnTo>
                    <a:pt x="373" y="308"/>
                  </a:lnTo>
                  <a:lnTo>
                    <a:pt x="374" y="293"/>
                  </a:lnTo>
                  <a:lnTo>
                    <a:pt x="386" y="286"/>
                  </a:lnTo>
                  <a:lnTo>
                    <a:pt x="401" y="288"/>
                  </a:lnTo>
                  <a:lnTo>
                    <a:pt x="408" y="293"/>
                  </a:lnTo>
                  <a:lnTo>
                    <a:pt x="464" y="275"/>
                  </a:lnTo>
                  <a:lnTo>
                    <a:pt x="468" y="275"/>
                  </a:lnTo>
                  <a:lnTo>
                    <a:pt x="470" y="279"/>
                  </a:lnTo>
                  <a:lnTo>
                    <a:pt x="468" y="279"/>
                  </a:lnTo>
                  <a:lnTo>
                    <a:pt x="475" y="282"/>
                  </a:lnTo>
                  <a:lnTo>
                    <a:pt x="482" y="279"/>
                  </a:lnTo>
                  <a:lnTo>
                    <a:pt x="492" y="279"/>
                  </a:lnTo>
                  <a:lnTo>
                    <a:pt x="494" y="268"/>
                  </a:lnTo>
                  <a:lnTo>
                    <a:pt x="511" y="272"/>
                  </a:lnTo>
                  <a:lnTo>
                    <a:pt x="542" y="266"/>
                  </a:lnTo>
                  <a:lnTo>
                    <a:pt x="554" y="279"/>
                  </a:lnTo>
                  <a:lnTo>
                    <a:pt x="560" y="272"/>
                  </a:lnTo>
                  <a:lnTo>
                    <a:pt x="570" y="279"/>
                  </a:lnTo>
                  <a:lnTo>
                    <a:pt x="576" y="270"/>
                  </a:lnTo>
                  <a:lnTo>
                    <a:pt x="600" y="270"/>
                  </a:lnTo>
                  <a:lnTo>
                    <a:pt x="595" y="264"/>
                  </a:lnTo>
                  <a:lnTo>
                    <a:pt x="594" y="255"/>
                  </a:lnTo>
                  <a:lnTo>
                    <a:pt x="589" y="247"/>
                  </a:lnTo>
                  <a:lnTo>
                    <a:pt x="564" y="231"/>
                  </a:lnTo>
                  <a:lnTo>
                    <a:pt x="556" y="229"/>
                  </a:lnTo>
                  <a:lnTo>
                    <a:pt x="555" y="220"/>
                  </a:lnTo>
                  <a:lnTo>
                    <a:pt x="549" y="212"/>
                  </a:lnTo>
                  <a:lnTo>
                    <a:pt x="541" y="194"/>
                  </a:lnTo>
                  <a:lnTo>
                    <a:pt x="532" y="189"/>
                  </a:lnTo>
                  <a:lnTo>
                    <a:pt x="526" y="181"/>
                  </a:lnTo>
                  <a:lnTo>
                    <a:pt x="495" y="161"/>
                  </a:lnTo>
                  <a:lnTo>
                    <a:pt x="490" y="152"/>
                  </a:lnTo>
                  <a:lnTo>
                    <a:pt x="492" y="142"/>
                  </a:lnTo>
                  <a:lnTo>
                    <a:pt x="490" y="139"/>
                  </a:lnTo>
                  <a:lnTo>
                    <a:pt x="475" y="128"/>
                  </a:lnTo>
                  <a:lnTo>
                    <a:pt x="457" y="128"/>
                  </a:lnTo>
                  <a:lnTo>
                    <a:pt x="447" y="123"/>
                  </a:lnTo>
                  <a:lnTo>
                    <a:pt x="442" y="110"/>
                  </a:lnTo>
                  <a:lnTo>
                    <a:pt x="423" y="107"/>
                  </a:lnTo>
                  <a:lnTo>
                    <a:pt x="413" y="99"/>
                  </a:lnTo>
                  <a:lnTo>
                    <a:pt x="412" y="88"/>
                  </a:lnTo>
                  <a:lnTo>
                    <a:pt x="419" y="60"/>
                  </a:lnTo>
                  <a:lnTo>
                    <a:pt x="414" y="46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7" name="Freeform 175"/>
            <p:cNvSpPr>
              <a:spLocks/>
            </p:cNvSpPr>
            <p:nvPr/>
          </p:nvSpPr>
          <p:spPr bwMode="auto">
            <a:xfrm>
              <a:off x="4059645" y="2679603"/>
              <a:ext cx="718980" cy="378494"/>
            </a:xfrm>
            <a:custGeom>
              <a:avLst/>
              <a:gdLst>
                <a:gd name="T0" fmla="*/ 57 w 600"/>
                <a:gd name="T1" fmla="*/ 1 h 378"/>
                <a:gd name="T2" fmla="*/ 55 w 600"/>
                <a:gd name="T3" fmla="*/ 3 h 378"/>
                <a:gd name="T4" fmla="*/ 55 w 600"/>
                <a:gd name="T5" fmla="*/ 5 h 378"/>
                <a:gd name="T6" fmla="*/ 53 w 600"/>
                <a:gd name="T7" fmla="*/ 6 h 378"/>
                <a:gd name="T8" fmla="*/ 51 w 600"/>
                <a:gd name="T9" fmla="*/ 8 h 378"/>
                <a:gd name="T10" fmla="*/ 50 w 600"/>
                <a:gd name="T11" fmla="*/ 9 h 378"/>
                <a:gd name="T12" fmla="*/ 46 w 600"/>
                <a:gd name="T13" fmla="*/ 10 h 378"/>
                <a:gd name="T14" fmla="*/ 44 w 600"/>
                <a:gd name="T15" fmla="*/ 11 h 378"/>
                <a:gd name="T16" fmla="*/ 40 w 600"/>
                <a:gd name="T17" fmla="*/ 11 h 378"/>
                <a:gd name="T18" fmla="*/ 34 w 600"/>
                <a:gd name="T19" fmla="*/ 12 h 378"/>
                <a:gd name="T20" fmla="*/ 34 w 600"/>
                <a:gd name="T21" fmla="*/ 13 h 378"/>
                <a:gd name="T22" fmla="*/ 35 w 600"/>
                <a:gd name="T23" fmla="*/ 14 h 378"/>
                <a:gd name="T24" fmla="*/ 34 w 600"/>
                <a:gd name="T25" fmla="*/ 15 h 378"/>
                <a:gd name="T26" fmla="*/ 34 w 600"/>
                <a:gd name="T27" fmla="*/ 16 h 378"/>
                <a:gd name="T28" fmla="*/ 32 w 600"/>
                <a:gd name="T29" fmla="*/ 16 h 378"/>
                <a:gd name="T30" fmla="*/ 32 w 600"/>
                <a:gd name="T31" fmla="*/ 17 h 378"/>
                <a:gd name="T32" fmla="*/ 28 w 600"/>
                <a:gd name="T33" fmla="*/ 17 h 378"/>
                <a:gd name="T34" fmla="*/ 22 w 600"/>
                <a:gd name="T35" fmla="*/ 19 h 378"/>
                <a:gd name="T36" fmla="*/ 19 w 600"/>
                <a:gd name="T37" fmla="*/ 19 h 378"/>
                <a:gd name="T38" fmla="*/ 18 w 600"/>
                <a:gd name="T39" fmla="*/ 20 h 378"/>
                <a:gd name="T40" fmla="*/ 17 w 600"/>
                <a:gd name="T41" fmla="*/ 19 h 378"/>
                <a:gd name="T42" fmla="*/ 17 w 600"/>
                <a:gd name="T43" fmla="*/ 18 h 378"/>
                <a:gd name="T44" fmla="*/ 15 w 600"/>
                <a:gd name="T45" fmla="*/ 18 h 378"/>
                <a:gd name="T46" fmla="*/ 15 w 600"/>
                <a:gd name="T47" fmla="*/ 19 h 378"/>
                <a:gd name="T48" fmla="*/ 11 w 600"/>
                <a:gd name="T49" fmla="*/ 21 h 378"/>
                <a:gd name="T50" fmla="*/ 10 w 600"/>
                <a:gd name="T51" fmla="*/ 20 h 378"/>
                <a:gd name="T52" fmla="*/ 6 w 600"/>
                <a:gd name="T53" fmla="*/ 21 h 378"/>
                <a:gd name="T54" fmla="*/ 0 w 600"/>
                <a:gd name="T55" fmla="*/ 30 h 378"/>
                <a:gd name="T56" fmla="*/ 1 w 600"/>
                <a:gd name="T57" fmla="*/ 35 h 378"/>
                <a:gd name="T58" fmla="*/ 11 w 600"/>
                <a:gd name="T59" fmla="*/ 46 h 378"/>
                <a:gd name="T60" fmla="*/ 14 w 600"/>
                <a:gd name="T61" fmla="*/ 45 h 378"/>
                <a:gd name="T62" fmla="*/ 22 w 600"/>
                <a:gd name="T63" fmla="*/ 42 h 378"/>
                <a:gd name="T64" fmla="*/ 31 w 600"/>
                <a:gd name="T65" fmla="*/ 42 h 378"/>
                <a:gd name="T66" fmla="*/ 34 w 600"/>
                <a:gd name="T67" fmla="*/ 41 h 378"/>
                <a:gd name="T68" fmla="*/ 34 w 600"/>
                <a:gd name="T69" fmla="*/ 37 h 378"/>
                <a:gd name="T70" fmla="*/ 36 w 600"/>
                <a:gd name="T71" fmla="*/ 35 h 378"/>
                <a:gd name="T72" fmla="*/ 42 w 600"/>
                <a:gd name="T73" fmla="*/ 33 h 378"/>
                <a:gd name="T74" fmla="*/ 44 w 600"/>
                <a:gd name="T75" fmla="*/ 35 h 378"/>
                <a:gd name="T76" fmla="*/ 48 w 600"/>
                <a:gd name="T77" fmla="*/ 37 h 378"/>
                <a:gd name="T78" fmla="*/ 51 w 600"/>
                <a:gd name="T79" fmla="*/ 37 h 378"/>
                <a:gd name="T80" fmla="*/ 61 w 600"/>
                <a:gd name="T81" fmla="*/ 38 h 378"/>
                <a:gd name="T82" fmla="*/ 63 w 600"/>
                <a:gd name="T83" fmla="*/ 36 h 378"/>
                <a:gd name="T84" fmla="*/ 67 w 600"/>
                <a:gd name="T85" fmla="*/ 35 h 378"/>
                <a:gd name="T86" fmla="*/ 78 w 600"/>
                <a:gd name="T87" fmla="*/ 34 h 378"/>
                <a:gd name="T88" fmla="*/ 78 w 600"/>
                <a:gd name="T89" fmla="*/ 35 h 378"/>
                <a:gd name="T90" fmla="*/ 80 w 600"/>
                <a:gd name="T91" fmla="*/ 35 h 378"/>
                <a:gd name="T92" fmla="*/ 83 w 600"/>
                <a:gd name="T93" fmla="*/ 35 h 378"/>
                <a:gd name="T94" fmla="*/ 86 w 600"/>
                <a:gd name="T95" fmla="*/ 33 h 378"/>
                <a:gd name="T96" fmla="*/ 93 w 600"/>
                <a:gd name="T97" fmla="*/ 35 h 378"/>
                <a:gd name="T98" fmla="*/ 96 w 600"/>
                <a:gd name="T99" fmla="*/ 35 h 378"/>
                <a:gd name="T100" fmla="*/ 101 w 600"/>
                <a:gd name="T101" fmla="*/ 33 h 378"/>
                <a:gd name="T102" fmla="*/ 100 w 600"/>
                <a:gd name="T103" fmla="*/ 31 h 378"/>
                <a:gd name="T104" fmla="*/ 94 w 600"/>
                <a:gd name="T105" fmla="*/ 28 h 378"/>
                <a:gd name="T106" fmla="*/ 93 w 600"/>
                <a:gd name="T107" fmla="*/ 27 h 378"/>
                <a:gd name="T108" fmla="*/ 90 w 600"/>
                <a:gd name="T109" fmla="*/ 24 h 378"/>
                <a:gd name="T110" fmla="*/ 88 w 600"/>
                <a:gd name="T111" fmla="*/ 22 h 378"/>
                <a:gd name="T112" fmla="*/ 82 w 600"/>
                <a:gd name="T113" fmla="*/ 19 h 378"/>
                <a:gd name="T114" fmla="*/ 82 w 600"/>
                <a:gd name="T115" fmla="*/ 17 h 378"/>
                <a:gd name="T116" fmla="*/ 76 w 600"/>
                <a:gd name="T117" fmla="*/ 16 h 378"/>
                <a:gd name="T118" fmla="*/ 74 w 600"/>
                <a:gd name="T119" fmla="*/ 13 h 378"/>
                <a:gd name="T120" fmla="*/ 69 w 600"/>
                <a:gd name="T121" fmla="*/ 12 h 378"/>
                <a:gd name="T122" fmla="*/ 70 w 600"/>
                <a:gd name="T123" fmla="*/ 7 h 378"/>
                <a:gd name="T124" fmla="*/ 63 w 600"/>
                <a:gd name="T125" fmla="*/ 0 h 3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00"/>
                <a:gd name="T190" fmla="*/ 0 h 378"/>
                <a:gd name="T191" fmla="*/ 600 w 600"/>
                <a:gd name="T192" fmla="*/ 378 h 3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00" h="378">
                  <a:moveTo>
                    <a:pt x="378" y="0"/>
                  </a:moveTo>
                  <a:lnTo>
                    <a:pt x="343" y="8"/>
                  </a:lnTo>
                  <a:lnTo>
                    <a:pt x="338" y="12"/>
                  </a:lnTo>
                  <a:lnTo>
                    <a:pt x="334" y="23"/>
                  </a:lnTo>
                  <a:lnTo>
                    <a:pt x="334" y="35"/>
                  </a:lnTo>
                  <a:lnTo>
                    <a:pt x="329" y="37"/>
                  </a:lnTo>
                  <a:lnTo>
                    <a:pt x="324" y="45"/>
                  </a:lnTo>
                  <a:lnTo>
                    <a:pt x="319" y="47"/>
                  </a:lnTo>
                  <a:lnTo>
                    <a:pt x="316" y="48"/>
                  </a:lnTo>
                  <a:lnTo>
                    <a:pt x="303" y="62"/>
                  </a:lnTo>
                  <a:lnTo>
                    <a:pt x="299" y="70"/>
                  </a:lnTo>
                  <a:lnTo>
                    <a:pt x="297" y="73"/>
                  </a:lnTo>
                  <a:lnTo>
                    <a:pt x="281" y="79"/>
                  </a:lnTo>
                  <a:lnTo>
                    <a:pt x="277" y="86"/>
                  </a:lnTo>
                  <a:lnTo>
                    <a:pt x="268" y="91"/>
                  </a:lnTo>
                  <a:lnTo>
                    <a:pt x="264" y="89"/>
                  </a:lnTo>
                  <a:lnTo>
                    <a:pt x="244" y="92"/>
                  </a:lnTo>
                  <a:lnTo>
                    <a:pt x="242" y="93"/>
                  </a:lnTo>
                  <a:lnTo>
                    <a:pt x="216" y="95"/>
                  </a:lnTo>
                  <a:lnTo>
                    <a:pt x="206" y="98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10" y="108"/>
                  </a:lnTo>
                  <a:lnTo>
                    <a:pt x="212" y="114"/>
                  </a:lnTo>
                  <a:lnTo>
                    <a:pt x="210" y="118"/>
                  </a:lnTo>
                  <a:lnTo>
                    <a:pt x="206" y="121"/>
                  </a:lnTo>
                  <a:lnTo>
                    <a:pt x="204" y="127"/>
                  </a:lnTo>
                  <a:lnTo>
                    <a:pt x="200" y="130"/>
                  </a:lnTo>
                  <a:lnTo>
                    <a:pt x="196" y="130"/>
                  </a:lnTo>
                  <a:lnTo>
                    <a:pt x="194" y="133"/>
                  </a:lnTo>
                  <a:lnTo>
                    <a:pt x="193" y="138"/>
                  </a:lnTo>
                  <a:lnTo>
                    <a:pt x="192" y="138"/>
                  </a:lnTo>
                  <a:lnTo>
                    <a:pt x="171" y="138"/>
                  </a:lnTo>
                  <a:lnTo>
                    <a:pt x="165" y="142"/>
                  </a:lnTo>
                  <a:lnTo>
                    <a:pt x="152" y="141"/>
                  </a:lnTo>
                  <a:lnTo>
                    <a:pt x="131" y="151"/>
                  </a:lnTo>
                  <a:lnTo>
                    <a:pt x="128" y="154"/>
                  </a:lnTo>
                  <a:lnTo>
                    <a:pt x="115" y="157"/>
                  </a:lnTo>
                  <a:lnTo>
                    <a:pt x="114" y="161"/>
                  </a:lnTo>
                  <a:lnTo>
                    <a:pt x="111" y="162"/>
                  </a:lnTo>
                  <a:lnTo>
                    <a:pt x="105" y="156"/>
                  </a:lnTo>
                  <a:lnTo>
                    <a:pt x="102" y="154"/>
                  </a:lnTo>
                  <a:lnTo>
                    <a:pt x="99" y="149"/>
                  </a:lnTo>
                  <a:lnTo>
                    <a:pt x="98" y="149"/>
                  </a:lnTo>
                  <a:lnTo>
                    <a:pt x="95" y="149"/>
                  </a:lnTo>
                  <a:lnTo>
                    <a:pt x="92" y="150"/>
                  </a:lnTo>
                  <a:lnTo>
                    <a:pt x="89" y="151"/>
                  </a:lnTo>
                  <a:lnTo>
                    <a:pt x="88" y="156"/>
                  </a:lnTo>
                  <a:lnTo>
                    <a:pt x="77" y="158"/>
                  </a:lnTo>
                  <a:lnTo>
                    <a:pt x="69" y="165"/>
                  </a:lnTo>
                  <a:lnTo>
                    <a:pt x="65" y="165"/>
                  </a:lnTo>
                  <a:lnTo>
                    <a:pt x="59" y="163"/>
                  </a:lnTo>
                  <a:lnTo>
                    <a:pt x="43" y="165"/>
                  </a:lnTo>
                  <a:lnTo>
                    <a:pt x="40" y="167"/>
                  </a:lnTo>
                  <a:lnTo>
                    <a:pt x="1" y="236"/>
                  </a:lnTo>
                  <a:lnTo>
                    <a:pt x="0" y="247"/>
                  </a:lnTo>
                  <a:lnTo>
                    <a:pt x="3" y="259"/>
                  </a:lnTo>
                  <a:lnTo>
                    <a:pt x="3" y="287"/>
                  </a:lnTo>
                  <a:lnTo>
                    <a:pt x="48" y="361"/>
                  </a:lnTo>
                  <a:lnTo>
                    <a:pt x="68" y="378"/>
                  </a:lnTo>
                  <a:lnTo>
                    <a:pt x="74" y="377"/>
                  </a:lnTo>
                  <a:lnTo>
                    <a:pt x="81" y="365"/>
                  </a:lnTo>
                  <a:lnTo>
                    <a:pt x="115" y="341"/>
                  </a:lnTo>
                  <a:lnTo>
                    <a:pt x="131" y="337"/>
                  </a:lnTo>
                  <a:lnTo>
                    <a:pt x="160" y="351"/>
                  </a:lnTo>
                  <a:lnTo>
                    <a:pt x="185" y="343"/>
                  </a:lnTo>
                  <a:lnTo>
                    <a:pt x="190" y="337"/>
                  </a:lnTo>
                  <a:lnTo>
                    <a:pt x="201" y="335"/>
                  </a:lnTo>
                  <a:lnTo>
                    <a:pt x="199" y="329"/>
                  </a:lnTo>
                  <a:lnTo>
                    <a:pt x="202" y="301"/>
                  </a:lnTo>
                  <a:lnTo>
                    <a:pt x="208" y="297"/>
                  </a:lnTo>
                  <a:lnTo>
                    <a:pt x="214" y="284"/>
                  </a:lnTo>
                  <a:lnTo>
                    <a:pt x="231" y="270"/>
                  </a:lnTo>
                  <a:lnTo>
                    <a:pt x="254" y="271"/>
                  </a:lnTo>
                  <a:lnTo>
                    <a:pt x="262" y="279"/>
                  </a:lnTo>
                  <a:lnTo>
                    <a:pt x="264" y="287"/>
                  </a:lnTo>
                  <a:lnTo>
                    <a:pt x="280" y="302"/>
                  </a:lnTo>
                  <a:lnTo>
                    <a:pt x="286" y="303"/>
                  </a:lnTo>
                  <a:lnTo>
                    <a:pt x="293" y="297"/>
                  </a:lnTo>
                  <a:lnTo>
                    <a:pt x="305" y="304"/>
                  </a:lnTo>
                  <a:lnTo>
                    <a:pt x="324" y="310"/>
                  </a:lnTo>
                  <a:lnTo>
                    <a:pt x="366" y="310"/>
                  </a:lnTo>
                  <a:lnTo>
                    <a:pt x="373" y="308"/>
                  </a:lnTo>
                  <a:lnTo>
                    <a:pt x="374" y="293"/>
                  </a:lnTo>
                  <a:lnTo>
                    <a:pt x="386" y="286"/>
                  </a:lnTo>
                  <a:lnTo>
                    <a:pt x="401" y="288"/>
                  </a:lnTo>
                  <a:lnTo>
                    <a:pt x="408" y="293"/>
                  </a:lnTo>
                  <a:lnTo>
                    <a:pt x="464" y="275"/>
                  </a:lnTo>
                  <a:lnTo>
                    <a:pt x="468" y="275"/>
                  </a:lnTo>
                  <a:lnTo>
                    <a:pt x="470" y="279"/>
                  </a:lnTo>
                  <a:lnTo>
                    <a:pt x="468" y="279"/>
                  </a:lnTo>
                  <a:lnTo>
                    <a:pt x="475" y="282"/>
                  </a:lnTo>
                  <a:lnTo>
                    <a:pt x="482" y="279"/>
                  </a:lnTo>
                  <a:lnTo>
                    <a:pt x="492" y="279"/>
                  </a:lnTo>
                  <a:lnTo>
                    <a:pt x="494" y="268"/>
                  </a:lnTo>
                  <a:lnTo>
                    <a:pt x="511" y="272"/>
                  </a:lnTo>
                  <a:lnTo>
                    <a:pt x="542" y="266"/>
                  </a:lnTo>
                  <a:lnTo>
                    <a:pt x="554" y="279"/>
                  </a:lnTo>
                  <a:lnTo>
                    <a:pt x="560" y="272"/>
                  </a:lnTo>
                  <a:lnTo>
                    <a:pt x="570" y="279"/>
                  </a:lnTo>
                  <a:lnTo>
                    <a:pt x="576" y="270"/>
                  </a:lnTo>
                  <a:lnTo>
                    <a:pt x="600" y="270"/>
                  </a:lnTo>
                  <a:lnTo>
                    <a:pt x="595" y="264"/>
                  </a:lnTo>
                  <a:lnTo>
                    <a:pt x="594" y="255"/>
                  </a:lnTo>
                  <a:lnTo>
                    <a:pt x="589" y="247"/>
                  </a:lnTo>
                  <a:lnTo>
                    <a:pt x="564" y="231"/>
                  </a:lnTo>
                  <a:lnTo>
                    <a:pt x="556" y="229"/>
                  </a:lnTo>
                  <a:lnTo>
                    <a:pt x="555" y="220"/>
                  </a:lnTo>
                  <a:lnTo>
                    <a:pt x="549" y="212"/>
                  </a:lnTo>
                  <a:lnTo>
                    <a:pt x="541" y="194"/>
                  </a:lnTo>
                  <a:lnTo>
                    <a:pt x="532" y="189"/>
                  </a:lnTo>
                  <a:lnTo>
                    <a:pt x="526" y="181"/>
                  </a:lnTo>
                  <a:lnTo>
                    <a:pt x="495" y="161"/>
                  </a:lnTo>
                  <a:lnTo>
                    <a:pt x="490" y="152"/>
                  </a:lnTo>
                  <a:lnTo>
                    <a:pt x="492" y="142"/>
                  </a:lnTo>
                  <a:lnTo>
                    <a:pt x="490" y="139"/>
                  </a:lnTo>
                  <a:lnTo>
                    <a:pt x="475" y="128"/>
                  </a:lnTo>
                  <a:lnTo>
                    <a:pt x="457" y="128"/>
                  </a:lnTo>
                  <a:lnTo>
                    <a:pt x="447" y="123"/>
                  </a:lnTo>
                  <a:lnTo>
                    <a:pt x="442" y="110"/>
                  </a:lnTo>
                  <a:lnTo>
                    <a:pt x="423" y="107"/>
                  </a:lnTo>
                  <a:lnTo>
                    <a:pt x="413" y="99"/>
                  </a:lnTo>
                  <a:lnTo>
                    <a:pt x="412" y="88"/>
                  </a:lnTo>
                  <a:lnTo>
                    <a:pt x="419" y="60"/>
                  </a:lnTo>
                  <a:lnTo>
                    <a:pt x="414" y="46"/>
                  </a:lnTo>
                  <a:lnTo>
                    <a:pt x="378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8" name="Freeform 176"/>
            <p:cNvSpPr>
              <a:spLocks/>
            </p:cNvSpPr>
            <p:nvPr/>
          </p:nvSpPr>
          <p:spPr bwMode="auto">
            <a:xfrm>
              <a:off x="5566659" y="2599823"/>
              <a:ext cx="85303" cy="90913"/>
            </a:xfrm>
            <a:custGeom>
              <a:avLst/>
              <a:gdLst>
                <a:gd name="T0" fmla="*/ 9 w 72"/>
                <a:gd name="T1" fmla="*/ 0 h 89"/>
                <a:gd name="T2" fmla="*/ 3 w 72"/>
                <a:gd name="T3" fmla="*/ 3 h 89"/>
                <a:gd name="T4" fmla="*/ 2 w 72"/>
                <a:gd name="T5" fmla="*/ 7 h 89"/>
                <a:gd name="T6" fmla="*/ 0 w 72"/>
                <a:gd name="T7" fmla="*/ 10 h 89"/>
                <a:gd name="T8" fmla="*/ 1 w 72"/>
                <a:gd name="T9" fmla="*/ 11 h 89"/>
                <a:gd name="T10" fmla="*/ 1 w 72"/>
                <a:gd name="T11" fmla="*/ 12 h 89"/>
                <a:gd name="T12" fmla="*/ 3 w 72"/>
                <a:gd name="T13" fmla="*/ 12 h 89"/>
                <a:gd name="T14" fmla="*/ 3 w 72"/>
                <a:gd name="T15" fmla="*/ 12 h 89"/>
                <a:gd name="T16" fmla="*/ 4 w 72"/>
                <a:gd name="T17" fmla="*/ 12 h 89"/>
                <a:gd name="T18" fmla="*/ 5 w 72"/>
                <a:gd name="T19" fmla="*/ 12 h 89"/>
                <a:gd name="T20" fmla="*/ 5 w 72"/>
                <a:gd name="T21" fmla="*/ 11 h 89"/>
                <a:gd name="T22" fmla="*/ 6 w 72"/>
                <a:gd name="T23" fmla="*/ 11 h 89"/>
                <a:gd name="T24" fmla="*/ 7 w 72"/>
                <a:gd name="T25" fmla="*/ 11 h 89"/>
                <a:gd name="T26" fmla="*/ 8 w 72"/>
                <a:gd name="T27" fmla="*/ 12 h 89"/>
                <a:gd name="T28" fmla="*/ 8 w 72"/>
                <a:gd name="T29" fmla="*/ 12 h 89"/>
                <a:gd name="T30" fmla="*/ 8 w 72"/>
                <a:gd name="T31" fmla="*/ 11 h 89"/>
                <a:gd name="T32" fmla="*/ 10 w 72"/>
                <a:gd name="T33" fmla="*/ 10 h 89"/>
                <a:gd name="T34" fmla="*/ 10 w 72"/>
                <a:gd name="T35" fmla="*/ 8 h 89"/>
                <a:gd name="T36" fmla="*/ 11 w 72"/>
                <a:gd name="T37" fmla="*/ 8 h 89"/>
                <a:gd name="T38" fmla="*/ 10 w 72"/>
                <a:gd name="T39" fmla="*/ 8 h 89"/>
                <a:gd name="T40" fmla="*/ 10 w 72"/>
                <a:gd name="T41" fmla="*/ 8 h 89"/>
                <a:gd name="T42" fmla="*/ 10 w 72"/>
                <a:gd name="T43" fmla="*/ 8 h 89"/>
                <a:gd name="T44" fmla="*/ 9 w 72"/>
                <a:gd name="T45" fmla="*/ 8 h 89"/>
                <a:gd name="T46" fmla="*/ 8 w 72"/>
                <a:gd name="T47" fmla="*/ 8 h 89"/>
                <a:gd name="T48" fmla="*/ 7 w 72"/>
                <a:gd name="T49" fmla="*/ 8 h 89"/>
                <a:gd name="T50" fmla="*/ 6 w 72"/>
                <a:gd name="T51" fmla="*/ 8 h 89"/>
                <a:gd name="T52" fmla="*/ 6 w 72"/>
                <a:gd name="T53" fmla="*/ 8 h 89"/>
                <a:gd name="T54" fmla="*/ 6 w 72"/>
                <a:gd name="T55" fmla="*/ 8 h 89"/>
                <a:gd name="T56" fmla="*/ 5 w 72"/>
                <a:gd name="T57" fmla="*/ 8 h 89"/>
                <a:gd name="T58" fmla="*/ 5 w 72"/>
                <a:gd name="T59" fmla="*/ 8 h 89"/>
                <a:gd name="T60" fmla="*/ 6 w 72"/>
                <a:gd name="T61" fmla="*/ 8 h 89"/>
                <a:gd name="T62" fmla="*/ 6 w 72"/>
                <a:gd name="T63" fmla="*/ 8 h 89"/>
                <a:gd name="T64" fmla="*/ 6 w 72"/>
                <a:gd name="T65" fmla="*/ 8 h 89"/>
                <a:gd name="T66" fmla="*/ 8 w 72"/>
                <a:gd name="T67" fmla="*/ 7 h 89"/>
                <a:gd name="T68" fmla="*/ 8 w 72"/>
                <a:gd name="T69" fmla="*/ 7 h 89"/>
                <a:gd name="T70" fmla="*/ 8 w 72"/>
                <a:gd name="T71" fmla="*/ 7 h 89"/>
                <a:gd name="T72" fmla="*/ 9 w 72"/>
                <a:gd name="T73" fmla="*/ 6 h 89"/>
                <a:gd name="T74" fmla="*/ 10 w 72"/>
                <a:gd name="T75" fmla="*/ 6 h 89"/>
                <a:gd name="T76" fmla="*/ 11 w 72"/>
                <a:gd name="T77" fmla="*/ 5 h 89"/>
                <a:gd name="T78" fmla="*/ 12 w 72"/>
                <a:gd name="T79" fmla="*/ 4 h 89"/>
                <a:gd name="T80" fmla="*/ 11 w 72"/>
                <a:gd name="T81" fmla="*/ 2 h 89"/>
                <a:gd name="T82" fmla="*/ 10 w 72"/>
                <a:gd name="T83" fmla="*/ 2 h 89"/>
                <a:gd name="T84" fmla="*/ 9 w 72"/>
                <a:gd name="T85" fmla="*/ 1 h 89"/>
                <a:gd name="T86" fmla="*/ 9 w 72"/>
                <a:gd name="T87" fmla="*/ 1 h 89"/>
                <a:gd name="T88" fmla="*/ 9 w 72"/>
                <a:gd name="T89" fmla="*/ 0 h 8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"/>
                <a:gd name="T136" fmla="*/ 0 h 89"/>
                <a:gd name="T137" fmla="*/ 72 w 72"/>
                <a:gd name="T138" fmla="*/ 89 h 8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" h="89">
                  <a:moveTo>
                    <a:pt x="56" y="0"/>
                  </a:moveTo>
                  <a:lnTo>
                    <a:pt x="20" y="25"/>
                  </a:lnTo>
                  <a:lnTo>
                    <a:pt x="13" y="53"/>
                  </a:lnTo>
                  <a:lnTo>
                    <a:pt x="0" y="74"/>
                  </a:lnTo>
                  <a:lnTo>
                    <a:pt x="1" y="82"/>
                  </a:lnTo>
                  <a:lnTo>
                    <a:pt x="7" y="87"/>
                  </a:lnTo>
                  <a:lnTo>
                    <a:pt x="17" y="88"/>
                  </a:lnTo>
                  <a:lnTo>
                    <a:pt x="22" y="87"/>
                  </a:lnTo>
                  <a:lnTo>
                    <a:pt x="26" y="88"/>
                  </a:lnTo>
                  <a:lnTo>
                    <a:pt x="27" y="87"/>
                  </a:lnTo>
                  <a:lnTo>
                    <a:pt x="29" y="85"/>
                  </a:lnTo>
                  <a:lnTo>
                    <a:pt x="40" y="81"/>
                  </a:lnTo>
                  <a:lnTo>
                    <a:pt x="43" y="82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2" y="84"/>
                  </a:lnTo>
                  <a:lnTo>
                    <a:pt x="61" y="74"/>
                  </a:lnTo>
                  <a:lnTo>
                    <a:pt x="64" y="64"/>
                  </a:lnTo>
                  <a:lnTo>
                    <a:pt x="67" y="63"/>
                  </a:lnTo>
                  <a:lnTo>
                    <a:pt x="64" y="61"/>
                  </a:lnTo>
                  <a:lnTo>
                    <a:pt x="62" y="60"/>
                  </a:lnTo>
                  <a:lnTo>
                    <a:pt x="61" y="58"/>
                  </a:lnTo>
                  <a:lnTo>
                    <a:pt x="54" y="59"/>
                  </a:lnTo>
                  <a:lnTo>
                    <a:pt x="48" y="59"/>
                  </a:lnTo>
                  <a:lnTo>
                    <a:pt x="42" y="60"/>
                  </a:lnTo>
                  <a:lnTo>
                    <a:pt x="40" y="63"/>
                  </a:lnTo>
                  <a:lnTo>
                    <a:pt x="38" y="63"/>
                  </a:lnTo>
                  <a:lnTo>
                    <a:pt x="36" y="63"/>
                  </a:lnTo>
                  <a:lnTo>
                    <a:pt x="32" y="59"/>
                  </a:lnTo>
                  <a:lnTo>
                    <a:pt x="33" y="58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1" y="56"/>
                  </a:lnTo>
                  <a:lnTo>
                    <a:pt x="46" y="50"/>
                  </a:lnTo>
                  <a:lnTo>
                    <a:pt x="48" y="49"/>
                  </a:lnTo>
                  <a:lnTo>
                    <a:pt x="52" y="49"/>
                  </a:lnTo>
                  <a:lnTo>
                    <a:pt x="56" y="43"/>
                  </a:lnTo>
                  <a:lnTo>
                    <a:pt x="65" y="42"/>
                  </a:lnTo>
                  <a:lnTo>
                    <a:pt x="71" y="38"/>
                  </a:lnTo>
                  <a:lnTo>
                    <a:pt x="72" y="32"/>
                  </a:lnTo>
                  <a:lnTo>
                    <a:pt x="69" y="18"/>
                  </a:lnTo>
                  <a:lnTo>
                    <a:pt x="63" y="14"/>
                  </a:lnTo>
                  <a:lnTo>
                    <a:pt x="60" y="9"/>
                  </a:lnTo>
                  <a:lnTo>
                    <a:pt x="57" y="5"/>
                  </a:lnTo>
                  <a:lnTo>
                    <a:pt x="56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9" name="Freeform 177"/>
            <p:cNvSpPr>
              <a:spLocks/>
            </p:cNvSpPr>
            <p:nvPr/>
          </p:nvSpPr>
          <p:spPr bwMode="auto">
            <a:xfrm>
              <a:off x="4863928" y="3234356"/>
              <a:ext cx="103581" cy="79781"/>
            </a:xfrm>
            <a:custGeom>
              <a:avLst/>
              <a:gdLst>
                <a:gd name="T0" fmla="*/ 1 w 87"/>
                <a:gd name="T1" fmla="*/ 9 h 81"/>
                <a:gd name="T2" fmla="*/ 1 w 87"/>
                <a:gd name="T3" fmla="*/ 9 h 81"/>
                <a:gd name="T4" fmla="*/ 1 w 87"/>
                <a:gd name="T5" fmla="*/ 8 h 81"/>
                <a:gd name="T6" fmla="*/ 2 w 87"/>
                <a:gd name="T7" fmla="*/ 7 h 81"/>
                <a:gd name="T8" fmla="*/ 2 w 87"/>
                <a:gd name="T9" fmla="*/ 7 h 81"/>
                <a:gd name="T10" fmla="*/ 3 w 87"/>
                <a:gd name="T11" fmla="*/ 8 h 81"/>
                <a:gd name="T12" fmla="*/ 4 w 87"/>
                <a:gd name="T13" fmla="*/ 9 h 81"/>
                <a:gd name="T14" fmla="*/ 4 w 87"/>
                <a:gd name="T15" fmla="*/ 10 h 81"/>
                <a:gd name="T16" fmla="*/ 5 w 87"/>
                <a:gd name="T17" fmla="*/ 9 h 81"/>
                <a:gd name="T18" fmla="*/ 5 w 87"/>
                <a:gd name="T19" fmla="*/ 9 h 81"/>
                <a:gd name="T20" fmla="*/ 6 w 87"/>
                <a:gd name="T21" fmla="*/ 9 h 81"/>
                <a:gd name="T22" fmla="*/ 7 w 87"/>
                <a:gd name="T23" fmla="*/ 8 h 81"/>
                <a:gd name="T24" fmla="*/ 7 w 87"/>
                <a:gd name="T25" fmla="*/ 7 h 81"/>
                <a:gd name="T26" fmla="*/ 7 w 87"/>
                <a:gd name="T27" fmla="*/ 7 h 81"/>
                <a:gd name="T28" fmla="*/ 8 w 87"/>
                <a:gd name="T29" fmla="*/ 7 h 81"/>
                <a:gd name="T30" fmla="*/ 9 w 87"/>
                <a:gd name="T31" fmla="*/ 7 h 81"/>
                <a:gd name="T32" fmla="*/ 11 w 87"/>
                <a:gd name="T33" fmla="*/ 7 h 81"/>
                <a:gd name="T34" fmla="*/ 11 w 87"/>
                <a:gd name="T35" fmla="*/ 7 h 81"/>
                <a:gd name="T36" fmla="*/ 11 w 87"/>
                <a:gd name="T37" fmla="*/ 7 h 81"/>
                <a:gd name="T38" fmla="*/ 12 w 87"/>
                <a:gd name="T39" fmla="*/ 7 h 81"/>
                <a:gd name="T40" fmla="*/ 12 w 87"/>
                <a:gd name="T41" fmla="*/ 7 h 81"/>
                <a:gd name="T42" fmla="*/ 13 w 87"/>
                <a:gd name="T43" fmla="*/ 6 h 81"/>
                <a:gd name="T44" fmla="*/ 14 w 87"/>
                <a:gd name="T45" fmla="*/ 5 h 81"/>
                <a:gd name="T46" fmla="*/ 11 w 87"/>
                <a:gd name="T47" fmla="*/ 0 h 81"/>
                <a:gd name="T48" fmla="*/ 10 w 87"/>
                <a:gd name="T49" fmla="*/ 1 h 81"/>
                <a:gd name="T50" fmla="*/ 9 w 87"/>
                <a:gd name="T51" fmla="*/ 1 h 81"/>
                <a:gd name="T52" fmla="*/ 9 w 87"/>
                <a:gd name="T53" fmla="*/ 1 h 81"/>
                <a:gd name="T54" fmla="*/ 8 w 87"/>
                <a:gd name="T55" fmla="*/ 2 h 81"/>
                <a:gd name="T56" fmla="*/ 6 w 87"/>
                <a:gd name="T57" fmla="*/ 2 h 81"/>
                <a:gd name="T58" fmla="*/ 5 w 87"/>
                <a:gd name="T59" fmla="*/ 2 h 81"/>
                <a:gd name="T60" fmla="*/ 5 w 87"/>
                <a:gd name="T61" fmla="*/ 2 h 81"/>
                <a:gd name="T62" fmla="*/ 5 w 87"/>
                <a:gd name="T63" fmla="*/ 2 h 81"/>
                <a:gd name="T64" fmla="*/ 0 w 87"/>
                <a:gd name="T65" fmla="*/ 7 h 81"/>
                <a:gd name="T66" fmla="*/ 0 w 87"/>
                <a:gd name="T67" fmla="*/ 8 h 81"/>
                <a:gd name="T68" fmla="*/ 1 w 87"/>
                <a:gd name="T69" fmla="*/ 9 h 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"/>
                <a:gd name="T106" fmla="*/ 0 h 81"/>
                <a:gd name="T107" fmla="*/ 87 w 87"/>
                <a:gd name="T108" fmla="*/ 81 h 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" h="81">
                  <a:moveTo>
                    <a:pt x="5" y="78"/>
                  </a:moveTo>
                  <a:lnTo>
                    <a:pt x="7" y="78"/>
                  </a:lnTo>
                  <a:lnTo>
                    <a:pt x="7" y="70"/>
                  </a:lnTo>
                  <a:lnTo>
                    <a:pt x="11" y="67"/>
                  </a:lnTo>
                  <a:lnTo>
                    <a:pt x="15" y="67"/>
                  </a:lnTo>
                  <a:lnTo>
                    <a:pt x="16" y="68"/>
                  </a:lnTo>
                  <a:lnTo>
                    <a:pt x="22" y="80"/>
                  </a:lnTo>
                  <a:lnTo>
                    <a:pt x="24" y="81"/>
                  </a:lnTo>
                  <a:lnTo>
                    <a:pt x="29" y="80"/>
                  </a:lnTo>
                  <a:lnTo>
                    <a:pt x="33" y="78"/>
                  </a:lnTo>
                  <a:lnTo>
                    <a:pt x="40" y="78"/>
                  </a:lnTo>
                  <a:lnTo>
                    <a:pt x="43" y="73"/>
                  </a:lnTo>
                  <a:lnTo>
                    <a:pt x="43" y="66"/>
                  </a:lnTo>
                  <a:lnTo>
                    <a:pt x="44" y="64"/>
                  </a:lnTo>
                  <a:lnTo>
                    <a:pt x="46" y="62"/>
                  </a:lnTo>
                  <a:lnTo>
                    <a:pt x="54" y="63"/>
                  </a:lnTo>
                  <a:lnTo>
                    <a:pt x="65" y="59"/>
                  </a:lnTo>
                  <a:lnTo>
                    <a:pt x="68" y="59"/>
                  </a:lnTo>
                  <a:lnTo>
                    <a:pt x="69" y="60"/>
                  </a:lnTo>
                  <a:lnTo>
                    <a:pt x="73" y="60"/>
                  </a:lnTo>
                  <a:lnTo>
                    <a:pt x="75" y="63"/>
                  </a:lnTo>
                  <a:lnTo>
                    <a:pt x="84" y="51"/>
                  </a:lnTo>
                  <a:lnTo>
                    <a:pt x="87" y="42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56" y="5"/>
                  </a:lnTo>
                  <a:lnTo>
                    <a:pt x="53" y="7"/>
                  </a:lnTo>
                  <a:lnTo>
                    <a:pt x="48" y="17"/>
                  </a:lnTo>
                  <a:lnTo>
                    <a:pt x="41" y="18"/>
                  </a:lnTo>
                  <a:lnTo>
                    <a:pt x="35" y="16"/>
                  </a:lnTo>
                  <a:lnTo>
                    <a:pt x="32" y="14"/>
                  </a:lnTo>
                  <a:lnTo>
                    <a:pt x="29" y="15"/>
                  </a:lnTo>
                  <a:lnTo>
                    <a:pt x="0" y="63"/>
                  </a:lnTo>
                  <a:lnTo>
                    <a:pt x="0" y="71"/>
                  </a:lnTo>
                  <a:lnTo>
                    <a:pt x="5" y="7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0" name="Freeform 178"/>
            <p:cNvSpPr>
              <a:spLocks/>
            </p:cNvSpPr>
            <p:nvPr/>
          </p:nvSpPr>
          <p:spPr bwMode="auto">
            <a:xfrm>
              <a:off x="4863928" y="3234356"/>
              <a:ext cx="103581" cy="79781"/>
            </a:xfrm>
            <a:custGeom>
              <a:avLst/>
              <a:gdLst>
                <a:gd name="T0" fmla="*/ 1 w 87"/>
                <a:gd name="T1" fmla="*/ 9 h 81"/>
                <a:gd name="T2" fmla="*/ 1 w 87"/>
                <a:gd name="T3" fmla="*/ 9 h 81"/>
                <a:gd name="T4" fmla="*/ 1 w 87"/>
                <a:gd name="T5" fmla="*/ 8 h 81"/>
                <a:gd name="T6" fmla="*/ 2 w 87"/>
                <a:gd name="T7" fmla="*/ 7 h 81"/>
                <a:gd name="T8" fmla="*/ 2 w 87"/>
                <a:gd name="T9" fmla="*/ 7 h 81"/>
                <a:gd name="T10" fmla="*/ 3 w 87"/>
                <a:gd name="T11" fmla="*/ 8 h 81"/>
                <a:gd name="T12" fmla="*/ 4 w 87"/>
                <a:gd name="T13" fmla="*/ 9 h 81"/>
                <a:gd name="T14" fmla="*/ 4 w 87"/>
                <a:gd name="T15" fmla="*/ 10 h 81"/>
                <a:gd name="T16" fmla="*/ 5 w 87"/>
                <a:gd name="T17" fmla="*/ 9 h 81"/>
                <a:gd name="T18" fmla="*/ 5 w 87"/>
                <a:gd name="T19" fmla="*/ 9 h 81"/>
                <a:gd name="T20" fmla="*/ 6 w 87"/>
                <a:gd name="T21" fmla="*/ 9 h 81"/>
                <a:gd name="T22" fmla="*/ 7 w 87"/>
                <a:gd name="T23" fmla="*/ 8 h 81"/>
                <a:gd name="T24" fmla="*/ 7 w 87"/>
                <a:gd name="T25" fmla="*/ 7 h 81"/>
                <a:gd name="T26" fmla="*/ 7 w 87"/>
                <a:gd name="T27" fmla="*/ 7 h 81"/>
                <a:gd name="T28" fmla="*/ 8 w 87"/>
                <a:gd name="T29" fmla="*/ 7 h 81"/>
                <a:gd name="T30" fmla="*/ 9 w 87"/>
                <a:gd name="T31" fmla="*/ 7 h 81"/>
                <a:gd name="T32" fmla="*/ 11 w 87"/>
                <a:gd name="T33" fmla="*/ 7 h 81"/>
                <a:gd name="T34" fmla="*/ 11 w 87"/>
                <a:gd name="T35" fmla="*/ 7 h 81"/>
                <a:gd name="T36" fmla="*/ 11 w 87"/>
                <a:gd name="T37" fmla="*/ 7 h 81"/>
                <a:gd name="T38" fmla="*/ 12 w 87"/>
                <a:gd name="T39" fmla="*/ 7 h 81"/>
                <a:gd name="T40" fmla="*/ 12 w 87"/>
                <a:gd name="T41" fmla="*/ 7 h 81"/>
                <a:gd name="T42" fmla="*/ 13 w 87"/>
                <a:gd name="T43" fmla="*/ 6 h 81"/>
                <a:gd name="T44" fmla="*/ 14 w 87"/>
                <a:gd name="T45" fmla="*/ 5 h 81"/>
                <a:gd name="T46" fmla="*/ 11 w 87"/>
                <a:gd name="T47" fmla="*/ 0 h 81"/>
                <a:gd name="T48" fmla="*/ 10 w 87"/>
                <a:gd name="T49" fmla="*/ 1 h 81"/>
                <a:gd name="T50" fmla="*/ 9 w 87"/>
                <a:gd name="T51" fmla="*/ 1 h 81"/>
                <a:gd name="T52" fmla="*/ 9 w 87"/>
                <a:gd name="T53" fmla="*/ 1 h 81"/>
                <a:gd name="T54" fmla="*/ 8 w 87"/>
                <a:gd name="T55" fmla="*/ 2 h 81"/>
                <a:gd name="T56" fmla="*/ 6 w 87"/>
                <a:gd name="T57" fmla="*/ 2 h 81"/>
                <a:gd name="T58" fmla="*/ 5 w 87"/>
                <a:gd name="T59" fmla="*/ 2 h 81"/>
                <a:gd name="T60" fmla="*/ 5 w 87"/>
                <a:gd name="T61" fmla="*/ 2 h 81"/>
                <a:gd name="T62" fmla="*/ 5 w 87"/>
                <a:gd name="T63" fmla="*/ 2 h 81"/>
                <a:gd name="T64" fmla="*/ 0 w 87"/>
                <a:gd name="T65" fmla="*/ 7 h 81"/>
                <a:gd name="T66" fmla="*/ 0 w 87"/>
                <a:gd name="T67" fmla="*/ 8 h 81"/>
                <a:gd name="T68" fmla="*/ 1 w 87"/>
                <a:gd name="T69" fmla="*/ 9 h 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"/>
                <a:gd name="T106" fmla="*/ 0 h 81"/>
                <a:gd name="T107" fmla="*/ 87 w 87"/>
                <a:gd name="T108" fmla="*/ 81 h 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" h="81">
                  <a:moveTo>
                    <a:pt x="5" y="78"/>
                  </a:moveTo>
                  <a:lnTo>
                    <a:pt x="7" y="78"/>
                  </a:lnTo>
                  <a:lnTo>
                    <a:pt x="7" y="70"/>
                  </a:lnTo>
                  <a:lnTo>
                    <a:pt x="11" y="67"/>
                  </a:lnTo>
                  <a:lnTo>
                    <a:pt x="15" y="67"/>
                  </a:lnTo>
                  <a:lnTo>
                    <a:pt x="16" y="68"/>
                  </a:lnTo>
                  <a:lnTo>
                    <a:pt x="22" y="80"/>
                  </a:lnTo>
                  <a:lnTo>
                    <a:pt x="24" y="81"/>
                  </a:lnTo>
                  <a:lnTo>
                    <a:pt x="29" y="80"/>
                  </a:lnTo>
                  <a:lnTo>
                    <a:pt x="33" y="78"/>
                  </a:lnTo>
                  <a:lnTo>
                    <a:pt x="40" y="78"/>
                  </a:lnTo>
                  <a:lnTo>
                    <a:pt x="43" y="73"/>
                  </a:lnTo>
                  <a:lnTo>
                    <a:pt x="43" y="66"/>
                  </a:lnTo>
                  <a:lnTo>
                    <a:pt x="44" y="64"/>
                  </a:lnTo>
                  <a:lnTo>
                    <a:pt x="46" y="62"/>
                  </a:lnTo>
                  <a:lnTo>
                    <a:pt x="54" y="63"/>
                  </a:lnTo>
                  <a:lnTo>
                    <a:pt x="65" y="59"/>
                  </a:lnTo>
                  <a:lnTo>
                    <a:pt x="68" y="59"/>
                  </a:lnTo>
                  <a:lnTo>
                    <a:pt x="69" y="60"/>
                  </a:lnTo>
                  <a:lnTo>
                    <a:pt x="73" y="60"/>
                  </a:lnTo>
                  <a:lnTo>
                    <a:pt x="75" y="63"/>
                  </a:lnTo>
                  <a:lnTo>
                    <a:pt x="84" y="51"/>
                  </a:lnTo>
                  <a:lnTo>
                    <a:pt x="87" y="42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56" y="5"/>
                  </a:lnTo>
                  <a:lnTo>
                    <a:pt x="53" y="7"/>
                  </a:lnTo>
                  <a:lnTo>
                    <a:pt x="48" y="17"/>
                  </a:lnTo>
                  <a:lnTo>
                    <a:pt x="41" y="18"/>
                  </a:lnTo>
                  <a:lnTo>
                    <a:pt x="35" y="16"/>
                  </a:lnTo>
                  <a:lnTo>
                    <a:pt x="32" y="14"/>
                  </a:lnTo>
                  <a:lnTo>
                    <a:pt x="29" y="15"/>
                  </a:lnTo>
                  <a:lnTo>
                    <a:pt x="0" y="63"/>
                  </a:lnTo>
                  <a:lnTo>
                    <a:pt x="0" y="71"/>
                  </a:lnTo>
                  <a:lnTo>
                    <a:pt x="5" y="7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1" name="Freeform 179"/>
            <p:cNvSpPr>
              <a:spLocks/>
            </p:cNvSpPr>
            <p:nvPr/>
          </p:nvSpPr>
          <p:spPr bwMode="auto">
            <a:xfrm>
              <a:off x="2335312" y="1905917"/>
              <a:ext cx="664142" cy="602993"/>
            </a:xfrm>
            <a:custGeom>
              <a:avLst/>
              <a:gdLst>
                <a:gd name="T0" fmla="*/ 2 w 553"/>
                <a:gd name="T1" fmla="*/ 34 h 607"/>
                <a:gd name="T2" fmla="*/ 1 w 553"/>
                <a:gd name="T3" fmla="*/ 36 h 607"/>
                <a:gd name="T4" fmla="*/ 0 w 553"/>
                <a:gd name="T5" fmla="*/ 37 h 607"/>
                <a:gd name="T6" fmla="*/ 1 w 553"/>
                <a:gd name="T7" fmla="*/ 37 h 607"/>
                <a:gd name="T8" fmla="*/ 3 w 553"/>
                <a:gd name="T9" fmla="*/ 39 h 607"/>
                <a:gd name="T10" fmla="*/ 5 w 553"/>
                <a:gd name="T11" fmla="*/ 39 h 607"/>
                <a:gd name="T12" fmla="*/ 6 w 553"/>
                <a:gd name="T13" fmla="*/ 43 h 607"/>
                <a:gd name="T14" fmla="*/ 5 w 553"/>
                <a:gd name="T15" fmla="*/ 46 h 607"/>
                <a:gd name="T16" fmla="*/ 4 w 553"/>
                <a:gd name="T17" fmla="*/ 46 h 607"/>
                <a:gd name="T18" fmla="*/ 7 w 553"/>
                <a:gd name="T19" fmla="*/ 56 h 607"/>
                <a:gd name="T20" fmla="*/ 4 w 553"/>
                <a:gd name="T21" fmla="*/ 65 h 607"/>
                <a:gd name="T22" fmla="*/ 5 w 553"/>
                <a:gd name="T23" fmla="*/ 63 h 607"/>
                <a:gd name="T24" fmla="*/ 6 w 553"/>
                <a:gd name="T25" fmla="*/ 62 h 607"/>
                <a:gd name="T26" fmla="*/ 10 w 553"/>
                <a:gd name="T27" fmla="*/ 63 h 607"/>
                <a:gd name="T28" fmla="*/ 11 w 553"/>
                <a:gd name="T29" fmla="*/ 62 h 607"/>
                <a:gd name="T30" fmla="*/ 14 w 553"/>
                <a:gd name="T31" fmla="*/ 62 h 607"/>
                <a:gd name="T32" fmla="*/ 14 w 553"/>
                <a:gd name="T33" fmla="*/ 62 h 607"/>
                <a:gd name="T34" fmla="*/ 15 w 553"/>
                <a:gd name="T35" fmla="*/ 62 h 607"/>
                <a:gd name="T36" fmla="*/ 19 w 553"/>
                <a:gd name="T37" fmla="*/ 62 h 607"/>
                <a:gd name="T38" fmla="*/ 20 w 553"/>
                <a:gd name="T39" fmla="*/ 62 h 607"/>
                <a:gd name="T40" fmla="*/ 21 w 553"/>
                <a:gd name="T41" fmla="*/ 62 h 607"/>
                <a:gd name="T42" fmla="*/ 23 w 553"/>
                <a:gd name="T43" fmla="*/ 64 h 607"/>
                <a:gd name="T44" fmla="*/ 25 w 553"/>
                <a:gd name="T45" fmla="*/ 64 h 607"/>
                <a:gd name="T46" fmla="*/ 26 w 553"/>
                <a:gd name="T47" fmla="*/ 65 h 607"/>
                <a:gd name="T48" fmla="*/ 27 w 553"/>
                <a:gd name="T49" fmla="*/ 64 h 607"/>
                <a:gd name="T50" fmla="*/ 29 w 553"/>
                <a:gd name="T51" fmla="*/ 67 h 607"/>
                <a:gd name="T52" fmla="*/ 30 w 553"/>
                <a:gd name="T53" fmla="*/ 68 h 607"/>
                <a:gd name="T54" fmla="*/ 31 w 553"/>
                <a:gd name="T55" fmla="*/ 68 h 607"/>
                <a:gd name="T56" fmla="*/ 31 w 553"/>
                <a:gd name="T57" fmla="*/ 68 h 607"/>
                <a:gd name="T58" fmla="*/ 32 w 553"/>
                <a:gd name="T59" fmla="*/ 69 h 607"/>
                <a:gd name="T60" fmla="*/ 32 w 553"/>
                <a:gd name="T61" fmla="*/ 70 h 607"/>
                <a:gd name="T62" fmla="*/ 33 w 553"/>
                <a:gd name="T63" fmla="*/ 70 h 607"/>
                <a:gd name="T64" fmla="*/ 33 w 553"/>
                <a:gd name="T65" fmla="*/ 70 h 607"/>
                <a:gd name="T66" fmla="*/ 35 w 553"/>
                <a:gd name="T67" fmla="*/ 71 h 607"/>
                <a:gd name="T68" fmla="*/ 35 w 553"/>
                <a:gd name="T69" fmla="*/ 71 h 607"/>
                <a:gd name="T70" fmla="*/ 36 w 553"/>
                <a:gd name="T71" fmla="*/ 72 h 607"/>
                <a:gd name="T72" fmla="*/ 40 w 553"/>
                <a:gd name="T73" fmla="*/ 70 h 607"/>
                <a:gd name="T74" fmla="*/ 43 w 553"/>
                <a:gd name="T75" fmla="*/ 66 h 607"/>
                <a:gd name="T76" fmla="*/ 44 w 553"/>
                <a:gd name="T77" fmla="*/ 66 h 607"/>
                <a:gd name="T78" fmla="*/ 45 w 553"/>
                <a:gd name="T79" fmla="*/ 66 h 607"/>
                <a:gd name="T80" fmla="*/ 49 w 553"/>
                <a:gd name="T81" fmla="*/ 70 h 607"/>
                <a:gd name="T82" fmla="*/ 88 w 553"/>
                <a:gd name="T83" fmla="*/ 69 h 607"/>
                <a:gd name="T84" fmla="*/ 87 w 553"/>
                <a:gd name="T85" fmla="*/ 63 h 607"/>
                <a:gd name="T86" fmla="*/ 93 w 553"/>
                <a:gd name="T87" fmla="*/ 13 h 607"/>
                <a:gd name="T88" fmla="*/ 65 w 553"/>
                <a:gd name="T89" fmla="*/ 7 h 607"/>
                <a:gd name="T90" fmla="*/ 40 w 553"/>
                <a:gd name="T91" fmla="*/ 22 h 607"/>
                <a:gd name="T92" fmla="*/ 32 w 553"/>
                <a:gd name="T93" fmla="*/ 24 h 607"/>
                <a:gd name="T94" fmla="*/ 31 w 553"/>
                <a:gd name="T95" fmla="*/ 34 h 60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3"/>
                <a:gd name="T145" fmla="*/ 0 h 607"/>
                <a:gd name="T146" fmla="*/ 553 w 553"/>
                <a:gd name="T147" fmla="*/ 607 h 60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3" h="607">
                  <a:moveTo>
                    <a:pt x="165" y="288"/>
                  </a:moveTo>
                  <a:lnTo>
                    <a:pt x="14" y="288"/>
                  </a:lnTo>
                  <a:lnTo>
                    <a:pt x="12" y="294"/>
                  </a:lnTo>
                  <a:lnTo>
                    <a:pt x="2" y="304"/>
                  </a:lnTo>
                  <a:lnTo>
                    <a:pt x="4" y="303"/>
                  </a:lnTo>
                  <a:lnTo>
                    <a:pt x="0" y="307"/>
                  </a:lnTo>
                  <a:lnTo>
                    <a:pt x="1" y="308"/>
                  </a:lnTo>
                  <a:lnTo>
                    <a:pt x="1" y="307"/>
                  </a:lnTo>
                  <a:lnTo>
                    <a:pt x="9" y="304"/>
                  </a:lnTo>
                  <a:lnTo>
                    <a:pt x="19" y="326"/>
                  </a:lnTo>
                  <a:lnTo>
                    <a:pt x="20" y="327"/>
                  </a:lnTo>
                  <a:lnTo>
                    <a:pt x="27" y="326"/>
                  </a:lnTo>
                  <a:lnTo>
                    <a:pt x="35" y="345"/>
                  </a:lnTo>
                  <a:lnTo>
                    <a:pt x="35" y="365"/>
                  </a:lnTo>
                  <a:lnTo>
                    <a:pt x="30" y="379"/>
                  </a:lnTo>
                  <a:lnTo>
                    <a:pt x="28" y="382"/>
                  </a:lnTo>
                  <a:lnTo>
                    <a:pt x="25" y="383"/>
                  </a:lnTo>
                  <a:lnTo>
                    <a:pt x="23" y="387"/>
                  </a:lnTo>
                  <a:lnTo>
                    <a:pt x="38" y="407"/>
                  </a:lnTo>
                  <a:lnTo>
                    <a:pt x="43" y="469"/>
                  </a:lnTo>
                  <a:lnTo>
                    <a:pt x="20" y="543"/>
                  </a:lnTo>
                  <a:lnTo>
                    <a:pt x="22" y="543"/>
                  </a:lnTo>
                  <a:lnTo>
                    <a:pt x="28" y="533"/>
                  </a:lnTo>
                  <a:lnTo>
                    <a:pt x="31" y="523"/>
                  </a:lnTo>
                  <a:lnTo>
                    <a:pt x="34" y="523"/>
                  </a:lnTo>
                  <a:lnTo>
                    <a:pt x="36" y="522"/>
                  </a:lnTo>
                  <a:lnTo>
                    <a:pt x="50" y="522"/>
                  </a:lnTo>
                  <a:lnTo>
                    <a:pt x="58" y="525"/>
                  </a:lnTo>
                  <a:lnTo>
                    <a:pt x="64" y="523"/>
                  </a:lnTo>
                  <a:lnTo>
                    <a:pt x="66" y="522"/>
                  </a:lnTo>
                  <a:lnTo>
                    <a:pt x="75" y="520"/>
                  </a:lnTo>
                  <a:lnTo>
                    <a:pt x="83" y="520"/>
                  </a:lnTo>
                  <a:lnTo>
                    <a:pt x="84" y="520"/>
                  </a:lnTo>
                  <a:lnTo>
                    <a:pt x="85" y="517"/>
                  </a:lnTo>
                  <a:lnTo>
                    <a:pt x="86" y="516"/>
                  </a:lnTo>
                  <a:lnTo>
                    <a:pt x="91" y="517"/>
                  </a:lnTo>
                  <a:lnTo>
                    <a:pt x="94" y="516"/>
                  </a:lnTo>
                  <a:lnTo>
                    <a:pt x="112" y="518"/>
                  </a:lnTo>
                  <a:lnTo>
                    <a:pt x="115" y="518"/>
                  </a:lnTo>
                  <a:lnTo>
                    <a:pt x="119" y="517"/>
                  </a:lnTo>
                  <a:lnTo>
                    <a:pt x="121" y="522"/>
                  </a:lnTo>
                  <a:lnTo>
                    <a:pt x="126" y="522"/>
                  </a:lnTo>
                  <a:lnTo>
                    <a:pt x="134" y="530"/>
                  </a:lnTo>
                  <a:lnTo>
                    <a:pt x="136" y="535"/>
                  </a:lnTo>
                  <a:lnTo>
                    <a:pt x="142" y="541"/>
                  </a:lnTo>
                  <a:lnTo>
                    <a:pt x="151" y="538"/>
                  </a:lnTo>
                  <a:lnTo>
                    <a:pt x="151" y="543"/>
                  </a:lnTo>
                  <a:lnTo>
                    <a:pt x="154" y="543"/>
                  </a:lnTo>
                  <a:lnTo>
                    <a:pt x="158" y="541"/>
                  </a:lnTo>
                  <a:lnTo>
                    <a:pt x="160" y="541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75" y="565"/>
                  </a:lnTo>
                  <a:lnTo>
                    <a:pt x="177" y="568"/>
                  </a:lnTo>
                  <a:lnTo>
                    <a:pt x="179" y="571"/>
                  </a:lnTo>
                  <a:lnTo>
                    <a:pt x="181" y="572"/>
                  </a:lnTo>
                  <a:lnTo>
                    <a:pt x="184" y="570"/>
                  </a:lnTo>
                  <a:lnTo>
                    <a:pt x="186" y="578"/>
                  </a:lnTo>
                  <a:lnTo>
                    <a:pt x="189" y="578"/>
                  </a:lnTo>
                  <a:lnTo>
                    <a:pt x="190" y="581"/>
                  </a:lnTo>
                  <a:lnTo>
                    <a:pt x="188" y="582"/>
                  </a:lnTo>
                  <a:lnTo>
                    <a:pt x="188" y="583"/>
                  </a:lnTo>
                  <a:lnTo>
                    <a:pt x="192" y="584"/>
                  </a:lnTo>
                  <a:lnTo>
                    <a:pt x="193" y="587"/>
                  </a:lnTo>
                  <a:lnTo>
                    <a:pt x="197" y="589"/>
                  </a:lnTo>
                  <a:lnTo>
                    <a:pt x="200" y="589"/>
                  </a:lnTo>
                  <a:lnTo>
                    <a:pt x="205" y="591"/>
                  </a:lnTo>
                  <a:lnTo>
                    <a:pt x="207" y="594"/>
                  </a:lnTo>
                  <a:lnTo>
                    <a:pt x="208" y="598"/>
                  </a:lnTo>
                  <a:lnTo>
                    <a:pt x="209" y="600"/>
                  </a:lnTo>
                  <a:lnTo>
                    <a:pt x="215" y="601"/>
                  </a:lnTo>
                  <a:lnTo>
                    <a:pt x="221" y="607"/>
                  </a:lnTo>
                  <a:lnTo>
                    <a:pt x="239" y="588"/>
                  </a:lnTo>
                  <a:lnTo>
                    <a:pt x="253" y="554"/>
                  </a:lnTo>
                  <a:lnTo>
                    <a:pt x="255" y="554"/>
                  </a:lnTo>
                  <a:lnTo>
                    <a:pt x="258" y="554"/>
                  </a:lnTo>
                  <a:lnTo>
                    <a:pt x="258" y="555"/>
                  </a:lnTo>
                  <a:lnTo>
                    <a:pt x="263" y="556"/>
                  </a:lnTo>
                  <a:lnTo>
                    <a:pt x="266" y="558"/>
                  </a:lnTo>
                  <a:lnTo>
                    <a:pt x="278" y="586"/>
                  </a:lnTo>
                  <a:lnTo>
                    <a:pt x="293" y="588"/>
                  </a:lnTo>
                  <a:lnTo>
                    <a:pt x="315" y="570"/>
                  </a:lnTo>
                  <a:lnTo>
                    <a:pt x="523" y="574"/>
                  </a:lnTo>
                  <a:lnTo>
                    <a:pt x="534" y="534"/>
                  </a:lnTo>
                  <a:lnTo>
                    <a:pt x="515" y="529"/>
                  </a:lnTo>
                  <a:lnTo>
                    <a:pt x="473" y="110"/>
                  </a:lnTo>
                  <a:lnTo>
                    <a:pt x="553" y="110"/>
                  </a:lnTo>
                  <a:lnTo>
                    <a:pt x="384" y="0"/>
                  </a:lnTo>
                  <a:lnTo>
                    <a:pt x="384" y="57"/>
                  </a:lnTo>
                  <a:lnTo>
                    <a:pt x="236" y="57"/>
                  </a:lnTo>
                  <a:lnTo>
                    <a:pt x="236" y="184"/>
                  </a:lnTo>
                  <a:lnTo>
                    <a:pt x="192" y="196"/>
                  </a:lnTo>
                  <a:lnTo>
                    <a:pt x="188" y="199"/>
                  </a:lnTo>
                  <a:lnTo>
                    <a:pt x="180" y="212"/>
                  </a:lnTo>
                  <a:lnTo>
                    <a:pt x="186" y="288"/>
                  </a:lnTo>
                  <a:lnTo>
                    <a:pt x="165" y="28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2" name="Freeform 180"/>
            <p:cNvSpPr>
              <a:spLocks/>
            </p:cNvSpPr>
            <p:nvPr/>
          </p:nvSpPr>
          <p:spPr bwMode="auto">
            <a:xfrm>
              <a:off x="2335312" y="1905917"/>
              <a:ext cx="664142" cy="602993"/>
            </a:xfrm>
            <a:custGeom>
              <a:avLst/>
              <a:gdLst>
                <a:gd name="T0" fmla="*/ 2 w 553"/>
                <a:gd name="T1" fmla="*/ 34 h 607"/>
                <a:gd name="T2" fmla="*/ 1 w 553"/>
                <a:gd name="T3" fmla="*/ 36 h 607"/>
                <a:gd name="T4" fmla="*/ 0 w 553"/>
                <a:gd name="T5" fmla="*/ 37 h 607"/>
                <a:gd name="T6" fmla="*/ 1 w 553"/>
                <a:gd name="T7" fmla="*/ 37 h 607"/>
                <a:gd name="T8" fmla="*/ 3 w 553"/>
                <a:gd name="T9" fmla="*/ 39 h 607"/>
                <a:gd name="T10" fmla="*/ 5 w 553"/>
                <a:gd name="T11" fmla="*/ 39 h 607"/>
                <a:gd name="T12" fmla="*/ 6 w 553"/>
                <a:gd name="T13" fmla="*/ 43 h 607"/>
                <a:gd name="T14" fmla="*/ 5 w 553"/>
                <a:gd name="T15" fmla="*/ 46 h 607"/>
                <a:gd name="T16" fmla="*/ 4 w 553"/>
                <a:gd name="T17" fmla="*/ 46 h 607"/>
                <a:gd name="T18" fmla="*/ 7 w 553"/>
                <a:gd name="T19" fmla="*/ 56 h 607"/>
                <a:gd name="T20" fmla="*/ 4 w 553"/>
                <a:gd name="T21" fmla="*/ 65 h 607"/>
                <a:gd name="T22" fmla="*/ 5 w 553"/>
                <a:gd name="T23" fmla="*/ 63 h 607"/>
                <a:gd name="T24" fmla="*/ 6 w 553"/>
                <a:gd name="T25" fmla="*/ 62 h 607"/>
                <a:gd name="T26" fmla="*/ 10 w 553"/>
                <a:gd name="T27" fmla="*/ 63 h 607"/>
                <a:gd name="T28" fmla="*/ 11 w 553"/>
                <a:gd name="T29" fmla="*/ 62 h 607"/>
                <a:gd name="T30" fmla="*/ 14 w 553"/>
                <a:gd name="T31" fmla="*/ 62 h 607"/>
                <a:gd name="T32" fmla="*/ 14 w 553"/>
                <a:gd name="T33" fmla="*/ 62 h 607"/>
                <a:gd name="T34" fmla="*/ 15 w 553"/>
                <a:gd name="T35" fmla="*/ 62 h 607"/>
                <a:gd name="T36" fmla="*/ 19 w 553"/>
                <a:gd name="T37" fmla="*/ 62 h 607"/>
                <a:gd name="T38" fmla="*/ 20 w 553"/>
                <a:gd name="T39" fmla="*/ 62 h 607"/>
                <a:gd name="T40" fmla="*/ 21 w 553"/>
                <a:gd name="T41" fmla="*/ 62 h 607"/>
                <a:gd name="T42" fmla="*/ 23 w 553"/>
                <a:gd name="T43" fmla="*/ 64 h 607"/>
                <a:gd name="T44" fmla="*/ 25 w 553"/>
                <a:gd name="T45" fmla="*/ 64 h 607"/>
                <a:gd name="T46" fmla="*/ 26 w 553"/>
                <a:gd name="T47" fmla="*/ 65 h 607"/>
                <a:gd name="T48" fmla="*/ 27 w 553"/>
                <a:gd name="T49" fmla="*/ 64 h 607"/>
                <a:gd name="T50" fmla="*/ 29 w 553"/>
                <a:gd name="T51" fmla="*/ 67 h 607"/>
                <a:gd name="T52" fmla="*/ 30 w 553"/>
                <a:gd name="T53" fmla="*/ 68 h 607"/>
                <a:gd name="T54" fmla="*/ 31 w 553"/>
                <a:gd name="T55" fmla="*/ 68 h 607"/>
                <a:gd name="T56" fmla="*/ 31 w 553"/>
                <a:gd name="T57" fmla="*/ 68 h 607"/>
                <a:gd name="T58" fmla="*/ 32 w 553"/>
                <a:gd name="T59" fmla="*/ 69 h 607"/>
                <a:gd name="T60" fmla="*/ 32 w 553"/>
                <a:gd name="T61" fmla="*/ 70 h 607"/>
                <a:gd name="T62" fmla="*/ 33 w 553"/>
                <a:gd name="T63" fmla="*/ 70 h 607"/>
                <a:gd name="T64" fmla="*/ 33 w 553"/>
                <a:gd name="T65" fmla="*/ 70 h 607"/>
                <a:gd name="T66" fmla="*/ 35 w 553"/>
                <a:gd name="T67" fmla="*/ 71 h 607"/>
                <a:gd name="T68" fmla="*/ 35 w 553"/>
                <a:gd name="T69" fmla="*/ 71 h 607"/>
                <a:gd name="T70" fmla="*/ 36 w 553"/>
                <a:gd name="T71" fmla="*/ 72 h 607"/>
                <a:gd name="T72" fmla="*/ 40 w 553"/>
                <a:gd name="T73" fmla="*/ 70 h 607"/>
                <a:gd name="T74" fmla="*/ 43 w 553"/>
                <a:gd name="T75" fmla="*/ 66 h 607"/>
                <a:gd name="T76" fmla="*/ 44 w 553"/>
                <a:gd name="T77" fmla="*/ 66 h 607"/>
                <a:gd name="T78" fmla="*/ 45 w 553"/>
                <a:gd name="T79" fmla="*/ 66 h 607"/>
                <a:gd name="T80" fmla="*/ 49 w 553"/>
                <a:gd name="T81" fmla="*/ 70 h 607"/>
                <a:gd name="T82" fmla="*/ 88 w 553"/>
                <a:gd name="T83" fmla="*/ 69 h 607"/>
                <a:gd name="T84" fmla="*/ 87 w 553"/>
                <a:gd name="T85" fmla="*/ 63 h 607"/>
                <a:gd name="T86" fmla="*/ 93 w 553"/>
                <a:gd name="T87" fmla="*/ 13 h 607"/>
                <a:gd name="T88" fmla="*/ 65 w 553"/>
                <a:gd name="T89" fmla="*/ 7 h 607"/>
                <a:gd name="T90" fmla="*/ 40 w 553"/>
                <a:gd name="T91" fmla="*/ 22 h 607"/>
                <a:gd name="T92" fmla="*/ 32 w 553"/>
                <a:gd name="T93" fmla="*/ 24 h 607"/>
                <a:gd name="T94" fmla="*/ 31 w 553"/>
                <a:gd name="T95" fmla="*/ 34 h 60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3"/>
                <a:gd name="T145" fmla="*/ 0 h 607"/>
                <a:gd name="T146" fmla="*/ 553 w 553"/>
                <a:gd name="T147" fmla="*/ 607 h 60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3" h="607">
                  <a:moveTo>
                    <a:pt x="165" y="288"/>
                  </a:moveTo>
                  <a:lnTo>
                    <a:pt x="14" y="288"/>
                  </a:lnTo>
                  <a:lnTo>
                    <a:pt x="12" y="294"/>
                  </a:lnTo>
                  <a:lnTo>
                    <a:pt x="2" y="304"/>
                  </a:lnTo>
                  <a:lnTo>
                    <a:pt x="4" y="303"/>
                  </a:lnTo>
                  <a:lnTo>
                    <a:pt x="0" y="307"/>
                  </a:lnTo>
                  <a:lnTo>
                    <a:pt x="1" y="308"/>
                  </a:lnTo>
                  <a:lnTo>
                    <a:pt x="1" y="307"/>
                  </a:lnTo>
                  <a:lnTo>
                    <a:pt x="9" y="304"/>
                  </a:lnTo>
                  <a:lnTo>
                    <a:pt x="19" y="326"/>
                  </a:lnTo>
                  <a:lnTo>
                    <a:pt x="20" y="327"/>
                  </a:lnTo>
                  <a:lnTo>
                    <a:pt x="27" y="326"/>
                  </a:lnTo>
                  <a:lnTo>
                    <a:pt x="35" y="345"/>
                  </a:lnTo>
                  <a:lnTo>
                    <a:pt x="35" y="365"/>
                  </a:lnTo>
                  <a:lnTo>
                    <a:pt x="30" y="379"/>
                  </a:lnTo>
                  <a:lnTo>
                    <a:pt x="28" y="382"/>
                  </a:lnTo>
                  <a:lnTo>
                    <a:pt x="25" y="383"/>
                  </a:lnTo>
                  <a:lnTo>
                    <a:pt x="23" y="387"/>
                  </a:lnTo>
                  <a:lnTo>
                    <a:pt x="38" y="407"/>
                  </a:lnTo>
                  <a:lnTo>
                    <a:pt x="43" y="469"/>
                  </a:lnTo>
                  <a:lnTo>
                    <a:pt x="20" y="543"/>
                  </a:lnTo>
                  <a:lnTo>
                    <a:pt x="22" y="543"/>
                  </a:lnTo>
                  <a:lnTo>
                    <a:pt x="28" y="533"/>
                  </a:lnTo>
                  <a:lnTo>
                    <a:pt x="31" y="523"/>
                  </a:lnTo>
                  <a:lnTo>
                    <a:pt x="34" y="523"/>
                  </a:lnTo>
                  <a:lnTo>
                    <a:pt x="36" y="522"/>
                  </a:lnTo>
                  <a:lnTo>
                    <a:pt x="50" y="522"/>
                  </a:lnTo>
                  <a:lnTo>
                    <a:pt x="58" y="525"/>
                  </a:lnTo>
                  <a:lnTo>
                    <a:pt x="64" y="523"/>
                  </a:lnTo>
                  <a:lnTo>
                    <a:pt x="66" y="522"/>
                  </a:lnTo>
                  <a:lnTo>
                    <a:pt x="75" y="520"/>
                  </a:lnTo>
                  <a:lnTo>
                    <a:pt x="83" y="520"/>
                  </a:lnTo>
                  <a:lnTo>
                    <a:pt x="84" y="520"/>
                  </a:lnTo>
                  <a:lnTo>
                    <a:pt x="85" y="517"/>
                  </a:lnTo>
                  <a:lnTo>
                    <a:pt x="86" y="516"/>
                  </a:lnTo>
                  <a:lnTo>
                    <a:pt x="91" y="517"/>
                  </a:lnTo>
                  <a:lnTo>
                    <a:pt x="94" y="516"/>
                  </a:lnTo>
                  <a:lnTo>
                    <a:pt x="112" y="518"/>
                  </a:lnTo>
                  <a:lnTo>
                    <a:pt x="115" y="518"/>
                  </a:lnTo>
                  <a:lnTo>
                    <a:pt x="119" y="517"/>
                  </a:lnTo>
                  <a:lnTo>
                    <a:pt x="121" y="522"/>
                  </a:lnTo>
                  <a:lnTo>
                    <a:pt x="126" y="522"/>
                  </a:lnTo>
                  <a:lnTo>
                    <a:pt x="134" y="530"/>
                  </a:lnTo>
                  <a:lnTo>
                    <a:pt x="136" y="535"/>
                  </a:lnTo>
                  <a:lnTo>
                    <a:pt x="142" y="541"/>
                  </a:lnTo>
                  <a:lnTo>
                    <a:pt x="151" y="538"/>
                  </a:lnTo>
                  <a:lnTo>
                    <a:pt x="151" y="543"/>
                  </a:lnTo>
                  <a:lnTo>
                    <a:pt x="154" y="543"/>
                  </a:lnTo>
                  <a:lnTo>
                    <a:pt x="158" y="541"/>
                  </a:lnTo>
                  <a:lnTo>
                    <a:pt x="160" y="541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75" y="565"/>
                  </a:lnTo>
                  <a:lnTo>
                    <a:pt x="177" y="568"/>
                  </a:lnTo>
                  <a:lnTo>
                    <a:pt x="179" y="571"/>
                  </a:lnTo>
                  <a:lnTo>
                    <a:pt x="181" y="572"/>
                  </a:lnTo>
                  <a:lnTo>
                    <a:pt x="184" y="570"/>
                  </a:lnTo>
                  <a:lnTo>
                    <a:pt x="186" y="578"/>
                  </a:lnTo>
                  <a:lnTo>
                    <a:pt x="189" y="578"/>
                  </a:lnTo>
                  <a:lnTo>
                    <a:pt x="190" y="581"/>
                  </a:lnTo>
                  <a:lnTo>
                    <a:pt x="188" y="582"/>
                  </a:lnTo>
                  <a:lnTo>
                    <a:pt x="188" y="583"/>
                  </a:lnTo>
                  <a:lnTo>
                    <a:pt x="192" y="584"/>
                  </a:lnTo>
                  <a:lnTo>
                    <a:pt x="193" y="587"/>
                  </a:lnTo>
                  <a:lnTo>
                    <a:pt x="197" y="589"/>
                  </a:lnTo>
                  <a:lnTo>
                    <a:pt x="200" y="589"/>
                  </a:lnTo>
                  <a:lnTo>
                    <a:pt x="205" y="591"/>
                  </a:lnTo>
                  <a:lnTo>
                    <a:pt x="207" y="594"/>
                  </a:lnTo>
                  <a:lnTo>
                    <a:pt x="208" y="598"/>
                  </a:lnTo>
                  <a:lnTo>
                    <a:pt x="209" y="600"/>
                  </a:lnTo>
                  <a:lnTo>
                    <a:pt x="215" y="601"/>
                  </a:lnTo>
                  <a:lnTo>
                    <a:pt x="221" y="607"/>
                  </a:lnTo>
                  <a:lnTo>
                    <a:pt x="239" y="588"/>
                  </a:lnTo>
                  <a:lnTo>
                    <a:pt x="253" y="554"/>
                  </a:lnTo>
                  <a:lnTo>
                    <a:pt x="255" y="554"/>
                  </a:lnTo>
                  <a:lnTo>
                    <a:pt x="258" y="554"/>
                  </a:lnTo>
                  <a:lnTo>
                    <a:pt x="258" y="555"/>
                  </a:lnTo>
                  <a:lnTo>
                    <a:pt x="263" y="556"/>
                  </a:lnTo>
                  <a:lnTo>
                    <a:pt x="266" y="558"/>
                  </a:lnTo>
                  <a:lnTo>
                    <a:pt x="278" y="586"/>
                  </a:lnTo>
                  <a:lnTo>
                    <a:pt x="293" y="588"/>
                  </a:lnTo>
                  <a:lnTo>
                    <a:pt x="315" y="570"/>
                  </a:lnTo>
                  <a:lnTo>
                    <a:pt x="523" y="574"/>
                  </a:lnTo>
                  <a:lnTo>
                    <a:pt x="534" y="534"/>
                  </a:lnTo>
                  <a:lnTo>
                    <a:pt x="515" y="529"/>
                  </a:lnTo>
                  <a:lnTo>
                    <a:pt x="473" y="110"/>
                  </a:lnTo>
                  <a:lnTo>
                    <a:pt x="553" y="110"/>
                  </a:lnTo>
                  <a:lnTo>
                    <a:pt x="384" y="0"/>
                  </a:lnTo>
                  <a:lnTo>
                    <a:pt x="384" y="57"/>
                  </a:lnTo>
                  <a:lnTo>
                    <a:pt x="236" y="57"/>
                  </a:lnTo>
                  <a:lnTo>
                    <a:pt x="236" y="184"/>
                  </a:lnTo>
                  <a:lnTo>
                    <a:pt x="192" y="196"/>
                  </a:lnTo>
                  <a:lnTo>
                    <a:pt x="188" y="199"/>
                  </a:lnTo>
                  <a:lnTo>
                    <a:pt x="180" y="212"/>
                  </a:lnTo>
                  <a:lnTo>
                    <a:pt x="186" y="288"/>
                  </a:lnTo>
                  <a:lnTo>
                    <a:pt x="165" y="28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3" name="Freeform 181"/>
            <p:cNvSpPr>
              <a:spLocks/>
            </p:cNvSpPr>
            <p:nvPr/>
          </p:nvSpPr>
          <p:spPr bwMode="auto">
            <a:xfrm>
              <a:off x="4473973" y="3562756"/>
              <a:ext cx="641801" cy="458275"/>
            </a:xfrm>
            <a:custGeom>
              <a:avLst/>
              <a:gdLst>
                <a:gd name="T0" fmla="*/ 17 w 535"/>
                <a:gd name="T1" fmla="*/ 26 h 462"/>
                <a:gd name="T2" fmla="*/ 15 w 535"/>
                <a:gd name="T3" fmla="*/ 26 h 462"/>
                <a:gd name="T4" fmla="*/ 16 w 535"/>
                <a:gd name="T5" fmla="*/ 16 h 462"/>
                <a:gd name="T6" fmla="*/ 15 w 535"/>
                <a:gd name="T7" fmla="*/ 14 h 462"/>
                <a:gd name="T8" fmla="*/ 18 w 535"/>
                <a:gd name="T9" fmla="*/ 16 h 462"/>
                <a:gd name="T10" fmla="*/ 19 w 535"/>
                <a:gd name="T11" fmla="*/ 17 h 462"/>
                <a:gd name="T12" fmla="*/ 24 w 535"/>
                <a:gd name="T13" fmla="*/ 16 h 462"/>
                <a:gd name="T14" fmla="*/ 26 w 535"/>
                <a:gd name="T15" fmla="*/ 18 h 462"/>
                <a:gd name="T16" fmla="*/ 38 w 535"/>
                <a:gd name="T17" fmla="*/ 19 h 462"/>
                <a:gd name="T18" fmla="*/ 45 w 535"/>
                <a:gd name="T19" fmla="*/ 22 h 462"/>
                <a:gd name="T20" fmla="*/ 49 w 535"/>
                <a:gd name="T21" fmla="*/ 25 h 462"/>
                <a:gd name="T22" fmla="*/ 56 w 535"/>
                <a:gd name="T23" fmla="*/ 28 h 462"/>
                <a:gd name="T24" fmla="*/ 58 w 535"/>
                <a:gd name="T25" fmla="*/ 28 h 462"/>
                <a:gd name="T26" fmla="*/ 60 w 535"/>
                <a:gd name="T27" fmla="*/ 28 h 462"/>
                <a:gd name="T28" fmla="*/ 58 w 535"/>
                <a:gd name="T29" fmla="*/ 22 h 462"/>
                <a:gd name="T30" fmla="*/ 53 w 535"/>
                <a:gd name="T31" fmla="*/ 22 h 462"/>
                <a:gd name="T32" fmla="*/ 53 w 535"/>
                <a:gd name="T33" fmla="*/ 10 h 462"/>
                <a:gd name="T34" fmla="*/ 55 w 535"/>
                <a:gd name="T35" fmla="*/ 2 h 462"/>
                <a:gd name="T36" fmla="*/ 66 w 535"/>
                <a:gd name="T37" fmla="*/ 2 h 462"/>
                <a:gd name="T38" fmla="*/ 68 w 535"/>
                <a:gd name="T39" fmla="*/ 3 h 462"/>
                <a:gd name="T40" fmla="*/ 71 w 535"/>
                <a:gd name="T41" fmla="*/ 2 h 462"/>
                <a:gd name="T42" fmla="*/ 84 w 535"/>
                <a:gd name="T43" fmla="*/ 6 h 462"/>
                <a:gd name="T44" fmla="*/ 84 w 535"/>
                <a:gd name="T45" fmla="*/ 7 h 462"/>
                <a:gd name="T46" fmla="*/ 85 w 535"/>
                <a:gd name="T47" fmla="*/ 8 h 462"/>
                <a:gd name="T48" fmla="*/ 87 w 535"/>
                <a:gd name="T49" fmla="*/ 11 h 462"/>
                <a:gd name="T50" fmla="*/ 89 w 535"/>
                <a:gd name="T51" fmla="*/ 13 h 462"/>
                <a:gd name="T52" fmla="*/ 88 w 535"/>
                <a:gd name="T53" fmla="*/ 14 h 462"/>
                <a:gd name="T54" fmla="*/ 87 w 535"/>
                <a:gd name="T55" fmla="*/ 17 h 462"/>
                <a:gd name="T56" fmla="*/ 87 w 535"/>
                <a:gd name="T57" fmla="*/ 23 h 462"/>
                <a:gd name="T58" fmla="*/ 88 w 535"/>
                <a:gd name="T59" fmla="*/ 24 h 462"/>
                <a:gd name="T60" fmla="*/ 85 w 535"/>
                <a:gd name="T61" fmla="*/ 25 h 462"/>
                <a:gd name="T62" fmla="*/ 83 w 535"/>
                <a:gd name="T63" fmla="*/ 30 h 462"/>
                <a:gd name="T64" fmla="*/ 84 w 535"/>
                <a:gd name="T65" fmla="*/ 32 h 462"/>
                <a:gd name="T66" fmla="*/ 86 w 535"/>
                <a:gd name="T67" fmla="*/ 32 h 462"/>
                <a:gd name="T68" fmla="*/ 63 w 535"/>
                <a:gd name="T69" fmla="*/ 41 h 462"/>
                <a:gd name="T70" fmla="*/ 62 w 535"/>
                <a:gd name="T71" fmla="*/ 41 h 462"/>
                <a:gd name="T72" fmla="*/ 59 w 535"/>
                <a:gd name="T73" fmla="*/ 41 h 462"/>
                <a:gd name="T74" fmla="*/ 55 w 535"/>
                <a:gd name="T75" fmla="*/ 42 h 462"/>
                <a:gd name="T76" fmla="*/ 51 w 535"/>
                <a:gd name="T77" fmla="*/ 43 h 462"/>
                <a:gd name="T78" fmla="*/ 47 w 535"/>
                <a:gd name="T79" fmla="*/ 47 h 462"/>
                <a:gd name="T80" fmla="*/ 45 w 535"/>
                <a:gd name="T81" fmla="*/ 48 h 462"/>
                <a:gd name="T82" fmla="*/ 43 w 535"/>
                <a:gd name="T83" fmla="*/ 48 h 462"/>
                <a:gd name="T84" fmla="*/ 41 w 535"/>
                <a:gd name="T85" fmla="*/ 50 h 462"/>
                <a:gd name="T86" fmla="*/ 40 w 535"/>
                <a:gd name="T87" fmla="*/ 52 h 462"/>
                <a:gd name="T88" fmla="*/ 35 w 535"/>
                <a:gd name="T89" fmla="*/ 55 h 462"/>
                <a:gd name="T90" fmla="*/ 34 w 535"/>
                <a:gd name="T91" fmla="*/ 54 h 462"/>
                <a:gd name="T92" fmla="*/ 30 w 535"/>
                <a:gd name="T93" fmla="*/ 55 h 462"/>
                <a:gd name="T94" fmla="*/ 24 w 535"/>
                <a:gd name="T95" fmla="*/ 54 h 462"/>
                <a:gd name="T96" fmla="*/ 22 w 535"/>
                <a:gd name="T97" fmla="*/ 52 h 462"/>
                <a:gd name="T98" fmla="*/ 16 w 535"/>
                <a:gd name="T99" fmla="*/ 51 h 462"/>
                <a:gd name="T100" fmla="*/ 7 w 535"/>
                <a:gd name="T101" fmla="*/ 51 h 462"/>
                <a:gd name="T102" fmla="*/ 0 w 535"/>
                <a:gd name="T103" fmla="*/ 47 h 4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5"/>
                <a:gd name="T157" fmla="*/ 0 h 462"/>
                <a:gd name="T158" fmla="*/ 535 w 535"/>
                <a:gd name="T159" fmla="*/ 462 h 46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5" h="462">
                  <a:moveTo>
                    <a:pt x="0" y="391"/>
                  </a:moveTo>
                  <a:lnTo>
                    <a:pt x="0" y="223"/>
                  </a:lnTo>
                  <a:lnTo>
                    <a:pt x="99" y="223"/>
                  </a:lnTo>
                  <a:lnTo>
                    <a:pt x="92" y="220"/>
                  </a:lnTo>
                  <a:lnTo>
                    <a:pt x="89" y="217"/>
                  </a:lnTo>
                  <a:lnTo>
                    <a:pt x="87" y="214"/>
                  </a:lnTo>
                  <a:lnTo>
                    <a:pt x="94" y="141"/>
                  </a:lnTo>
                  <a:lnTo>
                    <a:pt x="92" y="132"/>
                  </a:lnTo>
                  <a:lnTo>
                    <a:pt x="93" y="130"/>
                  </a:lnTo>
                  <a:lnTo>
                    <a:pt x="95" y="129"/>
                  </a:lnTo>
                  <a:lnTo>
                    <a:pt x="94" y="126"/>
                  </a:lnTo>
                  <a:lnTo>
                    <a:pt x="92" y="123"/>
                  </a:lnTo>
                  <a:lnTo>
                    <a:pt x="104" y="121"/>
                  </a:lnTo>
                  <a:lnTo>
                    <a:pt x="105" y="121"/>
                  </a:lnTo>
                  <a:lnTo>
                    <a:pt x="111" y="130"/>
                  </a:lnTo>
                  <a:lnTo>
                    <a:pt x="110" y="141"/>
                  </a:lnTo>
                  <a:lnTo>
                    <a:pt x="112" y="144"/>
                  </a:lnTo>
                  <a:lnTo>
                    <a:pt x="114" y="145"/>
                  </a:lnTo>
                  <a:lnTo>
                    <a:pt x="130" y="139"/>
                  </a:lnTo>
                  <a:lnTo>
                    <a:pt x="136" y="139"/>
                  </a:lnTo>
                  <a:lnTo>
                    <a:pt x="145" y="135"/>
                  </a:lnTo>
                  <a:lnTo>
                    <a:pt x="150" y="142"/>
                  </a:lnTo>
                  <a:lnTo>
                    <a:pt x="152" y="149"/>
                  </a:lnTo>
                  <a:lnTo>
                    <a:pt x="156" y="154"/>
                  </a:lnTo>
                  <a:lnTo>
                    <a:pt x="193" y="172"/>
                  </a:lnTo>
                  <a:lnTo>
                    <a:pt x="204" y="172"/>
                  </a:lnTo>
                  <a:lnTo>
                    <a:pt x="228" y="164"/>
                  </a:lnTo>
                  <a:lnTo>
                    <a:pt x="233" y="164"/>
                  </a:lnTo>
                  <a:lnTo>
                    <a:pt x="248" y="180"/>
                  </a:lnTo>
                  <a:lnTo>
                    <a:pt x="270" y="189"/>
                  </a:lnTo>
                  <a:lnTo>
                    <a:pt x="279" y="189"/>
                  </a:lnTo>
                  <a:lnTo>
                    <a:pt x="284" y="195"/>
                  </a:lnTo>
                  <a:lnTo>
                    <a:pt x="291" y="211"/>
                  </a:lnTo>
                  <a:lnTo>
                    <a:pt x="315" y="227"/>
                  </a:lnTo>
                  <a:lnTo>
                    <a:pt x="331" y="233"/>
                  </a:lnTo>
                  <a:lnTo>
                    <a:pt x="334" y="233"/>
                  </a:lnTo>
                  <a:lnTo>
                    <a:pt x="339" y="230"/>
                  </a:lnTo>
                  <a:lnTo>
                    <a:pt x="343" y="230"/>
                  </a:lnTo>
                  <a:lnTo>
                    <a:pt x="347" y="236"/>
                  </a:lnTo>
                  <a:lnTo>
                    <a:pt x="350" y="237"/>
                  </a:lnTo>
                  <a:lnTo>
                    <a:pt x="353" y="237"/>
                  </a:lnTo>
                  <a:lnTo>
                    <a:pt x="355" y="235"/>
                  </a:lnTo>
                  <a:lnTo>
                    <a:pt x="353" y="193"/>
                  </a:lnTo>
                  <a:lnTo>
                    <a:pt x="351" y="187"/>
                  </a:lnTo>
                  <a:lnTo>
                    <a:pt x="346" y="186"/>
                  </a:lnTo>
                  <a:lnTo>
                    <a:pt x="339" y="190"/>
                  </a:lnTo>
                  <a:lnTo>
                    <a:pt x="319" y="188"/>
                  </a:lnTo>
                  <a:lnTo>
                    <a:pt x="313" y="184"/>
                  </a:lnTo>
                  <a:lnTo>
                    <a:pt x="299" y="166"/>
                  </a:lnTo>
                  <a:lnTo>
                    <a:pt x="299" y="158"/>
                  </a:lnTo>
                  <a:lnTo>
                    <a:pt x="316" y="83"/>
                  </a:lnTo>
                  <a:lnTo>
                    <a:pt x="309" y="47"/>
                  </a:lnTo>
                  <a:lnTo>
                    <a:pt x="324" y="17"/>
                  </a:lnTo>
                  <a:lnTo>
                    <a:pt x="329" y="15"/>
                  </a:lnTo>
                  <a:lnTo>
                    <a:pt x="391" y="0"/>
                  </a:lnTo>
                  <a:lnTo>
                    <a:pt x="394" y="6"/>
                  </a:lnTo>
                  <a:lnTo>
                    <a:pt x="392" y="11"/>
                  </a:lnTo>
                  <a:lnTo>
                    <a:pt x="394" y="18"/>
                  </a:lnTo>
                  <a:lnTo>
                    <a:pt x="397" y="20"/>
                  </a:lnTo>
                  <a:lnTo>
                    <a:pt x="403" y="21"/>
                  </a:lnTo>
                  <a:lnTo>
                    <a:pt x="412" y="28"/>
                  </a:lnTo>
                  <a:lnTo>
                    <a:pt x="418" y="18"/>
                  </a:lnTo>
                  <a:lnTo>
                    <a:pt x="424" y="18"/>
                  </a:lnTo>
                  <a:lnTo>
                    <a:pt x="431" y="19"/>
                  </a:lnTo>
                  <a:lnTo>
                    <a:pt x="449" y="35"/>
                  </a:lnTo>
                  <a:lnTo>
                    <a:pt x="499" y="52"/>
                  </a:lnTo>
                  <a:lnTo>
                    <a:pt x="501" y="53"/>
                  </a:lnTo>
                  <a:lnTo>
                    <a:pt x="504" y="57"/>
                  </a:lnTo>
                  <a:lnTo>
                    <a:pt x="502" y="58"/>
                  </a:lnTo>
                  <a:lnTo>
                    <a:pt x="502" y="62"/>
                  </a:lnTo>
                  <a:lnTo>
                    <a:pt x="504" y="64"/>
                  </a:lnTo>
                  <a:lnTo>
                    <a:pt x="505" y="68"/>
                  </a:lnTo>
                  <a:lnTo>
                    <a:pt x="513" y="68"/>
                  </a:lnTo>
                  <a:lnTo>
                    <a:pt x="520" y="80"/>
                  </a:lnTo>
                  <a:lnTo>
                    <a:pt x="523" y="89"/>
                  </a:lnTo>
                  <a:lnTo>
                    <a:pt x="528" y="93"/>
                  </a:lnTo>
                  <a:lnTo>
                    <a:pt x="530" y="109"/>
                  </a:lnTo>
                  <a:lnTo>
                    <a:pt x="534" y="111"/>
                  </a:lnTo>
                  <a:lnTo>
                    <a:pt x="535" y="116"/>
                  </a:lnTo>
                  <a:lnTo>
                    <a:pt x="534" y="119"/>
                  </a:lnTo>
                  <a:lnTo>
                    <a:pt x="528" y="123"/>
                  </a:lnTo>
                  <a:lnTo>
                    <a:pt x="526" y="124"/>
                  </a:lnTo>
                  <a:lnTo>
                    <a:pt x="523" y="126"/>
                  </a:lnTo>
                  <a:lnTo>
                    <a:pt x="521" y="142"/>
                  </a:lnTo>
                  <a:lnTo>
                    <a:pt x="516" y="156"/>
                  </a:lnTo>
                  <a:lnTo>
                    <a:pt x="517" y="189"/>
                  </a:lnTo>
                  <a:lnTo>
                    <a:pt x="520" y="192"/>
                  </a:lnTo>
                  <a:lnTo>
                    <a:pt x="525" y="194"/>
                  </a:lnTo>
                  <a:lnTo>
                    <a:pt x="526" y="200"/>
                  </a:lnTo>
                  <a:lnTo>
                    <a:pt x="525" y="202"/>
                  </a:lnTo>
                  <a:lnTo>
                    <a:pt x="516" y="204"/>
                  </a:lnTo>
                  <a:lnTo>
                    <a:pt x="512" y="207"/>
                  </a:lnTo>
                  <a:lnTo>
                    <a:pt x="507" y="209"/>
                  </a:lnTo>
                  <a:lnTo>
                    <a:pt x="506" y="210"/>
                  </a:lnTo>
                  <a:lnTo>
                    <a:pt x="499" y="246"/>
                  </a:lnTo>
                  <a:lnTo>
                    <a:pt x="494" y="252"/>
                  </a:lnTo>
                  <a:lnTo>
                    <a:pt x="493" y="255"/>
                  </a:lnTo>
                  <a:lnTo>
                    <a:pt x="495" y="263"/>
                  </a:lnTo>
                  <a:lnTo>
                    <a:pt x="499" y="265"/>
                  </a:lnTo>
                  <a:lnTo>
                    <a:pt x="501" y="270"/>
                  </a:lnTo>
                  <a:lnTo>
                    <a:pt x="508" y="270"/>
                  </a:lnTo>
                  <a:lnTo>
                    <a:pt x="510" y="271"/>
                  </a:lnTo>
                  <a:lnTo>
                    <a:pt x="511" y="272"/>
                  </a:lnTo>
                  <a:lnTo>
                    <a:pt x="366" y="320"/>
                  </a:lnTo>
                  <a:lnTo>
                    <a:pt x="374" y="344"/>
                  </a:lnTo>
                  <a:lnTo>
                    <a:pt x="378" y="346"/>
                  </a:lnTo>
                  <a:lnTo>
                    <a:pt x="377" y="347"/>
                  </a:lnTo>
                  <a:lnTo>
                    <a:pt x="371" y="347"/>
                  </a:lnTo>
                  <a:lnTo>
                    <a:pt x="364" y="349"/>
                  </a:lnTo>
                  <a:lnTo>
                    <a:pt x="358" y="348"/>
                  </a:lnTo>
                  <a:lnTo>
                    <a:pt x="354" y="346"/>
                  </a:lnTo>
                  <a:lnTo>
                    <a:pt x="350" y="345"/>
                  </a:lnTo>
                  <a:lnTo>
                    <a:pt x="341" y="350"/>
                  </a:lnTo>
                  <a:lnTo>
                    <a:pt x="327" y="352"/>
                  </a:lnTo>
                  <a:lnTo>
                    <a:pt x="316" y="361"/>
                  </a:lnTo>
                  <a:lnTo>
                    <a:pt x="310" y="362"/>
                  </a:lnTo>
                  <a:lnTo>
                    <a:pt x="306" y="364"/>
                  </a:lnTo>
                  <a:lnTo>
                    <a:pt x="303" y="391"/>
                  </a:lnTo>
                  <a:lnTo>
                    <a:pt x="286" y="391"/>
                  </a:lnTo>
                  <a:lnTo>
                    <a:pt x="280" y="393"/>
                  </a:lnTo>
                  <a:lnTo>
                    <a:pt x="279" y="395"/>
                  </a:lnTo>
                  <a:lnTo>
                    <a:pt x="276" y="396"/>
                  </a:lnTo>
                  <a:lnTo>
                    <a:pt x="271" y="403"/>
                  </a:lnTo>
                  <a:lnTo>
                    <a:pt x="263" y="403"/>
                  </a:lnTo>
                  <a:lnTo>
                    <a:pt x="260" y="404"/>
                  </a:lnTo>
                  <a:lnTo>
                    <a:pt x="258" y="405"/>
                  </a:lnTo>
                  <a:lnTo>
                    <a:pt x="256" y="409"/>
                  </a:lnTo>
                  <a:lnTo>
                    <a:pt x="253" y="411"/>
                  </a:lnTo>
                  <a:lnTo>
                    <a:pt x="248" y="420"/>
                  </a:lnTo>
                  <a:lnTo>
                    <a:pt x="239" y="429"/>
                  </a:lnTo>
                  <a:lnTo>
                    <a:pt x="238" y="433"/>
                  </a:lnTo>
                  <a:lnTo>
                    <a:pt x="238" y="438"/>
                  </a:lnTo>
                  <a:lnTo>
                    <a:pt x="220" y="460"/>
                  </a:lnTo>
                  <a:lnTo>
                    <a:pt x="216" y="459"/>
                  </a:lnTo>
                  <a:lnTo>
                    <a:pt x="210" y="462"/>
                  </a:lnTo>
                  <a:lnTo>
                    <a:pt x="207" y="461"/>
                  </a:lnTo>
                  <a:lnTo>
                    <a:pt x="205" y="457"/>
                  </a:lnTo>
                  <a:lnTo>
                    <a:pt x="201" y="455"/>
                  </a:lnTo>
                  <a:lnTo>
                    <a:pt x="194" y="456"/>
                  </a:lnTo>
                  <a:lnTo>
                    <a:pt x="190" y="455"/>
                  </a:lnTo>
                  <a:lnTo>
                    <a:pt x="177" y="458"/>
                  </a:lnTo>
                  <a:lnTo>
                    <a:pt x="164" y="452"/>
                  </a:lnTo>
                  <a:lnTo>
                    <a:pt x="149" y="455"/>
                  </a:lnTo>
                  <a:lnTo>
                    <a:pt x="146" y="453"/>
                  </a:lnTo>
                  <a:lnTo>
                    <a:pt x="143" y="450"/>
                  </a:lnTo>
                  <a:lnTo>
                    <a:pt x="138" y="449"/>
                  </a:lnTo>
                  <a:lnTo>
                    <a:pt x="130" y="438"/>
                  </a:lnTo>
                  <a:lnTo>
                    <a:pt x="127" y="436"/>
                  </a:lnTo>
                  <a:lnTo>
                    <a:pt x="98" y="433"/>
                  </a:lnTo>
                  <a:lnTo>
                    <a:pt x="96" y="431"/>
                  </a:lnTo>
                  <a:lnTo>
                    <a:pt x="54" y="440"/>
                  </a:lnTo>
                  <a:lnTo>
                    <a:pt x="48" y="437"/>
                  </a:lnTo>
                  <a:lnTo>
                    <a:pt x="44" y="432"/>
                  </a:lnTo>
                  <a:lnTo>
                    <a:pt x="9" y="404"/>
                  </a:lnTo>
                  <a:lnTo>
                    <a:pt x="5" y="398"/>
                  </a:lnTo>
                  <a:lnTo>
                    <a:pt x="0" y="393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4" name="Freeform 182"/>
            <p:cNvSpPr>
              <a:spLocks/>
            </p:cNvSpPr>
            <p:nvPr/>
          </p:nvSpPr>
          <p:spPr bwMode="auto">
            <a:xfrm>
              <a:off x="4473973" y="3562756"/>
              <a:ext cx="641801" cy="458275"/>
            </a:xfrm>
            <a:custGeom>
              <a:avLst/>
              <a:gdLst>
                <a:gd name="T0" fmla="*/ 17 w 535"/>
                <a:gd name="T1" fmla="*/ 26 h 462"/>
                <a:gd name="T2" fmla="*/ 15 w 535"/>
                <a:gd name="T3" fmla="*/ 26 h 462"/>
                <a:gd name="T4" fmla="*/ 16 w 535"/>
                <a:gd name="T5" fmla="*/ 16 h 462"/>
                <a:gd name="T6" fmla="*/ 15 w 535"/>
                <a:gd name="T7" fmla="*/ 14 h 462"/>
                <a:gd name="T8" fmla="*/ 18 w 535"/>
                <a:gd name="T9" fmla="*/ 16 h 462"/>
                <a:gd name="T10" fmla="*/ 19 w 535"/>
                <a:gd name="T11" fmla="*/ 17 h 462"/>
                <a:gd name="T12" fmla="*/ 24 w 535"/>
                <a:gd name="T13" fmla="*/ 16 h 462"/>
                <a:gd name="T14" fmla="*/ 26 w 535"/>
                <a:gd name="T15" fmla="*/ 18 h 462"/>
                <a:gd name="T16" fmla="*/ 38 w 535"/>
                <a:gd name="T17" fmla="*/ 19 h 462"/>
                <a:gd name="T18" fmla="*/ 45 w 535"/>
                <a:gd name="T19" fmla="*/ 22 h 462"/>
                <a:gd name="T20" fmla="*/ 49 w 535"/>
                <a:gd name="T21" fmla="*/ 25 h 462"/>
                <a:gd name="T22" fmla="*/ 56 w 535"/>
                <a:gd name="T23" fmla="*/ 28 h 462"/>
                <a:gd name="T24" fmla="*/ 58 w 535"/>
                <a:gd name="T25" fmla="*/ 28 h 462"/>
                <a:gd name="T26" fmla="*/ 60 w 535"/>
                <a:gd name="T27" fmla="*/ 28 h 462"/>
                <a:gd name="T28" fmla="*/ 58 w 535"/>
                <a:gd name="T29" fmla="*/ 22 h 462"/>
                <a:gd name="T30" fmla="*/ 53 w 535"/>
                <a:gd name="T31" fmla="*/ 22 h 462"/>
                <a:gd name="T32" fmla="*/ 53 w 535"/>
                <a:gd name="T33" fmla="*/ 10 h 462"/>
                <a:gd name="T34" fmla="*/ 55 w 535"/>
                <a:gd name="T35" fmla="*/ 2 h 462"/>
                <a:gd name="T36" fmla="*/ 66 w 535"/>
                <a:gd name="T37" fmla="*/ 2 h 462"/>
                <a:gd name="T38" fmla="*/ 68 w 535"/>
                <a:gd name="T39" fmla="*/ 3 h 462"/>
                <a:gd name="T40" fmla="*/ 71 w 535"/>
                <a:gd name="T41" fmla="*/ 2 h 462"/>
                <a:gd name="T42" fmla="*/ 84 w 535"/>
                <a:gd name="T43" fmla="*/ 6 h 462"/>
                <a:gd name="T44" fmla="*/ 84 w 535"/>
                <a:gd name="T45" fmla="*/ 7 h 462"/>
                <a:gd name="T46" fmla="*/ 85 w 535"/>
                <a:gd name="T47" fmla="*/ 8 h 462"/>
                <a:gd name="T48" fmla="*/ 87 w 535"/>
                <a:gd name="T49" fmla="*/ 11 h 462"/>
                <a:gd name="T50" fmla="*/ 89 w 535"/>
                <a:gd name="T51" fmla="*/ 13 h 462"/>
                <a:gd name="T52" fmla="*/ 88 w 535"/>
                <a:gd name="T53" fmla="*/ 14 h 462"/>
                <a:gd name="T54" fmla="*/ 87 w 535"/>
                <a:gd name="T55" fmla="*/ 17 h 462"/>
                <a:gd name="T56" fmla="*/ 87 w 535"/>
                <a:gd name="T57" fmla="*/ 23 h 462"/>
                <a:gd name="T58" fmla="*/ 88 w 535"/>
                <a:gd name="T59" fmla="*/ 24 h 462"/>
                <a:gd name="T60" fmla="*/ 85 w 535"/>
                <a:gd name="T61" fmla="*/ 25 h 462"/>
                <a:gd name="T62" fmla="*/ 83 w 535"/>
                <a:gd name="T63" fmla="*/ 30 h 462"/>
                <a:gd name="T64" fmla="*/ 84 w 535"/>
                <a:gd name="T65" fmla="*/ 32 h 462"/>
                <a:gd name="T66" fmla="*/ 86 w 535"/>
                <a:gd name="T67" fmla="*/ 32 h 462"/>
                <a:gd name="T68" fmla="*/ 63 w 535"/>
                <a:gd name="T69" fmla="*/ 41 h 462"/>
                <a:gd name="T70" fmla="*/ 62 w 535"/>
                <a:gd name="T71" fmla="*/ 41 h 462"/>
                <a:gd name="T72" fmla="*/ 59 w 535"/>
                <a:gd name="T73" fmla="*/ 41 h 462"/>
                <a:gd name="T74" fmla="*/ 55 w 535"/>
                <a:gd name="T75" fmla="*/ 42 h 462"/>
                <a:gd name="T76" fmla="*/ 51 w 535"/>
                <a:gd name="T77" fmla="*/ 43 h 462"/>
                <a:gd name="T78" fmla="*/ 47 w 535"/>
                <a:gd name="T79" fmla="*/ 47 h 462"/>
                <a:gd name="T80" fmla="*/ 45 w 535"/>
                <a:gd name="T81" fmla="*/ 48 h 462"/>
                <a:gd name="T82" fmla="*/ 43 w 535"/>
                <a:gd name="T83" fmla="*/ 48 h 462"/>
                <a:gd name="T84" fmla="*/ 41 w 535"/>
                <a:gd name="T85" fmla="*/ 50 h 462"/>
                <a:gd name="T86" fmla="*/ 40 w 535"/>
                <a:gd name="T87" fmla="*/ 52 h 462"/>
                <a:gd name="T88" fmla="*/ 35 w 535"/>
                <a:gd name="T89" fmla="*/ 55 h 462"/>
                <a:gd name="T90" fmla="*/ 34 w 535"/>
                <a:gd name="T91" fmla="*/ 54 h 462"/>
                <a:gd name="T92" fmla="*/ 30 w 535"/>
                <a:gd name="T93" fmla="*/ 55 h 462"/>
                <a:gd name="T94" fmla="*/ 24 w 535"/>
                <a:gd name="T95" fmla="*/ 54 h 462"/>
                <a:gd name="T96" fmla="*/ 22 w 535"/>
                <a:gd name="T97" fmla="*/ 52 h 462"/>
                <a:gd name="T98" fmla="*/ 16 w 535"/>
                <a:gd name="T99" fmla="*/ 51 h 462"/>
                <a:gd name="T100" fmla="*/ 7 w 535"/>
                <a:gd name="T101" fmla="*/ 51 h 462"/>
                <a:gd name="T102" fmla="*/ 0 w 535"/>
                <a:gd name="T103" fmla="*/ 47 h 4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5"/>
                <a:gd name="T157" fmla="*/ 0 h 462"/>
                <a:gd name="T158" fmla="*/ 535 w 535"/>
                <a:gd name="T159" fmla="*/ 462 h 46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5" h="462">
                  <a:moveTo>
                    <a:pt x="0" y="391"/>
                  </a:moveTo>
                  <a:lnTo>
                    <a:pt x="0" y="223"/>
                  </a:lnTo>
                  <a:lnTo>
                    <a:pt x="99" y="223"/>
                  </a:lnTo>
                  <a:lnTo>
                    <a:pt x="92" y="220"/>
                  </a:lnTo>
                  <a:lnTo>
                    <a:pt x="89" y="217"/>
                  </a:lnTo>
                  <a:lnTo>
                    <a:pt x="87" y="214"/>
                  </a:lnTo>
                  <a:lnTo>
                    <a:pt x="94" y="141"/>
                  </a:lnTo>
                  <a:lnTo>
                    <a:pt x="92" y="132"/>
                  </a:lnTo>
                  <a:lnTo>
                    <a:pt x="93" y="130"/>
                  </a:lnTo>
                  <a:lnTo>
                    <a:pt x="95" y="129"/>
                  </a:lnTo>
                  <a:lnTo>
                    <a:pt x="94" y="126"/>
                  </a:lnTo>
                  <a:lnTo>
                    <a:pt x="92" y="123"/>
                  </a:lnTo>
                  <a:lnTo>
                    <a:pt x="104" y="121"/>
                  </a:lnTo>
                  <a:lnTo>
                    <a:pt x="105" y="121"/>
                  </a:lnTo>
                  <a:lnTo>
                    <a:pt x="111" y="130"/>
                  </a:lnTo>
                  <a:lnTo>
                    <a:pt x="110" y="141"/>
                  </a:lnTo>
                  <a:lnTo>
                    <a:pt x="112" y="144"/>
                  </a:lnTo>
                  <a:lnTo>
                    <a:pt x="114" y="145"/>
                  </a:lnTo>
                  <a:lnTo>
                    <a:pt x="130" y="139"/>
                  </a:lnTo>
                  <a:lnTo>
                    <a:pt x="136" y="139"/>
                  </a:lnTo>
                  <a:lnTo>
                    <a:pt x="145" y="135"/>
                  </a:lnTo>
                  <a:lnTo>
                    <a:pt x="150" y="142"/>
                  </a:lnTo>
                  <a:lnTo>
                    <a:pt x="152" y="149"/>
                  </a:lnTo>
                  <a:lnTo>
                    <a:pt x="156" y="154"/>
                  </a:lnTo>
                  <a:lnTo>
                    <a:pt x="193" y="172"/>
                  </a:lnTo>
                  <a:lnTo>
                    <a:pt x="204" y="172"/>
                  </a:lnTo>
                  <a:lnTo>
                    <a:pt x="228" y="164"/>
                  </a:lnTo>
                  <a:lnTo>
                    <a:pt x="233" y="164"/>
                  </a:lnTo>
                  <a:lnTo>
                    <a:pt x="248" y="180"/>
                  </a:lnTo>
                  <a:lnTo>
                    <a:pt x="270" y="189"/>
                  </a:lnTo>
                  <a:lnTo>
                    <a:pt x="279" y="189"/>
                  </a:lnTo>
                  <a:lnTo>
                    <a:pt x="284" y="195"/>
                  </a:lnTo>
                  <a:lnTo>
                    <a:pt x="291" y="211"/>
                  </a:lnTo>
                  <a:lnTo>
                    <a:pt x="315" y="227"/>
                  </a:lnTo>
                  <a:lnTo>
                    <a:pt x="331" y="233"/>
                  </a:lnTo>
                  <a:lnTo>
                    <a:pt x="334" y="233"/>
                  </a:lnTo>
                  <a:lnTo>
                    <a:pt x="339" y="230"/>
                  </a:lnTo>
                  <a:lnTo>
                    <a:pt x="343" y="230"/>
                  </a:lnTo>
                  <a:lnTo>
                    <a:pt x="347" y="236"/>
                  </a:lnTo>
                  <a:lnTo>
                    <a:pt x="350" y="237"/>
                  </a:lnTo>
                  <a:lnTo>
                    <a:pt x="353" y="237"/>
                  </a:lnTo>
                  <a:lnTo>
                    <a:pt x="355" y="235"/>
                  </a:lnTo>
                  <a:lnTo>
                    <a:pt x="353" y="193"/>
                  </a:lnTo>
                  <a:lnTo>
                    <a:pt x="351" y="187"/>
                  </a:lnTo>
                  <a:lnTo>
                    <a:pt x="346" y="186"/>
                  </a:lnTo>
                  <a:lnTo>
                    <a:pt x="339" y="190"/>
                  </a:lnTo>
                  <a:lnTo>
                    <a:pt x="319" y="188"/>
                  </a:lnTo>
                  <a:lnTo>
                    <a:pt x="313" y="184"/>
                  </a:lnTo>
                  <a:lnTo>
                    <a:pt x="299" y="166"/>
                  </a:lnTo>
                  <a:lnTo>
                    <a:pt x="299" y="158"/>
                  </a:lnTo>
                  <a:lnTo>
                    <a:pt x="316" y="83"/>
                  </a:lnTo>
                  <a:lnTo>
                    <a:pt x="309" y="47"/>
                  </a:lnTo>
                  <a:lnTo>
                    <a:pt x="324" y="17"/>
                  </a:lnTo>
                  <a:lnTo>
                    <a:pt x="329" y="15"/>
                  </a:lnTo>
                  <a:lnTo>
                    <a:pt x="391" y="0"/>
                  </a:lnTo>
                  <a:lnTo>
                    <a:pt x="394" y="6"/>
                  </a:lnTo>
                  <a:lnTo>
                    <a:pt x="392" y="11"/>
                  </a:lnTo>
                  <a:lnTo>
                    <a:pt x="394" y="18"/>
                  </a:lnTo>
                  <a:lnTo>
                    <a:pt x="397" y="20"/>
                  </a:lnTo>
                  <a:lnTo>
                    <a:pt x="403" y="21"/>
                  </a:lnTo>
                  <a:lnTo>
                    <a:pt x="412" y="28"/>
                  </a:lnTo>
                  <a:lnTo>
                    <a:pt x="418" y="18"/>
                  </a:lnTo>
                  <a:lnTo>
                    <a:pt x="424" y="18"/>
                  </a:lnTo>
                  <a:lnTo>
                    <a:pt x="431" y="19"/>
                  </a:lnTo>
                  <a:lnTo>
                    <a:pt x="449" y="35"/>
                  </a:lnTo>
                  <a:lnTo>
                    <a:pt x="499" y="52"/>
                  </a:lnTo>
                  <a:lnTo>
                    <a:pt x="501" y="53"/>
                  </a:lnTo>
                  <a:lnTo>
                    <a:pt x="504" y="57"/>
                  </a:lnTo>
                  <a:lnTo>
                    <a:pt x="502" y="58"/>
                  </a:lnTo>
                  <a:lnTo>
                    <a:pt x="502" y="62"/>
                  </a:lnTo>
                  <a:lnTo>
                    <a:pt x="504" y="64"/>
                  </a:lnTo>
                  <a:lnTo>
                    <a:pt x="505" y="68"/>
                  </a:lnTo>
                  <a:lnTo>
                    <a:pt x="513" y="68"/>
                  </a:lnTo>
                  <a:lnTo>
                    <a:pt x="520" y="80"/>
                  </a:lnTo>
                  <a:lnTo>
                    <a:pt x="523" y="89"/>
                  </a:lnTo>
                  <a:lnTo>
                    <a:pt x="528" y="93"/>
                  </a:lnTo>
                  <a:lnTo>
                    <a:pt x="530" y="109"/>
                  </a:lnTo>
                  <a:lnTo>
                    <a:pt x="534" y="111"/>
                  </a:lnTo>
                  <a:lnTo>
                    <a:pt x="535" y="116"/>
                  </a:lnTo>
                  <a:lnTo>
                    <a:pt x="534" y="119"/>
                  </a:lnTo>
                  <a:lnTo>
                    <a:pt x="528" y="123"/>
                  </a:lnTo>
                  <a:lnTo>
                    <a:pt x="526" y="124"/>
                  </a:lnTo>
                  <a:lnTo>
                    <a:pt x="523" y="126"/>
                  </a:lnTo>
                  <a:lnTo>
                    <a:pt x="521" y="142"/>
                  </a:lnTo>
                  <a:lnTo>
                    <a:pt x="516" y="156"/>
                  </a:lnTo>
                  <a:lnTo>
                    <a:pt x="517" y="189"/>
                  </a:lnTo>
                  <a:lnTo>
                    <a:pt x="520" y="192"/>
                  </a:lnTo>
                  <a:lnTo>
                    <a:pt x="525" y="194"/>
                  </a:lnTo>
                  <a:lnTo>
                    <a:pt x="526" y="200"/>
                  </a:lnTo>
                  <a:lnTo>
                    <a:pt x="525" y="202"/>
                  </a:lnTo>
                  <a:lnTo>
                    <a:pt x="516" y="204"/>
                  </a:lnTo>
                  <a:lnTo>
                    <a:pt x="512" y="207"/>
                  </a:lnTo>
                  <a:lnTo>
                    <a:pt x="507" y="209"/>
                  </a:lnTo>
                  <a:lnTo>
                    <a:pt x="506" y="210"/>
                  </a:lnTo>
                  <a:lnTo>
                    <a:pt x="499" y="246"/>
                  </a:lnTo>
                  <a:lnTo>
                    <a:pt x="494" y="252"/>
                  </a:lnTo>
                  <a:lnTo>
                    <a:pt x="493" y="255"/>
                  </a:lnTo>
                  <a:lnTo>
                    <a:pt x="495" y="263"/>
                  </a:lnTo>
                  <a:lnTo>
                    <a:pt x="499" y="265"/>
                  </a:lnTo>
                  <a:lnTo>
                    <a:pt x="501" y="270"/>
                  </a:lnTo>
                  <a:lnTo>
                    <a:pt x="508" y="270"/>
                  </a:lnTo>
                  <a:lnTo>
                    <a:pt x="510" y="271"/>
                  </a:lnTo>
                  <a:lnTo>
                    <a:pt x="511" y="272"/>
                  </a:lnTo>
                  <a:lnTo>
                    <a:pt x="366" y="320"/>
                  </a:lnTo>
                  <a:lnTo>
                    <a:pt x="374" y="344"/>
                  </a:lnTo>
                  <a:lnTo>
                    <a:pt x="378" y="346"/>
                  </a:lnTo>
                  <a:lnTo>
                    <a:pt x="377" y="347"/>
                  </a:lnTo>
                  <a:lnTo>
                    <a:pt x="371" y="347"/>
                  </a:lnTo>
                  <a:lnTo>
                    <a:pt x="364" y="349"/>
                  </a:lnTo>
                  <a:lnTo>
                    <a:pt x="358" y="348"/>
                  </a:lnTo>
                  <a:lnTo>
                    <a:pt x="354" y="346"/>
                  </a:lnTo>
                  <a:lnTo>
                    <a:pt x="350" y="345"/>
                  </a:lnTo>
                  <a:lnTo>
                    <a:pt x="341" y="350"/>
                  </a:lnTo>
                  <a:lnTo>
                    <a:pt x="327" y="352"/>
                  </a:lnTo>
                  <a:lnTo>
                    <a:pt x="316" y="361"/>
                  </a:lnTo>
                  <a:lnTo>
                    <a:pt x="310" y="362"/>
                  </a:lnTo>
                  <a:lnTo>
                    <a:pt x="306" y="364"/>
                  </a:lnTo>
                  <a:lnTo>
                    <a:pt x="303" y="391"/>
                  </a:lnTo>
                  <a:lnTo>
                    <a:pt x="286" y="391"/>
                  </a:lnTo>
                  <a:lnTo>
                    <a:pt x="280" y="393"/>
                  </a:lnTo>
                  <a:lnTo>
                    <a:pt x="279" y="395"/>
                  </a:lnTo>
                  <a:lnTo>
                    <a:pt x="276" y="396"/>
                  </a:lnTo>
                  <a:lnTo>
                    <a:pt x="271" y="403"/>
                  </a:lnTo>
                  <a:lnTo>
                    <a:pt x="263" y="403"/>
                  </a:lnTo>
                  <a:lnTo>
                    <a:pt x="260" y="404"/>
                  </a:lnTo>
                  <a:lnTo>
                    <a:pt x="258" y="405"/>
                  </a:lnTo>
                  <a:lnTo>
                    <a:pt x="256" y="409"/>
                  </a:lnTo>
                  <a:lnTo>
                    <a:pt x="253" y="411"/>
                  </a:lnTo>
                  <a:lnTo>
                    <a:pt x="248" y="420"/>
                  </a:lnTo>
                  <a:lnTo>
                    <a:pt x="239" y="429"/>
                  </a:lnTo>
                  <a:lnTo>
                    <a:pt x="238" y="433"/>
                  </a:lnTo>
                  <a:lnTo>
                    <a:pt x="238" y="438"/>
                  </a:lnTo>
                  <a:lnTo>
                    <a:pt x="220" y="460"/>
                  </a:lnTo>
                  <a:lnTo>
                    <a:pt x="216" y="459"/>
                  </a:lnTo>
                  <a:lnTo>
                    <a:pt x="210" y="462"/>
                  </a:lnTo>
                  <a:lnTo>
                    <a:pt x="207" y="461"/>
                  </a:lnTo>
                  <a:lnTo>
                    <a:pt x="205" y="457"/>
                  </a:lnTo>
                  <a:lnTo>
                    <a:pt x="201" y="455"/>
                  </a:lnTo>
                  <a:lnTo>
                    <a:pt x="194" y="456"/>
                  </a:lnTo>
                  <a:lnTo>
                    <a:pt x="190" y="455"/>
                  </a:lnTo>
                  <a:lnTo>
                    <a:pt x="177" y="458"/>
                  </a:lnTo>
                  <a:lnTo>
                    <a:pt x="164" y="452"/>
                  </a:lnTo>
                  <a:lnTo>
                    <a:pt x="149" y="455"/>
                  </a:lnTo>
                  <a:lnTo>
                    <a:pt x="146" y="453"/>
                  </a:lnTo>
                  <a:lnTo>
                    <a:pt x="143" y="450"/>
                  </a:lnTo>
                  <a:lnTo>
                    <a:pt x="138" y="449"/>
                  </a:lnTo>
                  <a:lnTo>
                    <a:pt x="130" y="438"/>
                  </a:lnTo>
                  <a:lnTo>
                    <a:pt x="127" y="436"/>
                  </a:lnTo>
                  <a:lnTo>
                    <a:pt x="98" y="433"/>
                  </a:lnTo>
                  <a:lnTo>
                    <a:pt x="96" y="431"/>
                  </a:lnTo>
                  <a:lnTo>
                    <a:pt x="54" y="440"/>
                  </a:lnTo>
                  <a:lnTo>
                    <a:pt x="48" y="437"/>
                  </a:lnTo>
                  <a:lnTo>
                    <a:pt x="44" y="432"/>
                  </a:lnTo>
                  <a:lnTo>
                    <a:pt x="9" y="404"/>
                  </a:lnTo>
                  <a:lnTo>
                    <a:pt x="5" y="398"/>
                  </a:lnTo>
                  <a:lnTo>
                    <a:pt x="0" y="393"/>
                  </a:lnTo>
                  <a:lnTo>
                    <a:pt x="0" y="39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5" name="Freeform 183"/>
            <p:cNvSpPr>
              <a:spLocks/>
            </p:cNvSpPr>
            <p:nvPr/>
          </p:nvSpPr>
          <p:spPr bwMode="auto">
            <a:xfrm>
              <a:off x="5042658" y="1449498"/>
              <a:ext cx="127953" cy="61227"/>
            </a:xfrm>
            <a:custGeom>
              <a:avLst/>
              <a:gdLst>
                <a:gd name="T0" fmla="*/ 13 w 106"/>
                <a:gd name="T1" fmla="*/ 2 h 61"/>
                <a:gd name="T2" fmla="*/ 18 w 106"/>
                <a:gd name="T3" fmla="*/ 0 h 61"/>
                <a:gd name="T4" fmla="*/ 18 w 106"/>
                <a:gd name="T5" fmla="*/ 0 h 61"/>
                <a:gd name="T6" fmla="*/ 18 w 106"/>
                <a:gd name="T7" fmla="*/ 1 h 61"/>
                <a:gd name="T8" fmla="*/ 17 w 106"/>
                <a:gd name="T9" fmla="*/ 2 h 61"/>
                <a:gd name="T10" fmla="*/ 16 w 106"/>
                <a:gd name="T11" fmla="*/ 2 h 61"/>
                <a:gd name="T12" fmla="*/ 14 w 106"/>
                <a:gd name="T13" fmla="*/ 4 h 61"/>
                <a:gd name="T14" fmla="*/ 14 w 106"/>
                <a:gd name="T15" fmla="*/ 5 h 61"/>
                <a:gd name="T16" fmla="*/ 13 w 106"/>
                <a:gd name="T17" fmla="*/ 5 h 61"/>
                <a:gd name="T18" fmla="*/ 12 w 106"/>
                <a:gd name="T19" fmla="*/ 5 h 61"/>
                <a:gd name="T20" fmla="*/ 10 w 106"/>
                <a:gd name="T21" fmla="*/ 6 h 61"/>
                <a:gd name="T22" fmla="*/ 7 w 106"/>
                <a:gd name="T23" fmla="*/ 7 h 61"/>
                <a:gd name="T24" fmla="*/ 7 w 106"/>
                <a:gd name="T25" fmla="*/ 8 h 61"/>
                <a:gd name="T26" fmla="*/ 4 w 106"/>
                <a:gd name="T27" fmla="*/ 8 h 61"/>
                <a:gd name="T28" fmla="*/ 2 w 106"/>
                <a:gd name="T29" fmla="*/ 7 h 61"/>
                <a:gd name="T30" fmla="*/ 0 w 106"/>
                <a:gd name="T31" fmla="*/ 5 h 61"/>
                <a:gd name="T32" fmla="*/ 5 w 106"/>
                <a:gd name="T33" fmla="*/ 3 h 61"/>
                <a:gd name="T34" fmla="*/ 6 w 106"/>
                <a:gd name="T35" fmla="*/ 2 h 61"/>
                <a:gd name="T36" fmla="*/ 7 w 106"/>
                <a:gd name="T37" fmla="*/ 3 h 61"/>
                <a:gd name="T38" fmla="*/ 13 w 106"/>
                <a:gd name="T39" fmla="*/ 2 h 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61"/>
                <a:gd name="T62" fmla="*/ 106 w 106"/>
                <a:gd name="T63" fmla="*/ 61 h 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61">
                  <a:moveTo>
                    <a:pt x="77" y="13"/>
                  </a:moveTo>
                  <a:lnTo>
                    <a:pt x="102" y="0"/>
                  </a:lnTo>
                  <a:lnTo>
                    <a:pt x="106" y="0"/>
                  </a:lnTo>
                  <a:lnTo>
                    <a:pt x="103" y="7"/>
                  </a:lnTo>
                  <a:lnTo>
                    <a:pt x="96" y="14"/>
                  </a:lnTo>
                  <a:lnTo>
                    <a:pt x="91" y="16"/>
                  </a:lnTo>
                  <a:lnTo>
                    <a:pt x="82" y="30"/>
                  </a:lnTo>
                  <a:lnTo>
                    <a:pt x="83" y="36"/>
                  </a:lnTo>
                  <a:lnTo>
                    <a:pt x="77" y="42"/>
                  </a:lnTo>
                  <a:lnTo>
                    <a:pt x="67" y="44"/>
                  </a:lnTo>
                  <a:lnTo>
                    <a:pt x="58" y="53"/>
                  </a:lnTo>
                  <a:lnTo>
                    <a:pt x="44" y="55"/>
                  </a:lnTo>
                  <a:lnTo>
                    <a:pt x="36" y="61"/>
                  </a:lnTo>
                  <a:lnTo>
                    <a:pt x="22" y="60"/>
                  </a:lnTo>
                  <a:lnTo>
                    <a:pt x="11" y="55"/>
                  </a:lnTo>
                  <a:lnTo>
                    <a:pt x="0" y="38"/>
                  </a:lnTo>
                  <a:lnTo>
                    <a:pt x="32" y="27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77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6" name="Freeform 184"/>
            <p:cNvSpPr>
              <a:spLocks/>
            </p:cNvSpPr>
            <p:nvPr/>
          </p:nvSpPr>
          <p:spPr bwMode="auto">
            <a:xfrm>
              <a:off x="5042658" y="1449498"/>
              <a:ext cx="127953" cy="61227"/>
            </a:xfrm>
            <a:custGeom>
              <a:avLst/>
              <a:gdLst>
                <a:gd name="T0" fmla="*/ 13 w 106"/>
                <a:gd name="T1" fmla="*/ 2 h 61"/>
                <a:gd name="T2" fmla="*/ 18 w 106"/>
                <a:gd name="T3" fmla="*/ 0 h 61"/>
                <a:gd name="T4" fmla="*/ 18 w 106"/>
                <a:gd name="T5" fmla="*/ 0 h 61"/>
                <a:gd name="T6" fmla="*/ 18 w 106"/>
                <a:gd name="T7" fmla="*/ 1 h 61"/>
                <a:gd name="T8" fmla="*/ 17 w 106"/>
                <a:gd name="T9" fmla="*/ 2 h 61"/>
                <a:gd name="T10" fmla="*/ 16 w 106"/>
                <a:gd name="T11" fmla="*/ 2 h 61"/>
                <a:gd name="T12" fmla="*/ 14 w 106"/>
                <a:gd name="T13" fmla="*/ 4 h 61"/>
                <a:gd name="T14" fmla="*/ 14 w 106"/>
                <a:gd name="T15" fmla="*/ 5 h 61"/>
                <a:gd name="T16" fmla="*/ 13 w 106"/>
                <a:gd name="T17" fmla="*/ 5 h 61"/>
                <a:gd name="T18" fmla="*/ 12 w 106"/>
                <a:gd name="T19" fmla="*/ 5 h 61"/>
                <a:gd name="T20" fmla="*/ 10 w 106"/>
                <a:gd name="T21" fmla="*/ 6 h 61"/>
                <a:gd name="T22" fmla="*/ 7 w 106"/>
                <a:gd name="T23" fmla="*/ 7 h 61"/>
                <a:gd name="T24" fmla="*/ 7 w 106"/>
                <a:gd name="T25" fmla="*/ 8 h 61"/>
                <a:gd name="T26" fmla="*/ 4 w 106"/>
                <a:gd name="T27" fmla="*/ 8 h 61"/>
                <a:gd name="T28" fmla="*/ 2 w 106"/>
                <a:gd name="T29" fmla="*/ 7 h 61"/>
                <a:gd name="T30" fmla="*/ 0 w 106"/>
                <a:gd name="T31" fmla="*/ 5 h 61"/>
                <a:gd name="T32" fmla="*/ 5 w 106"/>
                <a:gd name="T33" fmla="*/ 3 h 61"/>
                <a:gd name="T34" fmla="*/ 6 w 106"/>
                <a:gd name="T35" fmla="*/ 2 h 61"/>
                <a:gd name="T36" fmla="*/ 7 w 106"/>
                <a:gd name="T37" fmla="*/ 3 h 61"/>
                <a:gd name="T38" fmla="*/ 13 w 106"/>
                <a:gd name="T39" fmla="*/ 2 h 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61"/>
                <a:gd name="T62" fmla="*/ 106 w 106"/>
                <a:gd name="T63" fmla="*/ 61 h 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61">
                  <a:moveTo>
                    <a:pt x="77" y="13"/>
                  </a:moveTo>
                  <a:lnTo>
                    <a:pt x="102" y="0"/>
                  </a:lnTo>
                  <a:lnTo>
                    <a:pt x="106" y="0"/>
                  </a:lnTo>
                  <a:lnTo>
                    <a:pt x="103" y="7"/>
                  </a:lnTo>
                  <a:lnTo>
                    <a:pt x="96" y="14"/>
                  </a:lnTo>
                  <a:lnTo>
                    <a:pt x="91" y="16"/>
                  </a:lnTo>
                  <a:lnTo>
                    <a:pt x="82" y="30"/>
                  </a:lnTo>
                  <a:lnTo>
                    <a:pt x="83" y="36"/>
                  </a:lnTo>
                  <a:lnTo>
                    <a:pt x="77" y="42"/>
                  </a:lnTo>
                  <a:lnTo>
                    <a:pt x="67" y="44"/>
                  </a:lnTo>
                  <a:lnTo>
                    <a:pt x="58" y="53"/>
                  </a:lnTo>
                  <a:lnTo>
                    <a:pt x="44" y="55"/>
                  </a:lnTo>
                  <a:lnTo>
                    <a:pt x="36" y="61"/>
                  </a:lnTo>
                  <a:lnTo>
                    <a:pt x="22" y="60"/>
                  </a:lnTo>
                  <a:lnTo>
                    <a:pt x="11" y="55"/>
                  </a:lnTo>
                  <a:lnTo>
                    <a:pt x="0" y="38"/>
                  </a:lnTo>
                  <a:lnTo>
                    <a:pt x="32" y="27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77" y="1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7" name="Freeform 185"/>
            <p:cNvSpPr>
              <a:spLocks/>
            </p:cNvSpPr>
            <p:nvPr/>
          </p:nvSpPr>
          <p:spPr bwMode="auto">
            <a:xfrm>
              <a:off x="3663597" y="3108192"/>
              <a:ext cx="6092" cy="11132"/>
            </a:xfrm>
            <a:custGeom>
              <a:avLst/>
              <a:gdLst>
                <a:gd name="T0" fmla="*/ 1 w 5"/>
                <a:gd name="T1" fmla="*/ 0 h 10"/>
                <a:gd name="T2" fmla="*/ 1 w 5"/>
                <a:gd name="T3" fmla="*/ 0 h 10"/>
                <a:gd name="T4" fmla="*/ 1 w 5"/>
                <a:gd name="T5" fmla="*/ 1 h 10"/>
                <a:gd name="T6" fmla="*/ 1 w 5"/>
                <a:gd name="T7" fmla="*/ 2 h 10"/>
                <a:gd name="T8" fmla="*/ 1 w 5"/>
                <a:gd name="T9" fmla="*/ 2 h 10"/>
                <a:gd name="T10" fmla="*/ 0 w 5"/>
                <a:gd name="T11" fmla="*/ 1 h 10"/>
                <a:gd name="T12" fmla="*/ 0 w 5"/>
                <a:gd name="T13" fmla="*/ 0 h 10"/>
                <a:gd name="T14" fmla="*/ 1 w 5"/>
                <a:gd name="T15" fmla="*/ 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3" y="0"/>
                  </a:moveTo>
                  <a:lnTo>
                    <a:pt x="5" y="0"/>
                  </a:lnTo>
                  <a:lnTo>
                    <a:pt x="5" y="4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8" name="Freeform 186"/>
            <p:cNvSpPr>
              <a:spLocks/>
            </p:cNvSpPr>
            <p:nvPr/>
          </p:nvSpPr>
          <p:spPr bwMode="auto">
            <a:xfrm>
              <a:off x="3663597" y="3108192"/>
              <a:ext cx="6092" cy="11132"/>
            </a:xfrm>
            <a:custGeom>
              <a:avLst/>
              <a:gdLst>
                <a:gd name="T0" fmla="*/ 1 w 5"/>
                <a:gd name="T1" fmla="*/ 0 h 10"/>
                <a:gd name="T2" fmla="*/ 1 w 5"/>
                <a:gd name="T3" fmla="*/ 0 h 10"/>
                <a:gd name="T4" fmla="*/ 1 w 5"/>
                <a:gd name="T5" fmla="*/ 1 h 10"/>
                <a:gd name="T6" fmla="*/ 1 w 5"/>
                <a:gd name="T7" fmla="*/ 2 h 10"/>
                <a:gd name="T8" fmla="*/ 1 w 5"/>
                <a:gd name="T9" fmla="*/ 2 h 10"/>
                <a:gd name="T10" fmla="*/ 0 w 5"/>
                <a:gd name="T11" fmla="*/ 1 h 10"/>
                <a:gd name="T12" fmla="*/ 0 w 5"/>
                <a:gd name="T13" fmla="*/ 0 h 10"/>
                <a:gd name="T14" fmla="*/ 1 w 5"/>
                <a:gd name="T15" fmla="*/ 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3" y="0"/>
                  </a:moveTo>
                  <a:lnTo>
                    <a:pt x="5" y="0"/>
                  </a:lnTo>
                  <a:lnTo>
                    <a:pt x="5" y="4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9" name="Freeform 187"/>
            <p:cNvSpPr>
              <a:spLocks/>
            </p:cNvSpPr>
            <p:nvPr/>
          </p:nvSpPr>
          <p:spPr bwMode="auto">
            <a:xfrm>
              <a:off x="3618916" y="3169419"/>
              <a:ext cx="18279" cy="11132"/>
            </a:xfrm>
            <a:custGeom>
              <a:avLst/>
              <a:gdLst>
                <a:gd name="T0" fmla="*/ 1 w 15"/>
                <a:gd name="T1" fmla="*/ 0 h 16"/>
                <a:gd name="T2" fmla="*/ 2 w 15"/>
                <a:gd name="T3" fmla="*/ 0 h 16"/>
                <a:gd name="T4" fmla="*/ 2 w 15"/>
                <a:gd name="T5" fmla="*/ 0 h 16"/>
                <a:gd name="T6" fmla="*/ 2 w 15"/>
                <a:gd name="T7" fmla="*/ 0 h 16"/>
                <a:gd name="T8" fmla="*/ 1 w 15"/>
                <a:gd name="T9" fmla="*/ 0 h 16"/>
                <a:gd name="T10" fmla="*/ 1 w 15"/>
                <a:gd name="T11" fmla="*/ 0 h 16"/>
                <a:gd name="T12" fmla="*/ 1 w 15"/>
                <a:gd name="T13" fmla="*/ 0 h 16"/>
                <a:gd name="T14" fmla="*/ 0 w 15"/>
                <a:gd name="T15" fmla="*/ 0 h 16"/>
                <a:gd name="T16" fmla="*/ 1 w 15"/>
                <a:gd name="T17" fmla="*/ 0 h 16"/>
                <a:gd name="T18" fmla="*/ 1 w 15"/>
                <a:gd name="T19" fmla="*/ 0 h 16"/>
                <a:gd name="T20" fmla="*/ 1 w 15"/>
                <a:gd name="T21" fmla="*/ 0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6"/>
                <a:gd name="T35" fmla="*/ 15 w 15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6">
                  <a:moveTo>
                    <a:pt x="7" y="0"/>
                  </a:moveTo>
                  <a:lnTo>
                    <a:pt x="12" y="0"/>
                  </a:lnTo>
                  <a:lnTo>
                    <a:pt x="13" y="1"/>
                  </a:lnTo>
                  <a:lnTo>
                    <a:pt x="15" y="7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1" y="4"/>
                  </a:lnTo>
                  <a:lnTo>
                    <a:pt x="3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0" name="Freeform 188"/>
            <p:cNvSpPr>
              <a:spLocks/>
            </p:cNvSpPr>
            <p:nvPr/>
          </p:nvSpPr>
          <p:spPr bwMode="auto">
            <a:xfrm>
              <a:off x="3618916" y="3169419"/>
              <a:ext cx="18279" cy="11132"/>
            </a:xfrm>
            <a:custGeom>
              <a:avLst/>
              <a:gdLst>
                <a:gd name="T0" fmla="*/ 1 w 15"/>
                <a:gd name="T1" fmla="*/ 0 h 16"/>
                <a:gd name="T2" fmla="*/ 2 w 15"/>
                <a:gd name="T3" fmla="*/ 0 h 16"/>
                <a:gd name="T4" fmla="*/ 2 w 15"/>
                <a:gd name="T5" fmla="*/ 0 h 16"/>
                <a:gd name="T6" fmla="*/ 2 w 15"/>
                <a:gd name="T7" fmla="*/ 0 h 16"/>
                <a:gd name="T8" fmla="*/ 1 w 15"/>
                <a:gd name="T9" fmla="*/ 0 h 16"/>
                <a:gd name="T10" fmla="*/ 1 w 15"/>
                <a:gd name="T11" fmla="*/ 0 h 16"/>
                <a:gd name="T12" fmla="*/ 1 w 15"/>
                <a:gd name="T13" fmla="*/ 0 h 16"/>
                <a:gd name="T14" fmla="*/ 0 w 15"/>
                <a:gd name="T15" fmla="*/ 0 h 16"/>
                <a:gd name="T16" fmla="*/ 1 w 15"/>
                <a:gd name="T17" fmla="*/ 0 h 16"/>
                <a:gd name="T18" fmla="*/ 1 w 15"/>
                <a:gd name="T19" fmla="*/ 0 h 16"/>
                <a:gd name="T20" fmla="*/ 1 w 15"/>
                <a:gd name="T21" fmla="*/ 0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6"/>
                <a:gd name="T35" fmla="*/ 15 w 15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6">
                  <a:moveTo>
                    <a:pt x="7" y="0"/>
                  </a:moveTo>
                  <a:lnTo>
                    <a:pt x="12" y="0"/>
                  </a:lnTo>
                  <a:lnTo>
                    <a:pt x="13" y="1"/>
                  </a:lnTo>
                  <a:lnTo>
                    <a:pt x="15" y="7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1" y="4"/>
                  </a:lnTo>
                  <a:lnTo>
                    <a:pt x="3" y="1"/>
                  </a:lnTo>
                  <a:lnTo>
                    <a:pt x="7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1" name="Freeform 189"/>
            <p:cNvSpPr>
              <a:spLocks/>
            </p:cNvSpPr>
            <p:nvPr/>
          </p:nvSpPr>
          <p:spPr bwMode="auto">
            <a:xfrm>
              <a:off x="5134053" y="2978317"/>
              <a:ext cx="434638" cy="421167"/>
            </a:xfrm>
            <a:custGeom>
              <a:avLst/>
              <a:gdLst>
                <a:gd name="T0" fmla="*/ 53 w 365"/>
                <a:gd name="T1" fmla="*/ 26 h 421"/>
                <a:gd name="T2" fmla="*/ 53 w 365"/>
                <a:gd name="T3" fmla="*/ 10 h 421"/>
                <a:gd name="T4" fmla="*/ 53 w 365"/>
                <a:gd name="T5" fmla="*/ 10 h 421"/>
                <a:gd name="T6" fmla="*/ 59 w 365"/>
                <a:gd name="T7" fmla="*/ 4 h 421"/>
                <a:gd name="T8" fmla="*/ 59 w 365"/>
                <a:gd name="T9" fmla="*/ 4 h 421"/>
                <a:gd name="T10" fmla="*/ 56 w 365"/>
                <a:gd name="T11" fmla="*/ 4 h 421"/>
                <a:gd name="T12" fmla="*/ 51 w 365"/>
                <a:gd name="T13" fmla="*/ 2 h 421"/>
                <a:gd name="T14" fmla="*/ 46 w 365"/>
                <a:gd name="T15" fmla="*/ 3 h 421"/>
                <a:gd name="T16" fmla="*/ 43 w 365"/>
                <a:gd name="T17" fmla="*/ 5 h 421"/>
                <a:gd name="T18" fmla="*/ 40 w 365"/>
                <a:gd name="T19" fmla="*/ 6 h 421"/>
                <a:gd name="T20" fmla="*/ 29 w 365"/>
                <a:gd name="T21" fmla="*/ 5 h 421"/>
                <a:gd name="T22" fmla="*/ 21 w 365"/>
                <a:gd name="T23" fmla="*/ 1 h 421"/>
                <a:gd name="T24" fmla="*/ 16 w 365"/>
                <a:gd name="T25" fmla="*/ 1 h 421"/>
                <a:gd name="T26" fmla="*/ 14 w 365"/>
                <a:gd name="T27" fmla="*/ 0 h 421"/>
                <a:gd name="T28" fmla="*/ 4 w 365"/>
                <a:gd name="T29" fmla="*/ 1 h 421"/>
                <a:gd name="T30" fmla="*/ 2 w 365"/>
                <a:gd name="T31" fmla="*/ 1 h 421"/>
                <a:gd name="T32" fmla="*/ 0 w 365"/>
                <a:gd name="T33" fmla="*/ 3 h 421"/>
                <a:gd name="T34" fmla="*/ 1 w 365"/>
                <a:gd name="T35" fmla="*/ 3 h 421"/>
                <a:gd name="T36" fmla="*/ 1 w 365"/>
                <a:gd name="T37" fmla="*/ 3 h 421"/>
                <a:gd name="T38" fmla="*/ 3 w 365"/>
                <a:gd name="T39" fmla="*/ 3 h 421"/>
                <a:gd name="T40" fmla="*/ 3 w 365"/>
                <a:gd name="T41" fmla="*/ 4 h 421"/>
                <a:gd name="T42" fmla="*/ 3 w 365"/>
                <a:gd name="T43" fmla="*/ 4 h 421"/>
                <a:gd name="T44" fmla="*/ 3 w 365"/>
                <a:gd name="T45" fmla="*/ 5 h 421"/>
                <a:gd name="T46" fmla="*/ 3 w 365"/>
                <a:gd name="T47" fmla="*/ 5 h 421"/>
                <a:gd name="T48" fmla="*/ 4 w 365"/>
                <a:gd name="T49" fmla="*/ 9 h 421"/>
                <a:gd name="T50" fmla="*/ 5 w 365"/>
                <a:gd name="T51" fmla="*/ 9 h 421"/>
                <a:gd name="T52" fmla="*/ 6 w 365"/>
                <a:gd name="T53" fmla="*/ 9 h 421"/>
                <a:gd name="T54" fmla="*/ 8 w 365"/>
                <a:gd name="T55" fmla="*/ 10 h 421"/>
                <a:gd name="T56" fmla="*/ 8 w 365"/>
                <a:gd name="T57" fmla="*/ 16 h 421"/>
                <a:gd name="T58" fmla="*/ 8 w 365"/>
                <a:gd name="T59" fmla="*/ 17 h 421"/>
                <a:gd name="T60" fmla="*/ 1 w 365"/>
                <a:gd name="T61" fmla="*/ 24 h 421"/>
                <a:gd name="T62" fmla="*/ 1 w 365"/>
                <a:gd name="T63" fmla="*/ 26 h 421"/>
                <a:gd name="T64" fmla="*/ 1 w 365"/>
                <a:gd name="T65" fmla="*/ 27 h 421"/>
                <a:gd name="T66" fmla="*/ 2 w 365"/>
                <a:gd name="T67" fmla="*/ 27 h 421"/>
                <a:gd name="T68" fmla="*/ 3 w 365"/>
                <a:gd name="T69" fmla="*/ 27 h 421"/>
                <a:gd name="T70" fmla="*/ 4 w 365"/>
                <a:gd name="T71" fmla="*/ 27 h 421"/>
                <a:gd name="T72" fmla="*/ 6 w 365"/>
                <a:gd name="T73" fmla="*/ 27 h 421"/>
                <a:gd name="T74" fmla="*/ 6 w 365"/>
                <a:gd name="T75" fmla="*/ 27 h 421"/>
                <a:gd name="T76" fmla="*/ 5 w 365"/>
                <a:gd name="T77" fmla="*/ 28 h 421"/>
                <a:gd name="T78" fmla="*/ 4 w 365"/>
                <a:gd name="T79" fmla="*/ 29 h 421"/>
                <a:gd name="T80" fmla="*/ 2 w 365"/>
                <a:gd name="T81" fmla="*/ 29 h 421"/>
                <a:gd name="T82" fmla="*/ 1 w 365"/>
                <a:gd name="T83" fmla="*/ 30 h 421"/>
                <a:gd name="T84" fmla="*/ 2 w 365"/>
                <a:gd name="T85" fmla="*/ 31 h 421"/>
                <a:gd name="T86" fmla="*/ 29 w 365"/>
                <a:gd name="T87" fmla="*/ 43 h 421"/>
                <a:gd name="T88" fmla="*/ 30 w 365"/>
                <a:gd name="T89" fmla="*/ 47 h 421"/>
                <a:gd name="T90" fmla="*/ 40 w 365"/>
                <a:gd name="T91" fmla="*/ 52 h 421"/>
                <a:gd name="T92" fmla="*/ 42 w 365"/>
                <a:gd name="T93" fmla="*/ 51 h 421"/>
                <a:gd name="T94" fmla="*/ 47 w 365"/>
                <a:gd name="T95" fmla="*/ 44 h 421"/>
                <a:gd name="T96" fmla="*/ 47 w 365"/>
                <a:gd name="T97" fmla="*/ 43 h 421"/>
                <a:gd name="T98" fmla="*/ 49 w 365"/>
                <a:gd name="T99" fmla="*/ 40 h 421"/>
                <a:gd name="T100" fmla="*/ 52 w 365"/>
                <a:gd name="T101" fmla="*/ 39 h 421"/>
                <a:gd name="T102" fmla="*/ 52 w 365"/>
                <a:gd name="T103" fmla="*/ 38 h 421"/>
                <a:gd name="T104" fmla="*/ 53 w 365"/>
                <a:gd name="T105" fmla="*/ 37 h 421"/>
                <a:gd name="T106" fmla="*/ 54 w 365"/>
                <a:gd name="T107" fmla="*/ 37 h 421"/>
                <a:gd name="T108" fmla="*/ 55 w 365"/>
                <a:gd name="T109" fmla="*/ 37 h 421"/>
                <a:gd name="T110" fmla="*/ 56 w 365"/>
                <a:gd name="T111" fmla="*/ 36 h 421"/>
                <a:gd name="T112" fmla="*/ 57 w 365"/>
                <a:gd name="T113" fmla="*/ 35 h 421"/>
                <a:gd name="T114" fmla="*/ 57 w 365"/>
                <a:gd name="T115" fmla="*/ 35 h 421"/>
                <a:gd name="T116" fmla="*/ 53 w 365"/>
                <a:gd name="T117" fmla="*/ 31 h 421"/>
                <a:gd name="T118" fmla="*/ 53 w 365"/>
                <a:gd name="T119" fmla="*/ 26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5"/>
                <a:gd name="T181" fmla="*/ 0 h 421"/>
                <a:gd name="T182" fmla="*/ 365 w 365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5" h="421">
                  <a:moveTo>
                    <a:pt x="324" y="215"/>
                  </a:moveTo>
                  <a:lnTo>
                    <a:pt x="324" y="82"/>
                  </a:lnTo>
                  <a:lnTo>
                    <a:pt x="327" y="80"/>
                  </a:lnTo>
                  <a:lnTo>
                    <a:pt x="364" y="35"/>
                  </a:lnTo>
                  <a:lnTo>
                    <a:pt x="365" y="31"/>
                  </a:lnTo>
                  <a:lnTo>
                    <a:pt x="341" y="31"/>
                  </a:lnTo>
                  <a:lnTo>
                    <a:pt x="314" y="18"/>
                  </a:lnTo>
                  <a:lnTo>
                    <a:pt x="281" y="26"/>
                  </a:lnTo>
                  <a:lnTo>
                    <a:pt x="269" y="39"/>
                  </a:lnTo>
                  <a:lnTo>
                    <a:pt x="249" y="50"/>
                  </a:lnTo>
                  <a:lnTo>
                    <a:pt x="180" y="38"/>
                  </a:lnTo>
                  <a:lnTo>
                    <a:pt x="124" y="3"/>
                  </a:lnTo>
                  <a:lnTo>
                    <a:pt x="98" y="3"/>
                  </a:lnTo>
                  <a:lnTo>
                    <a:pt x="87" y="0"/>
                  </a:lnTo>
                  <a:lnTo>
                    <a:pt x="24" y="1"/>
                  </a:lnTo>
                  <a:lnTo>
                    <a:pt x="14" y="6"/>
                  </a:lnTo>
                  <a:lnTo>
                    <a:pt x="0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16" y="28"/>
                  </a:lnTo>
                  <a:lnTo>
                    <a:pt x="17" y="30"/>
                  </a:lnTo>
                  <a:lnTo>
                    <a:pt x="17" y="36"/>
                  </a:lnTo>
                  <a:lnTo>
                    <a:pt x="18" y="37"/>
                  </a:lnTo>
                  <a:lnTo>
                    <a:pt x="20" y="39"/>
                  </a:lnTo>
                  <a:lnTo>
                    <a:pt x="26" y="67"/>
                  </a:lnTo>
                  <a:lnTo>
                    <a:pt x="30" y="71"/>
                  </a:lnTo>
                  <a:lnTo>
                    <a:pt x="40" y="77"/>
                  </a:lnTo>
                  <a:lnTo>
                    <a:pt x="46" y="84"/>
                  </a:lnTo>
                  <a:lnTo>
                    <a:pt x="48" y="129"/>
                  </a:lnTo>
                  <a:lnTo>
                    <a:pt x="46" y="141"/>
                  </a:lnTo>
                  <a:lnTo>
                    <a:pt x="3" y="199"/>
                  </a:lnTo>
                  <a:lnTo>
                    <a:pt x="2" y="212"/>
                  </a:lnTo>
                  <a:lnTo>
                    <a:pt x="9" y="219"/>
                  </a:lnTo>
                  <a:lnTo>
                    <a:pt x="11" y="226"/>
                  </a:lnTo>
                  <a:lnTo>
                    <a:pt x="17" y="225"/>
                  </a:lnTo>
                  <a:lnTo>
                    <a:pt x="22" y="222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29" y="229"/>
                  </a:lnTo>
                  <a:lnTo>
                    <a:pt x="22" y="235"/>
                  </a:lnTo>
                  <a:lnTo>
                    <a:pt x="14" y="235"/>
                  </a:lnTo>
                  <a:lnTo>
                    <a:pt x="6" y="246"/>
                  </a:lnTo>
                  <a:lnTo>
                    <a:pt x="14" y="253"/>
                  </a:lnTo>
                  <a:lnTo>
                    <a:pt x="174" y="347"/>
                  </a:lnTo>
                  <a:lnTo>
                    <a:pt x="184" y="382"/>
                  </a:lnTo>
                  <a:lnTo>
                    <a:pt x="248" y="421"/>
                  </a:lnTo>
                  <a:lnTo>
                    <a:pt x="256" y="416"/>
                  </a:lnTo>
                  <a:lnTo>
                    <a:pt x="287" y="358"/>
                  </a:lnTo>
                  <a:lnTo>
                    <a:pt x="290" y="345"/>
                  </a:lnTo>
                  <a:lnTo>
                    <a:pt x="300" y="328"/>
                  </a:lnTo>
                  <a:lnTo>
                    <a:pt x="317" y="319"/>
                  </a:lnTo>
                  <a:lnTo>
                    <a:pt x="319" y="309"/>
                  </a:lnTo>
                  <a:lnTo>
                    <a:pt x="325" y="302"/>
                  </a:lnTo>
                  <a:lnTo>
                    <a:pt x="331" y="300"/>
                  </a:lnTo>
                  <a:lnTo>
                    <a:pt x="338" y="299"/>
                  </a:lnTo>
                  <a:lnTo>
                    <a:pt x="347" y="289"/>
                  </a:lnTo>
                  <a:lnTo>
                    <a:pt x="349" y="285"/>
                  </a:lnTo>
                  <a:lnTo>
                    <a:pt x="349" y="281"/>
                  </a:lnTo>
                  <a:lnTo>
                    <a:pt x="324" y="250"/>
                  </a:lnTo>
                  <a:lnTo>
                    <a:pt x="324" y="21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2" name="Freeform 190"/>
            <p:cNvSpPr>
              <a:spLocks/>
            </p:cNvSpPr>
            <p:nvPr/>
          </p:nvSpPr>
          <p:spPr bwMode="auto">
            <a:xfrm>
              <a:off x="5134053" y="2978317"/>
              <a:ext cx="434638" cy="421167"/>
            </a:xfrm>
            <a:custGeom>
              <a:avLst/>
              <a:gdLst>
                <a:gd name="T0" fmla="*/ 53 w 365"/>
                <a:gd name="T1" fmla="*/ 26 h 421"/>
                <a:gd name="T2" fmla="*/ 53 w 365"/>
                <a:gd name="T3" fmla="*/ 10 h 421"/>
                <a:gd name="T4" fmla="*/ 53 w 365"/>
                <a:gd name="T5" fmla="*/ 10 h 421"/>
                <a:gd name="T6" fmla="*/ 59 w 365"/>
                <a:gd name="T7" fmla="*/ 4 h 421"/>
                <a:gd name="T8" fmla="*/ 59 w 365"/>
                <a:gd name="T9" fmla="*/ 4 h 421"/>
                <a:gd name="T10" fmla="*/ 56 w 365"/>
                <a:gd name="T11" fmla="*/ 4 h 421"/>
                <a:gd name="T12" fmla="*/ 51 w 365"/>
                <a:gd name="T13" fmla="*/ 2 h 421"/>
                <a:gd name="T14" fmla="*/ 46 w 365"/>
                <a:gd name="T15" fmla="*/ 3 h 421"/>
                <a:gd name="T16" fmla="*/ 43 w 365"/>
                <a:gd name="T17" fmla="*/ 5 h 421"/>
                <a:gd name="T18" fmla="*/ 40 w 365"/>
                <a:gd name="T19" fmla="*/ 6 h 421"/>
                <a:gd name="T20" fmla="*/ 29 w 365"/>
                <a:gd name="T21" fmla="*/ 5 h 421"/>
                <a:gd name="T22" fmla="*/ 21 w 365"/>
                <a:gd name="T23" fmla="*/ 1 h 421"/>
                <a:gd name="T24" fmla="*/ 16 w 365"/>
                <a:gd name="T25" fmla="*/ 1 h 421"/>
                <a:gd name="T26" fmla="*/ 14 w 365"/>
                <a:gd name="T27" fmla="*/ 0 h 421"/>
                <a:gd name="T28" fmla="*/ 4 w 365"/>
                <a:gd name="T29" fmla="*/ 1 h 421"/>
                <a:gd name="T30" fmla="*/ 2 w 365"/>
                <a:gd name="T31" fmla="*/ 1 h 421"/>
                <a:gd name="T32" fmla="*/ 0 w 365"/>
                <a:gd name="T33" fmla="*/ 3 h 421"/>
                <a:gd name="T34" fmla="*/ 1 w 365"/>
                <a:gd name="T35" fmla="*/ 3 h 421"/>
                <a:gd name="T36" fmla="*/ 1 w 365"/>
                <a:gd name="T37" fmla="*/ 3 h 421"/>
                <a:gd name="T38" fmla="*/ 3 w 365"/>
                <a:gd name="T39" fmla="*/ 3 h 421"/>
                <a:gd name="T40" fmla="*/ 3 w 365"/>
                <a:gd name="T41" fmla="*/ 4 h 421"/>
                <a:gd name="T42" fmla="*/ 3 w 365"/>
                <a:gd name="T43" fmla="*/ 4 h 421"/>
                <a:gd name="T44" fmla="*/ 3 w 365"/>
                <a:gd name="T45" fmla="*/ 5 h 421"/>
                <a:gd name="T46" fmla="*/ 3 w 365"/>
                <a:gd name="T47" fmla="*/ 5 h 421"/>
                <a:gd name="T48" fmla="*/ 4 w 365"/>
                <a:gd name="T49" fmla="*/ 9 h 421"/>
                <a:gd name="T50" fmla="*/ 5 w 365"/>
                <a:gd name="T51" fmla="*/ 9 h 421"/>
                <a:gd name="T52" fmla="*/ 6 w 365"/>
                <a:gd name="T53" fmla="*/ 9 h 421"/>
                <a:gd name="T54" fmla="*/ 8 w 365"/>
                <a:gd name="T55" fmla="*/ 10 h 421"/>
                <a:gd name="T56" fmla="*/ 8 w 365"/>
                <a:gd name="T57" fmla="*/ 16 h 421"/>
                <a:gd name="T58" fmla="*/ 8 w 365"/>
                <a:gd name="T59" fmla="*/ 17 h 421"/>
                <a:gd name="T60" fmla="*/ 1 w 365"/>
                <a:gd name="T61" fmla="*/ 24 h 421"/>
                <a:gd name="T62" fmla="*/ 1 w 365"/>
                <a:gd name="T63" fmla="*/ 26 h 421"/>
                <a:gd name="T64" fmla="*/ 1 w 365"/>
                <a:gd name="T65" fmla="*/ 27 h 421"/>
                <a:gd name="T66" fmla="*/ 2 w 365"/>
                <a:gd name="T67" fmla="*/ 27 h 421"/>
                <a:gd name="T68" fmla="*/ 3 w 365"/>
                <a:gd name="T69" fmla="*/ 27 h 421"/>
                <a:gd name="T70" fmla="*/ 4 w 365"/>
                <a:gd name="T71" fmla="*/ 27 h 421"/>
                <a:gd name="T72" fmla="*/ 6 w 365"/>
                <a:gd name="T73" fmla="*/ 27 h 421"/>
                <a:gd name="T74" fmla="*/ 6 w 365"/>
                <a:gd name="T75" fmla="*/ 27 h 421"/>
                <a:gd name="T76" fmla="*/ 5 w 365"/>
                <a:gd name="T77" fmla="*/ 28 h 421"/>
                <a:gd name="T78" fmla="*/ 4 w 365"/>
                <a:gd name="T79" fmla="*/ 29 h 421"/>
                <a:gd name="T80" fmla="*/ 2 w 365"/>
                <a:gd name="T81" fmla="*/ 29 h 421"/>
                <a:gd name="T82" fmla="*/ 1 w 365"/>
                <a:gd name="T83" fmla="*/ 30 h 421"/>
                <a:gd name="T84" fmla="*/ 2 w 365"/>
                <a:gd name="T85" fmla="*/ 31 h 421"/>
                <a:gd name="T86" fmla="*/ 29 w 365"/>
                <a:gd name="T87" fmla="*/ 43 h 421"/>
                <a:gd name="T88" fmla="*/ 30 w 365"/>
                <a:gd name="T89" fmla="*/ 47 h 421"/>
                <a:gd name="T90" fmla="*/ 40 w 365"/>
                <a:gd name="T91" fmla="*/ 52 h 421"/>
                <a:gd name="T92" fmla="*/ 42 w 365"/>
                <a:gd name="T93" fmla="*/ 51 h 421"/>
                <a:gd name="T94" fmla="*/ 47 w 365"/>
                <a:gd name="T95" fmla="*/ 44 h 421"/>
                <a:gd name="T96" fmla="*/ 47 w 365"/>
                <a:gd name="T97" fmla="*/ 43 h 421"/>
                <a:gd name="T98" fmla="*/ 49 w 365"/>
                <a:gd name="T99" fmla="*/ 40 h 421"/>
                <a:gd name="T100" fmla="*/ 52 w 365"/>
                <a:gd name="T101" fmla="*/ 39 h 421"/>
                <a:gd name="T102" fmla="*/ 52 w 365"/>
                <a:gd name="T103" fmla="*/ 38 h 421"/>
                <a:gd name="T104" fmla="*/ 53 w 365"/>
                <a:gd name="T105" fmla="*/ 37 h 421"/>
                <a:gd name="T106" fmla="*/ 54 w 365"/>
                <a:gd name="T107" fmla="*/ 37 h 421"/>
                <a:gd name="T108" fmla="*/ 55 w 365"/>
                <a:gd name="T109" fmla="*/ 37 h 421"/>
                <a:gd name="T110" fmla="*/ 56 w 365"/>
                <a:gd name="T111" fmla="*/ 36 h 421"/>
                <a:gd name="T112" fmla="*/ 57 w 365"/>
                <a:gd name="T113" fmla="*/ 35 h 421"/>
                <a:gd name="T114" fmla="*/ 57 w 365"/>
                <a:gd name="T115" fmla="*/ 35 h 421"/>
                <a:gd name="T116" fmla="*/ 53 w 365"/>
                <a:gd name="T117" fmla="*/ 31 h 421"/>
                <a:gd name="T118" fmla="*/ 53 w 365"/>
                <a:gd name="T119" fmla="*/ 26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5"/>
                <a:gd name="T181" fmla="*/ 0 h 421"/>
                <a:gd name="T182" fmla="*/ 365 w 365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5" h="421">
                  <a:moveTo>
                    <a:pt x="324" y="215"/>
                  </a:moveTo>
                  <a:lnTo>
                    <a:pt x="324" y="82"/>
                  </a:lnTo>
                  <a:lnTo>
                    <a:pt x="327" y="80"/>
                  </a:lnTo>
                  <a:lnTo>
                    <a:pt x="364" y="35"/>
                  </a:lnTo>
                  <a:lnTo>
                    <a:pt x="365" y="31"/>
                  </a:lnTo>
                  <a:lnTo>
                    <a:pt x="341" y="31"/>
                  </a:lnTo>
                  <a:lnTo>
                    <a:pt x="314" y="18"/>
                  </a:lnTo>
                  <a:lnTo>
                    <a:pt x="281" y="26"/>
                  </a:lnTo>
                  <a:lnTo>
                    <a:pt x="269" y="39"/>
                  </a:lnTo>
                  <a:lnTo>
                    <a:pt x="249" y="50"/>
                  </a:lnTo>
                  <a:lnTo>
                    <a:pt x="180" y="38"/>
                  </a:lnTo>
                  <a:lnTo>
                    <a:pt x="124" y="3"/>
                  </a:lnTo>
                  <a:lnTo>
                    <a:pt x="98" y="3"/>
                  </a:lnTo>
                  <a:lnTo>
                    <a:pt x="87" y="0"/>
                  </a:lnTo>
                  <a:lnTo>
                    <a:pt x="24" y="1"/>
                  </a:lnTo>
                  <a:lnTo>
                    <a:pt x="14" y="6"/>
                  </a:lnTo>
                  <a:lnTo>
                    <a:pt x="0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16" y="28"/>
                  </a:lnTo>
                  <a:lnTo>
                    <a:pt x="17" y="30"/>
                  </a:lnTo>
                  <a:lnTo>
                    <a:pt x="17" y="36"/>
                  </a:lnTo>
                  <a:lnTo>
                    <a:pt x="18" y="37"/>
                  </a:lnTo>
                  <a:lnTo>
                    <a:pt x="20" y="39"/>
                  </a:lnTo>
                  <a:lnTo>
                    <a:pt x="26" y="67"/>
                  </a:lnTo>
                  <a:lnTo>
                    <a:pt x="30" y="71"/>
                  </a:lnTo>
                  <a:lnTo>
                    <a:pt x="40" y="77"/>
                  </a:lnTo>
                  <a:lnTo>
                    <a:pt x="46" y="84"/>
                  </a:lnTo>
                  <a:lnTo>
                    <a:pt x="48" y="129"/>
                  </a:lnTo>
                  <a:lnTo>
                    <a:pt x="46" y="141"/>
                  </a:lnTo>
                  <a:lnTo>
                    <a:pt x="3" y="199"/>
                  </a:lnTo>
                  <a:lnTo>
                    <a:pt x="2" y="212"/>
                  </a:lnTo>
                  <a:lnTo>
                    <a:pt x="9" y="219"/>
                  </a:lnTo>
                  <a:lnTo>
                    <a:pt x="11" y="226"/>
                  </a:lnTo>
                  <a:lnTo>
                    <a:pt x="17" y="225"/>
                  </a:lnTo>
                  <a:lnTo>
                    <a:pt x="22" y="222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29" y="229"/>
                  </a:lnTo>
                  <a:lnTo>
                    <a:pt x="22" y="235"/>
                  </a:lnTo>
                  <a:lnTo>
                    <a:pt x="14" y="235"/>
                  </a:lnTo>
                  <a:lnTo>
                    <a:pt x="6" y="246"/>
                  </a:lnTo>
                  <a:lnTo>
                    <a:pt x="14" y="253"/>
                  </a:lnTo>
                  <a:lnTo>
                    <a:pt x="174" y="347"/>
                  </a:lnTo>
                  <a:lnTo>
                    <a:pt x="184" y="382"/>
                  </a:lnTo>
                  <a:lnTo>
                    <a:pt x="248" y="421"/>
                  </a:lnTo>
                  <a:lnTo>
                    <a:pt x="256" y="416"/>
                  </a:lnTo>
                  <a:lnTo>
                    <a:pt x="287" y="358"/>
                  </a:lnTo>
                  <a:lnTo>
                    <a:pt x="290" y="345"/>
                  </a:lnTo>
                  <a:lnTo>
                    <a:pt x="300" y="328"/>
                  </a:lnTo>
                  <a:lnTo>
                    <a:pt x="317" y="319"/>
                  </a:lnTo>
                  <a:lnTo>
                    <a:pt x="319" y="309"/>
                  </a:lnTo>
                  <a:lnTo>
                    <a:pt x="325" y="302"/>
                  </a:lnTo>
                  <a:lnTo>
                    <a:pt x="331" y="300"/>
                  </a:lnTo>
                  <a:lnTo>
                    <a:pt x="338" y="299"/>
                  </a:lnTo>
                  <a:lnTo>
                    <a:pt x="347" y="289"/>
                  </a:lnTo>
                  <a:lnTo>
                    <a:pt x="349" y="285"/>
                  </a:lnTo>
                  <a:lnTo>
                    <a:pt x="349" y="281"/>
                  </a:lnTo>
                  <a:lnTo>
                    <a:pt x="324" y="250"/>
                  </a:lnTo>
                  <a:lnTo>
                    <a:pt x="324" y="215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3" name="Freeform 191"/>
            <p:cNvSpPr>
              <a:spLocks/>
            </p:cNvSpPr>
            <p:nvPr/>
          </p:nvSpPr>
          <p:spPr bwMode="auto">
            <a:xfrm>
              <a:off x="5560567" y="2410576"/>
              <a:ext cx="8124" cy="9277"/>
            </a:xfrm>
            <a:custGeom>
              <a:avLst/>
              <a:gdLst>
                <a:gd name="T0" fmla="*/ 0 w 9"/>
                <a:gd name="T1" fmla="*/ 1 h 9"/>
                <a:gd name="T2" fmla="*/ 0 w 9"/>
                <a:gd name="T3" fmla="*/ 1 h 9"/>
                <a:gd name="T4" fmla="*/ 0 w 9"/>
                <a:gd name="T5" fmla="*/ 1 h 9"/>
                <a:gd name="T6" fmla="*/ 0 w 9"/>
                <a:gd name="T7" fmla="*/ 1 h 9"/>
                <a:gd name="T8" fmla="*/ 0 w 9"/>
                <a:gd name="T9" fmla="*/ 1 h 9"/>
                <a:gd name="T10" fmla="*/ 0 w 9"/>
                <a:gd name="T11" fmla="*/ 0 h 9"/>
                <a:gd name="T12" fmla="*/ 0 w 9"/>
                <a:gd name="T13" fmla="*/ 1 h 9"/>
                <a:gd name="T14" fmla="*/ 0 w 9"/>
                <a:gd name="T15" fmla="*/ 1 h 9"/>
                <a:gd name="T16" fmla="*/ 0 w 9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7" y="9"/>
                  </a:moveTo>
                  <a:lnTo>
                    <a:pt x="9" y="9"/>
                  </a:lnTo>
                  <a:lnTo>
                    <a:pt x="9" y="8"/>
                  </a:lnTo>
                  <a:lnTo>
                    <a:pt x="5" y="6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9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4" name="Freeform 192"/>
            <p:cNvSpPr>
              <a:spLocks/>
            </p:cNvSpPr>
            <p:nvPr/>
          </p:nvSpPr>
          <p:spPr bwMode="auto">
            <a:xfrm>
              <a:off x="5560567" y="2410576"/>
              <a:ext cx="8124" cy="9277"/>
            </a:xfrm>
            <a:custGeom>
              <a:avLst/>
              <a:gdLst>
                <a:gd name="T0" fmla="*/ 0 w 9"/>
                <a:gd name="T1" fmla="*/ 1 h 9"/>
                <a:gd name="T2" fmla="*/ 0 w 9"/>
                <a:gd name="T3" fmla="*/ 1 h 9"/>
                <a:gd name="T4" fmla="*/ 0 w 9"/>
                <a:gd name="T5" fmla="*/ 1 h 9"/>
                <a:gd name="T6" fmla="*/ 0 w 9"/>
                <a:gd name="T7" fmla="*/ 1 h 9"/>
                <a:gd name="T8" fmla="*/ 0 w 9"/>
                <a:gd name="T9" fmla="*/ 1 h 9"/>
                <a:gd name="T10" fmla="*/ 0 w 9"/>
                <a:gd name="T11" fmla="*/ 0 h 9"/>
                <a:gd name="T12" fmla="*/ 0 w 9"/>
                <a:gd name="T13" fmla="*/ 1 h 9"/>
                <a:gd name="T14" fmla="*/ 0 w 9"/>
                <a:gd name="T15" fmla="*/ 1 h 9"/>
                <a:gd name="T16" fmla="*/ 0 w 9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7" y="9"/>
                  </a:moveTo>
                  <a:lnTo>
                    <a:pt x="9" y="9"/>
                  </a:lnTo>
                  <a:lnTo>
                    <a:pt x="9" y="8"/>
                  </a:lnTo>
                  <a:lnTo>
                    <a:pt x="5" y="6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9"/>
                  </a:lnTo>
                  <a:lnTo>
                    <a:pt x="7" y="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5" name="Freeform 193"/>
            <p:cNvSpPr>
              <a:spLocks/>
            </p:cNvSpPr>
            <p:nvPr/>
          </p:nvSpPr>
          <p:spPr bwMode="auto">
            <a:xfrm>
              <a:off x="5562597" y="2406866"/>
              <a:ext cx="6092" cy="927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1 h 8"/>
                <a:gd name="T6" fmla="*/ 0 w 7"/>
                <a:gd name="T7" fmla="*/ 1 h 8"/>
                <a:gd name="T8" fmla="*/ 0 w 7"/>
                <a:gd name="T9" fmla="*/ 2 h 8"/>
                <a:gd name="T10" fmla="*/ 0 w 7"/>
                <a:gd name="T11" fmla="*/ 2 h 8"/>
                <a:gd name="T12" fmla="*/ 0 w 7"/>
                <a:gd name="T13" fmla="*/ 2 h 8"/>
                <a:gd name="T14" fmla="*/ 0 w 7"/>
                <a:gd name="T15" fmla="*/ 2 h 8"/>
                <a:gd name="T16" fmla="*/ 0 w 7"/>
                <a:gd name="T17" fmla="*/ 1 h 8"/>
                <a:gd name="T18" fmla="*/ 0 w 7"/>
                <a:gd name="T19" fmla="*/ 1 h 8"/>
                <a:gd name="T20" fmla="*/ 0 w 7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8"/>
                <a:gd name="T35" fmla="*/ 7 w 7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8">
                  <a:moveTo>
                    <a:pt x="1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2" y="4"/>
                  </a:lnTo>
                  <a:lnTo>
                    <a:pt x="3" y="7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5" y="5"/>
                  </a:lnTo>
                  <a:lnTo>
                    <a:pt x="5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6" name="Freeform 194"/>
            <p:cNvSpPr>
              <a:spLocks/>
            </p:cNvSpPr>
            <p:nvPr/>
          </p:nvSpPr>
          <p:spPr bwMode="auto">
            <a:xfrm>
              <a:off x="5562597" y="2406866"/>
              <a:ext cx="6092" cy="927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1 h 8"/>
                <a:gd name="T6" fmla="*/ 0 w 7"/>
                <a:gd name="T7" fmla="*/ 1 h 8"/>
                <a:gd name="T8" fmla="*/ 0 w 7"/>
                <a:gd name="T9" fmla="*/ 2 h 8"/>
                <a:gd name="T10" fmla="*/ 0 w 7"/>
                <a:gd name="T11" fmla="*/ 2 h 8"/>
                <a:gd name="T12" fmla="*/ 0 w 7"/>
                <a:gd name="T13" fmla="*/ 2 h 8"/>
                <a:gd name="T14" fmla="*/ 0 w 7"/>
                <a:gd name="T15" fmla="*/ 2 h 8"/>
                <a:gd name="T16" fmla="*/ 0 w 7"/>
                <a:gd name="T17" fmla="*/ 1 h 8"/>
                <a:gd name="T18" fmla="*/ 0 w 7"/>
                <a:gd name="T19" fmla="*/ 1 h 8"/>
                <a:gd name="T20" fmla="*/ 0 w 7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8"/>
                <a:gd name="T35" fmla="*/ 7 w 7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8">
                  <a:moveTo>
                    <a:pt x="1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2" y="4"/>
                  </a:lnTo>
                  <a:lnTo>
                    <a:pt x="3" y="7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5" y="5"/>
                  </a:lnTo>
                  <a:lnTo>
                    <a:pt x="5" y="1"/>
                  </a:lnTo>
                  <a:lnTo>
                    <a:pt x="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7" name="Freeform 195"/>
            <p:cNvSpPr>
              <a:spLocks/>
            </p:cNvSpPr>
            <p:nvPr/>
          </p:nvSpPr>
          <p:spPr bwMode="auto">
            <a:xfrm>
              <a:off x="5570721" y="2416142"/>
              <a:ext cx="8124" cy="5567"/>
            </a:xfrm>
            <a:custGeom>
              <a:avLst/>
              <a:gdLst>
                <a:gd name="T0" fmla="*/ 2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1 w 5"/>
                <a:gd name="T9" fmla="*/ 0 h 8"/>
                <a:gd name="T10" fmla="*/ 0 w 5"/>
                <a:gd name="T11" fmla="*/ 0 h 8"/>
                <a:gd name="T12" fmla="*/ 2 w 5"/>
                <a:gd name="T13" fmla="*/ 0 h 8"/>
                <a:gd name="T14" fmla="*/ 2 w 5"/>
                <a:gd name="T15" fmla="*/ 0 h 8"/>
                <a:gd name="T16" fmla="*/ 2 w 5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4" y="8"/>
                  </a:moveTo>
                  <a:lnTo>
                    <a:pt x="5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8" name="Freeform 196"/>
            <p:cNvSpPr>
              <a:spLocks/>
            </p:cNvSpPr>
            <p:nvPr/>
          </p:nvSpPr>
          <p:spPr bwMode="auto">
            <a:xfrm>
              <a:off x="5570721" y="2416142"/>
              <a:ext cx="8124" cy="5567"/>
            </a:xfrm>
            <a:custGeom>
              <a:avLst/>
              <a:gdLst>
                <a:gd name="T0" fmla="*/ 2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1 w 5"/>
                <a:gd name="T9" fmla="*/ 0 h 8"/>
                <a:gd name="T10" fmla="*/ 0 w 5"/>
                <a:gd name="T11" fmla="*/ 0 h 8"/>
                <a:gd name="T12" fmla="*/ 2 w 5"/>
                <a:gd name="T13" fmla="*/ 0 h 8"/>
                <a:gd name="T14" fmla="*/ 2 w 5"/>
                <a:gd name="T15" fmla="*/ 0 h 8"/>
                <a:gd name="T16" fmla="*/ 2 w 5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4" y="8"/>
                  </a:moveTo>
                  <a:lnTo>
                    <a:pt x="5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4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9" name="Freeform 197"/>
            <p:cNvSpPr>
              <a:spLocks/>
            </p:cNvSpPr>
            <p:nvPr/>
          </p:nvSpPr>
          <p:spPr bwMode="auto">
            <a:xfrm>
              <a:off x="5215294" y="1353019"/>
              <a:ext cx="387924" cy="283871"/>
            </a:xfrm>
            <a:custGeom>
              <a:avLst/>
              <a:gdLst>
                <a:gd name="T0" fmla="*/ 43 w 323"/>
                <a:gd name="T1" fmla="*/ 21 h 280"/>
                <a:gd name="T2" fmla="*/ 46 w 323"/>
                <a:gd name="T3" fmla="*/ 7 h 280"/>
                <a:gd name="T4" fmla="*/ 53 w 323"/>
                <a:gd name="T5" fmla="*/ 2 h 280"/>
                <a:gd name="T6" fmla="*/ 53 w 323"/>
                <a:gd name="T7" fmla="*/ 1 h 280"/>
                <a:gd name="T8" fmla="*/ 53 w 323"/>
                <a:gd name="T9" fmla="*/ 1 h 280"/>
                <a:gd name="T10" fmla="*/ 52 w 323"/>
                <a:gd name="T11" fmla="*/ 0 h 280"/>
                <a:gd name="T12" fmla="*/ 48 w 323"/>
                <a:gd name="T13" fmla="*/ 2 h 280"/>
                <a:gd name="T14" fmla="*/ 43 w 323"/>
                <a:gd name="T15" fmla="*/ 1 h 280"/>
                <a:gd name="T16" fmla="*/ 36 w 323"/>
                <a:gd name="T17" fmla="*/ 3 h 280"/>
                <a:gd name="T18" fmla="*/ 34 w 323"/>
                <a:gd name="T19" fmla="*/ 4 h 280"/>
                <a:gd name="T20" fmla="*/ 25 w 323"/>
                <a:gd name="T21" fmla="*/ 4 h 280"/>
                <a:gd name="T22" fmla="*/ 22 w 323"/>
                <a:gd name="T23" fmla="*/ 3 h 280"/>
                <a:gd name="T24" fmla="*/ 17 w 323"/>
                <a:gd name="T25" fmla="*/ 4 h 280"/>
                <a:gd name="T26" fmla="*/ 14 w 323"/>
                <a:gd name="T27" fmla="*/ 5 h 280"/>
                <a:gd name="T28" fmla="*/ 12 w 323"/>
                <a:gd name="T29" fmla="*/ 5 h 280"/>
                <a:gd name="T30" fmla="*/ 12 w 323"/>
                <a:gd name="T31" fmla="*/ 4 h 280"/>
                <a:gd name="T32" fmla="*/ 11 w 323"/>
                <a:gd name="T33" fmla="*/ 4 h 280"/>
                <a:gd name="T34" fmla="*/ 9 w 323"/>
                <a:gd name="T35" fmla="*/ 5 h 280"/>
                <a:gd name="T36" fmla="*/ 9 w 323"/>
                <a:gd name="T37" fmla="*/ 5 h 280"/>
                <a:gd name="T38" fmla="*/ 9 w 323"/>
                <a:gd name="T39" fmla="*/ 8 h 280"/>
                <a:gd name="T40" fmla="*/ 9 w 323"/>
                <a:gd name="T41" fmla="*/ 8 h 280"/>
                <a:gd name="T42" fmla="*/ 7 w 323"/>
                <a:gd name="T43" fmla="*/ 8 h 280"/>
                <a:gd name="T44" fmla="*/ 7 w 323"/>
                <a:gd name="T45" fmla="*/ 10 h 280"/>
                <a:gd name="T46" fmla="*/ 5 w 323"/>
                <a:gd name="T47" fmla="*/ 11 h 280"/>
                <a:gd name="T48" fmla="*/ 4 w 323"/>
                <a:gd name="T49" fmla="*/ 10 h 280"/>
                <a:gd name="T50" fmla="*/ 4 w 323"/>
                <a:gd name="T51" fmla="*/ 11 h 280"/>
                <a:gd name="T52" fmla="*/ 3 w 323"/>
                <a:gd name="T53" fmla="*/ 13 h 280"/>
                <a:gd name="T54" fmla="*/ 4 w 323"/>
                <a:gd name="T55" fmla="*/ 17 h 280"/>
                <a:gd name="T56" fmla="*/ 4 w 323"/>
                <a:gd name="T57" fmla="*/ 19 h 280"/>
                <a:gd name="T58" fmla="*/ 7 w 323"/>
                <a:gd name="T59" fmla="*/ 19 h 280"/>
                <a:gd name="T60" fmla="*/ 7 w 323"/>
                <a:gd name="T61" fmla="*/ 19 h 280"/>
                <a:gd name="T62" fmla="*/ 8 w 323"/>
                <a:gd name="T63" fmla="*/ 19 h 280"/>
                <a:gd name="T64" fmla="*/ 8 w 323"/>
                <a:gd name="T65" fmla="*/ 20 h 280"/>
                <a:gd name="T66" fmla="*/ 7 w 323"/>
                <a:gd name="T67" fmla="*/ 20 h 280"/>
                <a:gd name="T68" fmla="*/ 8 w 323"/>
                <a:gd name="T69" fmla="*/ 20 h 280"/>
                <a:gd name="T70" fmla="*/ 9 w 323"/>
                <a:gd name="T71" fmla="*/ 21 h 280"/>
                <a:gd name="T72" fmla="*/ 9 w 323"/>
                <a:gd name="T73" fmla="*/ 22 h 280"/>
                <a:gd name="T74" fmla="*/ 9 w 323"/>
                <a:gd name="T75" fmla="*/ 22 h 280"/>
                <a:gd name="T76" fmla="*/ 9 w 323"/>
                <a:gd name="T77" fmla="*/ 23 h 280"/>
                <a:gd name="T78" fmla="*/ 8 w 323"/>
                <a:gd name="T79" fmla="*/ 23 h 280"/>
                <a:gd name="T80" fmla="*/ 7 w 323"/>
                <a:gd name="T81" fmla="*/ 24 h 280"/>
                <a:gd name="T82" fmla="*/ 7 w 323"/>
                <a:gd name="T83" fmla="*/ 25 h 280"/>
                <a:gd name="T84" fmla="*/ 7 w 323"/>
                <a:gd name="T85" fmla="*/ 25 h 280"/>
                <a:gd name="T86" fmla="*/ 7 w 323"/>
                <a:gd name="T87" fmla="*/ 25 h 280"/>
                <a:gd name="T88" fmla="*/ 5 w 323"/>
                <a:gd name="T89" fmla="*/ 25 h 280"/>
                <a:gd name="T90" fmla="*/ 4 w 323"/>
                <a:gd name="T91" fmla="*/ 26 h 280"/>
                <a:gd name="T92" fmla="*/ 4 w 323"/>
                <a:gd name="T93" fmla="*/ 27 h 280"/>
                <a:gd name="T94" fmla="*/ 4 w 323"/>
                <a:gd name="T95" fmla="*/ 27 h 280"/>
                <a:gd name="T96" fmla="*/ 3 w 323"/>
                <a:gd name="T97" fmla="*/ 28 h 280"/>
                <a:gd name="T98" fmla="*/ 2 w 323"/>
                <a:gd name="T99" fmla="*/ 29 h 280"/>
                <a:gd name="T100" fmla="*/ 1 w 323"/>
                <a:gd name="T101" fmla="*/ 31 h 280"/>
                <a:gd name="T102" fmla="*/ 1 w 323"/>
                <a:gd name="T103" fmla="*/ 31 h 280"/>
                <a:gd name="T104" fmla="*/ 1 w 323"/>
                <a:gd name="T105" fmla="*/ 33 h 280"/>
                <a:gd name="T106" fmla="*/ 2 w 323"/>
                <a:gd name="T107" fmla="*/ 33 h 280"/>
                <a:gd name="T108" fmla="*/ 3 w 323"/>
                <a:gd name="T109" fmla="*/ 34 h 280"/>
                <a:gd name="T110" fmla="*/ 8 w 323"/>
                <a:gd name="T111" fmla="*/ 36 h 280"/>
                <a:gd name="T112" fmla="*/ 26 w 323"/>
                <a:gd name="T113" fmla="*/ 29 h 28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3"/>
                <a:gd name="T172" fmla="*/ 0 h 280"/>
                <a:gd name="T173" fmla="*/ 323 w 323"/>
                <a:gd name="T174" fmla="*/ 280 h 28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3" h="280">
                  <a:moveTo>
                    <a:pt x="153" y="223"/>
                  </a:moveTo>
                  <a:lnTo>
                    <a:pt x="256" y="162"/>
                  </a:lnTo>
                  <a:lnTo>
                    <a:pt x="265" y="140"/>
                  </a:lnTo>
                  <a:lnTo>
                    <a:pt x="270" y="51"/>
                  </a:lnTo>
                  <a:lnTo>
                    <a:pt x="296" y="41"/>
                  </a:lnTo>
                  <a:lnTo>
                    <a:pt x="311" y="16"/>
                  </a:lnTo>
                  <a:lnTo>
                    <a:pt x="323" y="9"/>
                  </a:lnTo>
                  <a:lnTo>
                    <a:pt x="316" y="9"/>
                  </a:lnTo>
                  <a:lnTo>
                    <a:pt x="316" y="7"/>
                  </a:lnTo>
                  <a:lnTo>
                    <a:pt x="316" y="3"/>
                  </a:lnTo>
                  <a:lnTo>
                    <a:pt x="312" y="2"/>
                  </a:lnTo>
                  <a:lnTo>
                    <a:pt x="310" y="0"/>
                  </a:lnTo>
                  <a:lnTo>
                    <a:pt x="304" y="6"/>
                  </a:lnTo>
                  <a:lnTo>
                    <a:pt x="289" y="11"/>
                  </a:lnTo>
                  <a:lnTo>
                    <a:pt x="258" y="13"/>
                  </a:lnTo>
                  <a:lnTo>
                    <a:pt x="251" y="10"/>
                  </a:lnTo>
                  <a:lnTo>
                    <a:pt x="231" y="14"/>
                  </a:lnTo>
                  <a:lnTo>
                    <a:pt x="215" y="24"/>
                  </a:lnTo>
                  <a:lnTo>
                    <a:pt x="205" y="27"/>
                  </a:lnTo>
                  <a:lnTo>
                    <a:pt x="200" y="31"/>
                  </a:lnTo>
                  <a:lnTo>
                    <a:pt x="173" y="37"/>
                  </a:lnTo>
                  <a:lnTo>
                    <a:pt x="150" y="33"/>
                  </a:lnTo>
                  <a:lnTo>
                    <a:pt x="141" y="24"/>
                  </a:lnTo>
                  <a:lnTo>
                    <a:pt x="135" y="22"/>
                  </a:lnTo>
                  <a:lnTo>
                    <a:pt x="123" y="23"/>
                  </a:lnTo>
                  <a:lnTo>
                    <a:pt x="97" y="35"/>
                  </a:lnTo>
                  <a:lnTo>
                    <a:pt x="93" y="38"/>
                  </a:lnTo>
                  <a:lnTo>
                    <a:pt x="81" y="36"/>
                  </a:lnTo>
                  <a:lnTo>
                    <a:pt x="75" y="38"/>
                  </a:lnTo>
                  <a:lnTo>
                    <a:pt x="74" y="36"/>
                  </a:lnTo>
                  <a:lnTo>
                    <a:pt x="73" y="34"/>
                  </a:lnTo>
                  <a:lnTo>
                    <a:pt x="73" y="33"/>
                  </a:lnTo>
                  <a:lnTo>
                    <a:pt x="69" y="30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36"/>
                  </a:lnTo>
                  <a:lnTo>
                    <a:pt x="52" y="37"/>
                  </a:lnTo>
                  <a:lnTo>
                    <a:pt x="52" y="41"/>
                  </a:lnTo>
                  <a:lnTo>
                    <a:pt x="50" y="48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6" y="62"/>
                  </a:lnTo>
                  <a:lnTo>
                    <a:pt x="49" y="62"/>
                  </a:lnTo>
                  <a:lnTo>
                    <a:pt x="43" y="64"/>
                  </a:lnTo>
                  <a:lnTo>
                    <a:pt x="42" y="74"/>
                  </a:lnTo>
                  <a:lnTo>
                    <a:pt x="38" y="78"/>
                  </a:lnTo>
                  <a:lnTo>
                    <a:pt x="34" y="79"/>
                  </a:lnTo>
                  <a:lnTo>
                    <a:pt x="32" y="84"/>
                  </a:lnTo>
                  <a:lnTo>
                    <a:pt x="26" y="81"/>
                  </a:lnTo>
                  <a:lnTo>
                    <a:pt x="25" y="77"/>
                  </a:lnTo>
                  <a:lnTo>
                    <a:pt x="22" y="77"/>
                  </a:lnTo>
                  <a:lnTo>
                    <a:pt x="22" y="87"/>
                  </a:lnTo>
                  <a:lnTo>
                    <a:pt x="18" y="99"/>
                  </a:lnTo>
                  <a:lnTo>
                    <a:pt x="20" y="102"/>
                  </a:lnTo>
                  <a:lnTo>
                    <a:pt x="24" y="113"/>
                  </a:lnTo>
                  <a:lnTo>
                    <a:pt x="24" y="129"/>
                  </a:lnTo>
                  <a:lnTo>
                    <a:pt x="22" y="139"/>
                  </a:lnTo>
                  <a:lnTo>
                    <a:pt x="24" y="148"/>
                  </a:lnTo>
                  <a:lnTo>
                    <a:pt x="39" y="148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4" y="148"/>
                  </a:lnTo>
                  <a:lnTo>
                    <a:pt x="48" y="148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3" y="155"/>
                  </a:lnTo>
                  <a:lnTo>
                    <a:pt x="43" y="156"/>
                  </a:lnTo>
                  <a:lnTo>
                    <a:pt x="47" y="156"/>
                  </a:lnTo>
                  <a:lnTo>
                    <a:pt x="48" y="161"/>
                  </a:lnTo>
                  <a:lnTo>
                    <a:pt x="53" y="162"/>
                  </a:lnTo>
                  <a:lnTo>
                    <a:pt x="52" y="166"/>
                  </a:lnTo>
                  <a:lnTo>
                    <a:pt x="55" y="169"/>
                  </a:lnTo>
                  <a:lnTo>
                    <a:pt x="54" y="173"/>
                  </a:lnTo>
                  <a:lnTo>
                    <a:pt x="56" y="174"/>
                  </a:lnTo>
                  <a:lnTo>
                    <a:pt x="54" y="176"/>
                  </a:lnTo>
                  <a:lnTo>
                    <a:pt x="53" y="180"/>
                  </a:lnTo>
                  <a:lnTo>
                    <a:pt x="51" y="180"/>
                  </a:lnTo>
                  <a:lnTo>
                    <a:pt x="46" y="183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0" y="189"/>
                  </a:lnTo>
                  <a:lnTo>
                    <a:pt x="39" y="192"/>
                  </a:lnTo>
                  <a:lnTo>
                    <a:pt x="43" y="194"/>
                  </a:lnTo>
                  <a:lnTo>
                    <a:pt x="44" y="196"/>
                  </a:lnTo>
                  <a:lnTo>
                    <a:pt x="44" y="197"/>
                  </a:lnTo>
                  <a:lnTo>
                    <a:pt x="42" y="197"/>
                  </a:lnTo>
                  <a:lnTo>
                    <a:pt x="39" y="196"/>
                  </a:lnTo>
                  <a:lnTo>
                    <a:pt x="27" y="197"/>
                  </a:lnTo>
                  <a:lnTo>
                    <a:pt x="26" y="201"/>
                  </a:lnTo>
                  <a:lnTo>
                    <a:pt x="24" y="202"/>
                  </a:lnTo>
                  <a:lnTo>
                    <a:pt x="22" y="207"/>
                  </a:lnTo>
                  <a:lnTo>
                    <a:pt x="22" y="208"/>
                  </a:lnTo>
                  <a:lnTo>
                    <a:pt x="26" y="209"/>
                  </a:lnTo>
                  <a:lnTo>
                    <a:pt x="26" y="213"/>
                  </a:lnTo>
                  <a:lnTo>
                    <a:pt x="24" y="213"/>
                  </a:lnTo>
                  <a:lnTo>
                    <a:pt x="16" y="221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5" y="230"/>
                  </a:lnTo>
                  <a:lnTo>
                    <a:pt x="5" y="238"/>
                  </a:lnTo>
                  <a:lnTo>
                    <a:pt x="2" y="241"/>
                  </a:lnTo>
                  <a:lnTo>
                    <a:pt x="4" y="244"/>
                  </a:lnTo>
                  <a:lnTo>
                    <a:pt x="2" y="249"/>
                  </a:lnTo>
                  <a:lnTo>
                    <a:pt x="5" y="255"/>
                  </a:lnTo>
                  <a:lnTo>
                    <a:pt x="0" y="260"/>
                  </a:lnTo>
                  <a:lnTo>
                    <a:pt x="11" y="258"/>
                  </a:lnTo>
                  <a:lnTo>
                    <a:pt x="14" y="259"/>
                  </a:lnTo>
                  <a:lnTo>
                    <a:pt x="19" y="266"/>
                  </a:lnTo>
                  <a:lnTo>
                    <a:pt x="37" y="279"/>
                  </a:lnTo>
                  <a:lnTo>
                    <a:pt x="47" y="280"/>
                  </a:lnTo>
                  <a:lnTo>
                    <a:pt x="53" y="279"/>
                  </a:lnTo>
                  <a:lnTo>
                    <a:pt x="153" y="2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0" name="Freeform 198"/>
            <p:cNvSpPr>
              <a:spLocks/>
            </p:cNvSpPr>
            <p:nvPr/>
          </p:nvSpPr>
          <p:spPr bwMode="auto">
            <a:xfrm>
              <a:off x="5215294" y="1353019"/>
              <a:ext cx="387924" cy="283871"/>
            </a:xfrm>
            <a:custGeom>
              <a:avLst/>
              <a:gdLst>
                <a:gd name="T0" fmla="*/ 43 w 323"/>
                <a:gd name="T1" fmla="*/ 21 h 280"/>
                <a:gd name="T2" fmla="*/ 46 w 323"/>
                <a:gd name="T3" fmla="*/ 7 h 280"/>
                <a:gd name="T4" fmla="*/ 53 w 323"/>
                <a:gd name="T5" fmla="*/ 2 h 280"/>
                <a:gd name="T6" fmla="*/ 53 w 323"/>
                <a:gd name="T7" fmla="*/ 1 h 280"/>
                <a:gd name="T8" fmla="*/ 53 w 323"/>
                <a:gd name="T9" fmla="*/ 1 h 280"/>
                <a:gd name="T10" fmla="*/ 52 w 323"/>
                <a:gd name="T11" fmla="*/ 0 h 280"/>
                <a:gd name="T12" fmla="*/ 48 w 323"/>
                <a:gd name="T13" fmla="*/ 2 h 280"/>
                <a:gd name="T14" fmla="*/ 43 w 323"/>
                <a:gd name="T15" fmla="*/ 1 h 280"/>
                <a:gd name="T16" fmla="*/ 36 w 323"/>
                <a:gd name="T17" fmla="*/ 3 h 280"/>
                <a:gd name="T18" fmla="*/ 34 w 323"/>
                <a:gd name="T19" fmla="*/ 4 h 280"/>
                <a:gd name="T20" fmla="*/ 25 w 323"/>
                <a:gd name="T21" fmla="*/ 4 h 280"/>
                <a:gd name="T22" fmla="*/ 22 w 323"/>
                <a:gd name="T23" fmla="*/ 3 h 280"/>
                <a:gd name="T24" fmla="*/ 17 w 323"/>
                <a:gd name="T25" fmla="*/ 4 h 280"/>
                <a:gd name="T26" fmla="*/ 14 w 323"/>
                <a:gd name="T27" fmla="*/ 5 h 280"/>
                <a:gd name="T28" fmla="*/ 12 w 323"/>
                <a:gd name="T29" fmla="*/ 5 h 280"/>
                <a:gd name="T30" fmla="*/ 12 w 323"/>
                <a:gd name="T31" fmla="*/ 4 h 280"/>
                <a:gd name="T32" fmla="*/ 12 w 323"/>
                <a:gd name="T33" fmla="*/ 4 h 280"/>
                <a:gd name="T34" fmla="*/ 9 w 323"/>
                <a:gd name="T35" fmla="*/ 3 h 280"/>
                <a:gd name="T36" fmla="*/ 9 w 323"/>
                <a:gd name="T37" fmla="*/ 5 h 280"/>
                <a:gd name="T38" fmla="*/ 8 w 323"/>
                <a:gd name="T39" fmla="*/ 6 h 280"/>
                <a:gd name="T40" fmla="*/ 9 w 323"/>
                <a:gd name="T41" fmla="*/ 8 h 280"/>
                <a:gd name="T42" fmla="*/ 8 w 323"/>
                <a:gd name="T43" fmla="*/ 8 h 280"/>
                <a:gd name="T44" fmla="*/ 7 w 323"/>
                <a:gd name="T45" fmla="*/ 9 h 280"/>
                <a:gd name="T46" fmla="*/ 6 w 323"/>
                <a:gd name="T47" fmla="*/ 10 h 280"/>
                <a:gd name="T48" fmla="*/ 4 w 323"/>
                <a:gd name="T49" fmla="*/ 10 h 280"/>
                <a:gd name="T50" fmla="*/ 4 w 323"/>
                <a:gd name="T51" fmla="*/ 10 h 280"/>
                <a:gd name="T52" fmla="*/ 3 w 323"/>
                <a:gd name="T53" fmla="*/ 13 h 280"/>
                <a:gd name="T54" fmla="*/ 4 w 323"/>
                <a:gd name="T55" fmla="*/ 15 h 280"/>
                <a:gd name="T56" fmla="*/ 4 w 323"/>
                <a:gd name="T57" fmla="*/ 18 h 280"/>
                <a:gd name="T58" fmla="*/ 7 w 323"/>
                <a:gd name="T59" fmla="*/ 19 h 280"/>
                <a:gd name="T60" fmla="*/ 7 w 323"/>
                <a:gd name="T61" fmla="*/ 19 h 280"/>
                <a:gd name="T62" fmla="*/ 8 w 323"/>
                <a:gd name="T63" fmla="*/ 19 h 280"/>
                <a:gd name="T64" fmla="*/ 8 w 323"/>
                <a:gd name="T65" fmla="*/ 20 h 280"/>
                <a:gd name="T66" fmla="*/ 8 w 323"/>
                <a:gd name="T67" fmla="*/ 20 h 280"/>
                <a:gd name="T68" fmla="*/ 7 w 323"/>
                <a:gd name="T69" fmla="*/ 20 h 280"/>
                <a:gd name="T70" fmla="*/ 8 w 323"/>
                <a:gd name="T71" fmla="*/ 21 h 280"/>
                <a:gd name="T72" fmla="*/ 9 w 323"/>
                <a:gd name="T73" fmla="*/ 21 h 280"/>
                <a:gd name="T74" fmla="*/ 9 w 323"/>
                <a:gd name="T75" fmla="*/ 22 h 280"/>
                <a:gd name="T76" fmla="*/ 9 w 323"/>
                <a:gd name="T77" fmla="*/ 23 h 280"/>
                <a:gd name="T78" fmla="*/ 9 w 323"/>
                <a:gd name="T79" fmla="*/ 23 h 280"/>
                <a:gd name="T80" fmla="*/ 7 w 323"/>
                <a:gd name="T81" fmla="*/ 24 h 280"/>
                <a:gd name="T82" fmla="*/ 7 w 323"/>
                <a:gd name="T83" fmla="*/ 25 h 280"/>
                <a:gd name="T84" fmla="*/ 7 w 323"/>
                <a:gd name="T85" fmla="*/ 25 h 280"/>
                <a:gd name="T86" fmla="*/ 7 w 323"/>
                <a:gd name="T87" fmla="*/ 25 h 280"/>
                <a:gd name="T88" fmla="*/ 7 w 323"/>
                <a:gd name="T89" fmla="*/ 25 h 280"/>
                <a:gd name="T90" fmla="*/ 4 w 323"/>
                <a:gd name="T91" fmla="*/ 26 h 280"/>
                <a:gd name="T92" fmla="*/ 4 w 323"/>
                <a:gd name="T93" fmla="*/ 27 h 280"/>
                <a:gd name="T94" fmla="*/ 4 w 323"/>
                <a:gd name="T95" fmla="*/ 27 h 280"/>
                <a:gd name="T96" fmla="*/ 4 w 323"/>
                <a:gd name="T97" fmla="*/ 27 h 280"/>
                <a:gd name="T98" fmla="*/ 2 w 323"/>
                <a:gd name="T99" fmla="*/ 29 h 280"/>
                <a:gd name="T100" fmla="*/ 1 w 323"/>
                <a:gd name="T101" fmla="*/ 30 h 280"/>
                <a:gd name="T102" fmla="*/ 1 w 323"/>
                <a:gd name="T103" fmla="*/ 31 h 280"/>
                <a:gd name="T104" fmla="*/ 1 w 323"/>
                <a:gd name="T105" fmla="*/ 32 h 280"/>
                <a:gd name="T106" fmla="*/ 0 w 323"/>
                <a:gd name="T107" fmla="*/ 34 h 280"/>
                <a:gd name="T108" fmla="*/ 2 w 323"/>
                <a:gd name="T109" fmla="*/ 33 h 280"/>
                <a:gd name="T110" fmla="*/ 7 w 323"/>
                <a:gd name="T111" fmla="*/ 36 h 280"/>
                <a:gd name="T112" fmla="*/ 9 w 323"/>
                <a:gd name="T113" fmla="*/ 36 h 28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3"/>
                <a:gd name="T172" fmla="*/ 0 h 280"/>
                <a:gd name="T173" fmla="*/ 323 w 323"/>
                <a:gd name="T174" fmla="*/ 280 h 28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3" h="280">
                  <a:moveTo>
                    <a:pt x="153" y="223"/>
                  </a:moveTo>
                  <a:lnTo>
                    <a:pt x="256" y="162"/>
                  </a:lnTo>
                  <a:lnTo>
                    <a:pt x="265" y="140"/>
                  </a:lnTo>
                  <a:lnTo>
                    <a:pt x="270" y="51"/>
                  </a:lnTo>
                  <a:lnTo>
                    <a:pt x="296" y="41"/>
                  </a:lnTo>
                  <a:lnTo>
                    <a:pt x="311" y="16"/>
                  </a:lnTo>
                  <a:lnTo>
                    <a:pt x="323" y="9"/>
                  </a:lnTo>
                  <a:lnTo>
                    <a:pt x="316" y="9"/>
                  </a:lnTo>
                  <a:lnTo>
                    <a:pt x="316" y="7"/>
                  </a:lnTo>
                  <a:lnTo>
                    <a:pt x="316" y="3"/>
                  </a:lnTo>
                  <a:lnTo>
                    <a:pt x="312" y="2"/>
                  </a:lnTo>
                  <a:lnTo>
                    <a:pt x="310" y="0"/>
                  </a:lnTo>
                  <a:lnTo>
                    <a:pt x="304" y="6"/>
                  </a:lnTo>
                  <a:lnTo>
                    <a:pt x="289" y="11"/>
                  </a:lnTo>
                  <a:lnTo>
                    <a:pt x="258" y="13"/>
                  </a:lnTo>
                  <a:lnTo>
                    <a:pt x="251" y="10"/>
                  </a:lnTo>
                  <a:lnTo>
                    <a:pt x="231" y="14"/>
                  </a:lnTo>
                  <a:lnTo>
                    <a:pt x="215" y="24"/>
                  </a:lnTo>
                  <a:lnTo>
                    <a:pt x="205" y="27"/>
                  </a:lnTo>
                  <a:lnTo>
                    <a:pt x="200" y="31"/>
                  </a:lnTo>
                  <a:lnTo>
                    <a:pt x="173" y="37"/>
                  </a:lnTo>
                  <a:lnTo>
                    <a:pt x="150" y="33"/>
                  </a:lnTo>
                  <a:lnTo>
                    <a:pt x="141" y="24"/>
                  </a:lnTo>
                  <a:lnTo>
                    <a:pt x="135" y="22"/>
                  </a:lnTo>
                  <a:lnTo>
                    <a:pt x="123" y="23"/>
                  </a:lnTo>
                  <a:lnTo>
                    <a:pt x="97" y="35"/>
                  </a:lnTo>
                  <a:lnTo>
                    <a:pt x="93" y="38"/>
                  </a:lnTo>
                  <a:lnTo>
                    <a:pt x="81" y="36"/>
                  </a:lnTo>
                  <a:lnTo>
                    <a:pt x="75" y="38"/>
                  </a:lnTo>
                  <a:lnTo>
                    <a:pt x="74" y="36"/>
                  </a:lnTo>
                  <a:lnTo>
                    <a:pt x="73" y="34"/>
                  </a:lnTo>
                  <a:lnTo>
                    <a:pt x="73" y="33"/>
                  </a:lnTo>
                  <a:lnTo>
                    <a:pt x="69" y="30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36"/>
                  </a:lnTo>
                  <a:lnTo>
                    <a:pt x="52" y="37"/>
                  </a:lnTo>
                  <a:lnTo>
                    <a:pt x="52" y="41"/>
                  </a:lnTo>
                  <a:lnTo>
                    <a:pt x="50" y="48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6" y="62"/>
                  </a:lnTo>
                  <a:lnTo>
                    <a:pt x="49" y="62"/>
                  </a:lnTo>
                  <a:lnTo>
                    <a:pt x="43" y="64"/>
                  </a:lnTo>
                  <a:lnTo>
                    <a:pt x="42" y="74"/>
                  </a:lnTo>
                  <a:lnTo>
                    <a:pt x="38" y="78"/>
                  </a:lnTo>
                  <a:lnTo>
                    <a:pt x="34" y="79"/>
                  </a:lnTo>
                  <a:lnTo>
                    <a:pt x="32" y="84"/>
                  </a:lnTo>
                  <a:lnTo>
                    <a:pt x="26" y="81"/>
                  </a:lnTo>
                  <a:lnTo>
                    <a:pt x="25" y="77"/>
                  </a:lnTo>
                  <a:lnTo>
                    <a:pt x="22" y="77"/>
                  </a:lnTo>
                  <a:lnTo>
                    <a:pt x="22" y="87"/>
                  </a:lnTo>
                  <a:lnTo>
                    <a:pt x="18" y="99"/>
                  </a:lnTo>
                  <a:lnTo>
                    <a:pt x="20" y="102"/>
                  </a:lnTo>
                  <a:lnTo>
                    <a:pt x="24" y="113"/>
                  </a:lnTo>
                  <a:lnTo>
                    <a:pt x="24" y="129"/>
                  </a:lnTo>
                  <a:lnTo>
                    <a:pt x="22" y="139"/>
                  </a:lnTo>
                  <a:lnTo>
                    <a:pt x="24" y="148"/>
                  </a:lnTo>
                  <a:lnTo>
                    <a:pt x="39" y="148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4" y="148"/>
                  </a:lnTo>
                  <a:lnTo>
                    <a:pt x="48" y="148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3" y="155"/>
                  </a:lnTo>
                  <a:lnTo>
                    <a:pt x="43" y="156"/>
                  </a:lnTo>
                  <a:lnTo>
                    <a:pt x="47" y="156"/>
                  </a:lnTo>
                  <a:lnTo>
                    <a:pt x="48" y="161"/>
                  </a:lnTo>
                  <a:lnTo>
                    <a:pt x="53" y="162"/>
                  </a:lnTo>
                  <a:lnTo>
                    <a:pt x="52" y="166"/>
                  </a:lnTo>
                  <a:lnTo>
                    <a:pt x="55" y="169"/>
                  </a:lnTo>
                  <a:lnTo>
                    <a:pt x="54" y="173"/>
                  </a:lnTo>
                  <a:lnTo>
                    <a:pt x="56" y="174"/>
                  </a:lnTo>
                  <a:lnTo>
                    <a:pt x="54" y="176"/>
                  </a:lnTo>
                  <a:lnTo>
                    <a:pt x="53" y="180"/>
                  </a:lnTo>
                  <a:lnTo>
                    <a:pt x="51" y="180"/>
                  </a:lnTo>
                  <a:lnTo>
                    <a:pt x="46" y="183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0" y="189"/>
                  </a:lnTo>
                  <a:lnTo>
                    <a:pt x="39" y="192"/>
                  </a:lnTo>
                  <a:lnTo>
                    <a:pt x="43" y="194"/>
                  </a:lnTo>
                  <a:lnTo>
                    <a:pt x="44" y="196"/>
                  </a:lnTo>
                  <a:lnTo>
                    <a:pt x="44" y="197"/>
                  </a:lnTo>
                  <a:lnTo>
                    <a:pt x="42" y="197"/>
                  </a:lnTo>
                  <a:lnTo>
                    <a:pt x="39" y="196"/>
                  </a:lnTo>
                  <a:lnTo>
                    <a:pt x="27" y="197"/>
                  </a:lnTo>
                  <a:lnTo>
                    <a:pt x="26" y="201"/>
                  </a:lnTo>
                  <a:lnTo>
                    <a:pt x="24" y="202"/>
                  </a:lnTo>
                  <a:lnTo>
                    <a:pt x="22" y="207"/>
                  </a:lnTo>
                  <a:lnTo>
                    <a:pt x="22" y="208"/>
                  </a:lnTo>
                  <a:lnTo>
                    <a:pt x="26" y="209"/>
                  </a:lnTo>
                  <a:lnTo>
                    <a:pt x="26" y="213"/>
                  </a:lnTo>
                  <a:lnTo>
                    <a:pt x="24" y="213"/>
                  </a:lnTo>
                  <a:lnTo>
                    <a:pt x="16" y="221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5" y="230"/>
                  </a:lnTo>
                  <a:lnTo>
                    <a:pt x="5" y="238"/>
                  </a:lnTo>
                  <a:lnTo>
                    <a:pt x="2" y="241"/>
                  </a:lnTo>
                  <a:lnTo>
                    <a:pt x="4" y="244"/>
                  </a:lnTo>
                  <a:lnTo>
                    <a:pt x="2" y="249"/>
                  </a:lnTo>
                  <a:lnTo>
                    <a:pt x="5" y="255"/>
                  </a:lnTo>
                  <a:lnTo>
                    <a:pt x="0" y="260"/>
                  </a:lnTo>
                  <a:lnTo>
                    <a:pt x="11" y="258"/>
                  </a:lnTo>
                  <a:lnTo>
                    <a:pt x="14" y="259"/>
                  </a:lnTo>
                  <a:lnTo>
                    <a:pt x="19" y="266"/>
                  </a:lnTo>
                  <a:lnTo>
                    <a:pt x="37" y="279"/>
                  </a:lnTo>
                  <a:lnTo>
                    <a:pt x="47" y="280"/>
                  </a:lnTo>
                  <a:lnTo>
                    <a:pt x="53" y="279"/>
                  </a:lnTo>
                  <a:lnTo>
                    <a:pt x="153" y="22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1" name="Freeform 199"/>
            <p:cNvSpPr>
              <a:spLocks/>
            </p:cNvSpPr>
            <p:nvPr/>
          </p:nvSpPr>
          <p:spPr bwMode="auto">
            <a:xfrm>
              <a:off x="3310201" y="2620232"/>
              <a:ext cx="162481" cy="282015"/>
            </a:xfrm>
            <a:custGeom>
              <a:avLst/>
              <a:gdLst>
                <a:gd name="T0" fmla="*/ 20 w 138"/>
                <a:gd name="T1" fmla="*/ 4 h 284"/>
                <a:gd name="T2" fmla="*/ 15 w 138"/>
                <a:gd name="T3" fmla="*/ 0 h 284"/>
                <a:gd name="T4" fmla="*/ 14 w 138"/>
                <a:gd name="T5" fmla="*/ 1 h 284"/>
                <a:gd name="T6" fmla="*/ 12 w 138"/>
                <a:gd name="T7" fmla="*/ 1 h 284"/>
                <a:gd name="T8" fmla="*/ 12 w 138"/>
                <a:gd name="T9" fmla="*/ 1 h 284"/>
                <a:gd name="T10" fmla="*/ 13 w 138"/>
                <a:gd name="T11" fmla="*/ 2 h 284"/>
                <a:gd name="T12" fmla="*/ 12 w 138"/>
                <a:gd name="T13" fmla="*/ 3 h 284"/>
                <a:gd name="T14" fmla="*/ 12 w 138"/>
                <a:gd name="T15" fmla="*/ 3 h 284"/>
                <a:gd name="T16" fmla="*/ 12 w 138"/>
                <a:gd name="T17" fmla="*/ 3 h 284"/>
                <a:gd name="T18" fmla="*/ 12 w 138"/>
                <a:gd name="T19" fmla="*/ 3 h 284"/>
                <a:gd name="T20" fmla="*/ 11 w 138"/>
                <a:gd name="T21" fmla="*/ 3 h 284"/>
                <a:gd name="T22" fmla="*/ 11 w 138"/>
                <a:gd name="T23" fmla="*/ 4 h 284"/>
                <a:gd name="T24" fmla="*/ 11 w 138"/>
                <a:gd name="T25" fmla="*/ 4 h 284"/>
                <a:gd name="T26" fmla="*/ 9 w 138"/>
                <a:gd name="T27" fmla="*/ 5 h 284"/>
                <a:gd name="T28" fmla="*/ 9 w 138"/>
                <a:gd name="T29" fmla="*/ 5 h 284"/>
                <a:gd name="T30" fmla="*/ 8 w 138"/>
                <a:gd name="T31" fmla="*/ 5 h 284"/>
                <a:gd name="T32" fmla="*/ 7 w 138"/>
                <a:gd name="T33" fmla="*/ 5 h 284"/>
                <a:gd name="T34" fmla="*/ 6 w 138"/>
                <a:gd name="T35" fmla="*/ 5 h 284"/>
                <a:gd name="T36" fmla="*/ 5 w 138"/>
                <a:gd name="T37" fmla="*/ 5 h 284"/>
                <a:gd name="T38" fmla="*/ 5 w 138"/>
                <a:gd name="T39" fmla="*/ 5 h 284"/>
                <a:gd name="T40" fmla="*/ 3 w 138"/>
                <a:gd name="T41" fmla="*/ 6 h 284"/>
                <a:gd name="T42" fmla="*/ 3 w 138"/>
                <a:gd name="T43" fmla="*/ 6 h 284"/>
                <a:gd name="T44" fmla="*/ 3 w 138"/>
                <a:gd name="T45" fmla="*/ 6 h 284"/>
                <a:gd name="T46" fmla="*/ 3 w 138"/>
                <a:gd name="T47" fmla="*/ 6 h 284"/>
                <a:gd name="T48" fmla="*/ 2 w 138"/>
                <a:gd name="T49" fmla="*/ 7 h 284"/>
                <a:gd name="T50" fmla="*/ 2 w 138"/>
                <a:gd name="T51" fmla="*/ 7 h 284"/>
                <a:gd name="T52" fmla="*/ 2 w 138"/>
                <a:gd name="T53" fmla="*/ 7 h 284"/>
                <a:gd name="T54" fmla="*/ 1 w 138"/>
                <a:gd name="T55" fmla="*/ 8 h 284"/>
                <a:gd name="T56" fmla="*/ 1 w 138"/>
                <a:gd name="T57" fmla="*/ 9 h 284"/>
                <a:gd name="T58" fmla="*/ 1 w 138"/>
                <a:gd name="T59" fmla="*/ 10 h 284"/>
                <a:gd name="T60" fmla="*/ 0 w 138"/>
                <a:gd name="T61" fmla="*/ 11 h 284"/>
                <a:gd name="T62" fmla="*/ 1 w 138"/>
                <a:gd name="T63" fmla="*/ 11 h 284"/>
                <a:gd name="T64" fmla="*/ 1 w 138"/>
                <a:gd name="T65" fmla="*/ 12 h 284"/>
                <a:gd name="T66" fmla="*/ 2 w 138"/>
                <a:gd name="T67" fmla="*/ 12 h 284"/>
                <a:gd name="T68" fmla="*/ 2 w 138"/>
                <a:gd name="T69" fmla="*/ 12 h 284"/>
                <a:gd name="T70" fmla="*/ 3 w 138"/>
                <a:gd name="T71" fmla="*/ 12 h 284"/>
                <a:gd name="T72" fmla="*/ 5 w 138"/>
                <a:gd name="T73" fmla="*/ 14 h 284"/>
                <a:gd name="T74" fmla="*/ 8 w 138"/>
                <a:gd name="T75" fmla="*/ 33 h 284"/>
                <a:gd name="T76" fmla="*/ 8 w 138"/>
                <a:gd name="T77" fmla="*/ 34 h 284"/>
                <a:gd name="T78" fmla="*/ 15 w 138"/>
                <a:gd name="T79" fmla="*/ 34 h 284"/>
                <a:gd name="T80" fmla="*/ 14 w 138"/>
                <a:gd name="T81" fmla="*/ 33 h 284"/>
                <a:gd name="T82" fmla="*/ 15 w 138"/>
                <a:gd name="T83" fmla="*/ 21 h 284"/>
                <a:gd name="T84" fmla="*/ 17 w 138"/>
                <a:gd name="T85" fmla="*/ 18 h 284"/>
                <a:gd name="T86" fmla="*/ 17 w 138"/>
                <a:gd name="T87" fmla="*/ 16 h 284"/>
                <a:gd name="T88" fmla="*/ 20 w 138"/>
                <a:gd name="T89" fmla="*/ 14 h 284"/>
                <a:gd name="T90" fmla="*/ 20 w 138"/>
                <a:gd name="T91" fmla="*/ 13 h 284"/>
                <a:gd name="T92" fmla="*/ 21 w 138"/>
                <a:gd name="T93" fmla="*/ 13 h 284"/>
                <a:gd name="T94" fmla="*/ 21 w 138"/>
                <a:gd name="T95" fmla="*/ 13 h 284"/>
                <a:gd name="T96" fmla="*/ 21 w 138"/>
                <a:gd name="T97" fmla="*/ 12 h 284"/>
                <a:gd name="T98" fmla="*/ 20 w 138"/>
                <a:gd name="T99" fmla="*/ 12 h 284"/>
                <a:gd name="T100" fmla="*/ 20 w 138"/>
                <a:gd name="T101" fmla="*/ 12 h 284"/>
                <a:gd name="T102" fmla="*/ 20 w 138"/>
                <a:gd name="T103" fmla="*/ 11 h 284"/>
                <a:gd name="T104" fmla="*/ 21 w 138"/>
                <a:gd name="T105" fmla="*/ 11 h 284"/>
                <a:gd name="T106" fmla="*/ 21 w 138"/>
                <a:gd name="T107" fmla="*/ 11 h 284"/>
                <a:gd name="T108" fmla="*/ 21 w 138"/>
                <a:gd name="T109" fmla="*/ 11 h 284"/>
                <a:gd name="T110" fmla="*/ 21 w 138"/>
                <a:gd name="T111" fmla="*/ 7 h 284"/>
                <a:gd name="T112" fmla="*/ 20 w 138"/>
                <a:gd name="T113" fmla="*/ 6 h 284"/>
                <a:gd name="T114" fmla="*/ 20 w 138"/>
                <a:gd name="T115" fmla="*/ 5 h 284"/>
                <a:gd name="T116" fmla="*/ 20 w 138"/>
                <a:gd name="T117" fmla="*/ 5 h 284"/>
                <a:gd name="T118" fmla="*/ 20 w 138"/>
                <a:gd name="T119" fmla="*/ 4 h 2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284"/>
                <a:gd name="T182" fmla="*/ 138 w 138"/>
                <a:gd name="T183" fmla="*/ 284 h 2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284">
                  <a:moveTo>
                    <a:pt x="131" y="32"/>
                  </a:moveTo>
                  <a:lnTo>
                    <a:pt x="95" y="0"/>
                  </a:lnTo>
                  <a:lnTo>
                    <a:pt x="89" y="4"/>
                  </a:lnTo>
                  <a:lnTo>
                    <a:pt x="75" y="6"/>
                  </a:lnTo>
                  <a:lnTo>
                    <a:pt x="75" y="10"/>
                  </a:lnTo>
                  <a:lnTo>
                    <a:pt x="82" y="18"/>
                  </a:lnTo>
                  <a:lnTo>
                    <a:pt x="75" y="22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4" y="26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3"/>
                  </a:lnTo>
                  <a:lnTo>
                    <a:pt x="60" y="43"/>
                  </a:lnTo>
                  <a:lnTo>
                    <a:pt x="56" y="44"/>
                  </a:lnTo>
                  <a:lnTo>
                    <a:pt x="51" y="42"/>
                  </a:lnTo>
                  <a:lnTo>
                    <a:pt x="43" y="44"/>
                  </a:lnTo>
                  <a:lnTo>
                    <a:pt x="36" y="42"/>
                  </a:lnTo>
                  <a:lnTo>
                    <a:pt x="31" y="42"/>
                  </a:lnTo>
                  <a:lnTo>
                    <a:pt x="29" y="43"/>
                  </a:lnTo>
                  <a:lnTo>
                    <a:pt x="23" y="53"/>
                  </a:lnTo>
                  <a:lnTo>
                    <a:pt x="20" y="53"/>
                  </a:lnTo>
                  <a:lnTo>
                    <a:pt x="18" y="54"/>
                  </a:lnTo>
                  <a:lnTo>
                    <a:pt x="17" y="56"/>
                  </a:lnTo>
                  <a:lnTo>
                    <a:pt x="15" y="58"/>
                  </a:lnTo>
                  <a:lnTo>
                    <a:pt x="14" y="62"/>
                  </a:lnTo>
                  <a:lnTo>
                    <a:pt x="10" y="62"/>
                  </a:lnTo>
                  <a:lnTo>
                    <a:pt x="5" y="67"/>
                  </a:lnTo>
                  <a:lnTo>
                    <a:pt x="4" y="74"/>
                  </a:lnTo>
                  <a:lnTo>
                    <a:pt x="2" y="7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99"/>
                  </a:lnTo>
                  <a:lnTo>
                    <a:pt x="10" y="101"/>
                  </a:lnTo>
                  <a:lnTo>
                    <a:pt x="12" y="101"/>
                  </a:lnTo>
                  <a:lnTo>
                    <a:pt x="17" y="104"/>
                  </a:lnTo>
                  <a:lnTo>
                    <a:pt x="27" y="117"/>
                  </a:lnTo>
                  <a:lnTo>
                    <a:pt x="49" y="277"/>
                  </a:lnTo>
                  <a:lnTo>
                    <a:pt x="52" y="284"/>
                  </a:lnTo>
                  <a:lnTo>
                    <a:pt x="94" y="282"/>
                  </a:lnTo>
                  <a:lnTo>
                    <a:pt x="92" y="280"/>
                  </a:lnTo>
                  <a:lnTo>
                    <a:pt x="95" y="181"/>
                  </a:lnTo>
                  <a:lnTo>
                    <a:pt x="108" y="154"/>
                  </a:lnTo>
                  <a:lnTo>
                    <a:pt x="112" y="133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3" y="108"/>
                  </a:lnTo>
                  <a:lnTo>
                    <a:pt x="134" y="107"/>
                  </a:lnTo>
                  <a:lnTo>
                    <a:pt x="133" y="105"/>
                  </a:lnTo>
                  <a:lnTo>
                    <a:pt x="130" y="101"/>
                  </a:lnTo>
                  <a:lnTo>
                    <a:pt x="129" y="98"/>
                  </a:lnTo>
                  <a:lnTo>
                    <a:pt x="131" y="93"/>
                  </a:lnTo>
                  <a:lnTo>
                    <a:pt x="134" y="92"/>
                  </a:lnTo>
                  <a:lnTo>
                    <a:pt x="138" y="92"/>
                  </a:lnTo>
                  <a:lnTo>
                    <a:pt x="138" y="90"/>
                  </a:lnTo>
                  <a:lnTo>
                    <a:pt x="134" y="58"/>
                  </a:lnTo>
                  <a:lnTo>
                    <a:pt x="127" y="50"/>
                  </a:lnTo>
                  <a:lnTo>
                    <a:pt x="125" y="46"/>
                  </a:lnTo>
                  <a:lnTo>
                    <a:pt x="127" y="37"/>
                  </a:lnTo>
                  <a:lnTo>
                    <a:pt x="131" y="3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2" name="Freeform 200"/>
            <p:cNvSpPr>
              <a:spLocks/>
            </p:cNvSpPr>
            <p:nvPr/>
          </p:nvSpPr>
          <p:spPr bwMode="auto">
            <a:xfrm>
              <a:off x="3310201" y="2620232"/>
              <a:ext cx="162481" cy="282015"/>
            </a:xfrm>
            <a:custGeom>
              <a:avLst/>
              <a:gdLst>
                <a:gd name="T0" fmla="*/ 20 w 138"/>
                <a:gd name="T1" fmla="*/ 4 h 284"/>
                <a:gd name="T2" fmla="*/ 15 w 138"/>
                <a:gd name="T3" fmla="*/ 0 h 284"/>
                <a:gd name="T4" fmla="*/ 14 w 138"/>
                <a:gd name="T5" fmla="*/ 1 h 284"/>
                <a:gd name="T6" fmla="*/ 12 w 138"/>
                <a:gd name="T7" fmla="*/ 1 h 284"/>
                <a:gd name="T8" fmla="*/ 12 w 138"/>
                <a:gd name="T9" fmla="*/ 1 h 284"/>
                <a:gd name="T10" fmla="*/ 13 w 138"/>
                <a:gd name="T11" fmla="*/ 2 h 284"/>
                <a:gd name="T12" fmla="*/ 12 w 138"/>
                <a:gd name="T13" fmla="*/ 3 h 284"/>
                <a:gd name="T14" fmla="*/ 12 w 138"/>
                <a:gd name="T15" fmla="*/ 3 h 284"/>
                <a:gd name="T16" fmla="*/ 12 w 138"/>
                <a:gd name="T17" fmla="*/ 3 h 284"/>
                <a:gd name="T18" fmla="*/ 12 w 138"/>
                <a:gd name="T19" fmla="*/ 3 h 284"/>
                <a:gd name="T20" fmla="*/ 11 w 138"/>
                <a:gd name="T21" fmla="*/ 3 h 284"/>
                <a:gd name="T22" fmla="*/ 11 w 138"/>
                <a:gd name="T23" fmla="*/ 4 h 284"/>
                <a:gd name="T24" fmla="*/ 11 w 138"/>
                <a:gd name="T25" fmla="*/ 4 h 284"/>
                <a:gd name="T26" fmla="*/ 9 w 138"/>
                <a:gd name="T27" fmla="*/ 5 h 284"/>
                <a:gd name="T28" fmla="*/ 9 w 138"/>
                <a:gd name="T29" fmla="*/ 5 h 284"/>
                <a:gd name="T30" fmla="*/ 8 w 138"/>
                <a:gd name="T31" fmla="*/ 5 h 284"/>
                <a:gd name="T32" fmla="*/ 7 w 138"/>
                <a:gd name="T33" fmla="*/ 5 h 284"/>
                <a:gd name="T34" fmla="*/ 6 w 138"/>
                <a:gd name="T35" fmla="*/ 5 h 284"/>
                <a:gd name="T36" fmla="*/ 5 w 138"/>
                <a:gd name="T37" fmla="*/ 5 h 284"/>
                <a:gd name="T38" fmla="*/ 5 w 138"/>
                <a:gd name="T39" fmla="*/ 5 h 284"/>
                <a:gd name="T40" fmla="*/ 3 w 138"/>
                <a:gd name="T41" fmla="*/ 6 h 284"/>
                <a:gd name="T42" fmla="*/ 3 w 138"/>
                <a:gd name="T43" fmla="*/ 6 h 284"/>
                <a:gd name="T44" fmla="*/ 3 w 138"/>
                <a:gd name="T45" fmla="*/ 6 h 284"/>
                <a:gd name="T46" fmla="*/ 3 w 138"/>
                <a:gd name="T47" fmla="*/ 6 h 284"/>
                <a:gd name="T48" fmla="*/ 2 w 138"/>
                <a:gd name="T49" fmla="*/ 7 h 284"/>
                <a:gd name="T50" fmla="*/ 2 w 138"/>
                <a:gd name="T51" fmla="*/ 7 h 284"/>
                <a:gd name="T52" fmla="*/ 2 w 138"/>
                <a:gd name="T53" fmla="*/ 7 h 284"/>
                <a:gd name="T54" fmla="*/ 1 w 138"/>
                <a:gd name="T55" fmla="*/ 8 h 284"/>
                <a:gd name="T56" fmla="*/ 1 w 138"/>
                <a:gd name="T57" fmla="*/ 9 h 284"/>
                <a:gd name="T58" fmla="*/ 1 w 138"/>
                <a:gd name="T59" fmla="*/ 10 h 284"/>
                <a:gd name="T60" fmla="*/ 0 w 138"/>
                <a:gd name="T61" fmla="*/ 11 h 284"/>
                <a:gd name="T62" fmla="*/ 1 w 138"/>
                <a:gd name="T63" fmla="*/ 11 h 284"/>
                <a:gd name="T64" fmla="*/ 1 w 138"/>
                <a:gd name="T65" fmla="*/ 12 h 284"/>
                <a:gd name="T66" fmla="*/ 2 w 138"/>
                <a:gd name="T67" fmla="*/ 12 h 284"/>
                <a:gd name="T68" fmla="*/ 2 w 138"/>
                <a:gd name="T69" fmla="*/ 12 h 284"/>
                <a:gd name="T70" fmla="*/ 3 w 138"/>
                <a:gd name="T71" fmla="*/ 12 h 284"/>
                <a:gd name="T72" fmla="*/ 5 w 138"/>
                <a:gd name="T73" fmla="*/ 14 h 284"/>
                <a:gd name="T74" fmla="*/ 8 w 138"/>
                <a:gd name="T75" fmla="*/ 33 h 284"/>
                <a:gd name="T76" fmla="*/ 8 w 138"/>
                <a:gd name="T77" fmla="*/ 34 h 284"/>
                <a:gd name="T78" fmla="*/ 15 w 138"/>
                <a:gd name="T79" fmla="*/ 34 h 284"/>
                <a:gd name="T80" fmla="*/ 14 w 138"/>
                <a:gd name="T81" fmla="*/ 33 h 284"/>
                <a:gd name="T82" fmla="*/ 15 w 138"/>
                <a:gd name="T83" fmla="*/ 21 h 284"/>
                <a:gd name="T84" fmla="*/ 17 w 138"/>
                <a:gd name="T85" fmla="*/ 18 h 284"/>
                <a:gd name="T86" fmla="*/ 17 w 138"/>
                <a:gd name="T87" fmla="*/ 16 h 284"/>
                <a:gd name="T88" fmla="*/ 20 w 138"/>
                <a:gd name="T89" fmla="*/ 14 h 284"/>
                <a:gd name="T90" fmla="*/ 20 w 138"/>
                <a:gd name="T91" fmla="*/ 13 h 284"/>
                <a:gd name="T92" fmla="*/ 21 w 138"/>
                <a:gd name="T93" fmla="*/ 13 h 284"/>
                <a:gd name="T94" fmla="*/ 21 w 138"/>
                <a:gd name="T95" fmla="*/ 13 h 284"/>
                <a:gd name="T96" fmla="*/ 21 w 138"/>
                <a:gd name="T97" fmla="*/ 12 h 284"/>
                <a:gd name="T98" fmla="*/ 20 w 138"/>
                <a:gd name="T99" fmla="*/ 12 h 284"/>
                <a:gd name="T100" fmla="*/ 20 w 138"/>
                <a:gd name="T101" fmla="*/ 12 h 284"/>
                <a:gd name="T102" fmla="*/ 20 w 138"/>
                <a:gd name="T103" fmla="*/ 11 h 284"/>
                <a:gd name="T104" fmla="*/ 21 w 138"/>
                <a:gd name="T105" fmla="*/ 11 h 284"/>
                <a:gd name="T106" fmla="*/ 21 w 138"/>
                <a:gd name="T107" fmla="*/ 11 h 284"/>
                <a:gd name="T108" fmla="*/ 21 w 138"/>
                <a:gd name="T109" fmla="*/ 11 h 284"/>
                <a:gd name="T110" fmla="*/ 21 w 138"/>
                <a:gd name="T111" fmla="*/ 7 h 284"/>
                <a:gd name="T112" fmla="*/ 20 w 138"/>
                <a:gd name="T113" fmla="*/ 6 h 284"/>
                <a:gd name="T114" fmla="*/ 20 w 138"/>
                <a:gd name="T115" fmla="*/ 5 h 284"/>
                <a:gd name="T116" fmla="*/ 20 w 138"/>
                <a:gd name="T117" fmla="*/ 5 h 284"/>
                <a:gd name="T118" fmla="*/ 20 w 138"/>
                <a:gd name="T119" fmla="*/ 4 h 2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284"/>
                <a:gd name="T182" fmla="*/ 138 w 138"/>
                <a:gd name="T183" fmla="*/ 284 h 2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284">
                  <a:moveTo>
                    <a:pt x="131" y="32"/>
                  </a:moveTo>
                  <a:lnTo>
                    <a:pt x="95" y="0"/>
                  </a:lnTo>
                  <a:lnTo>
                    <a:pt x="89" y="4"/>
                  </a:lnTo>
                  <a:lnTo>
                    <a:pt x="75" y="6"/>
                  </a:lnTo>
                  <a:lnTo>
                    <a:pt x="75" y="10"/>
                  </a:lnTo>
                  <a:lnTo>
                    <a:pt x="82" y="18"/>
                  </a:lnTo>
                  <a:lnTo>
                    <a:pt x="75" y="22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4" y="26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3"/>
                  </a:lnTo>
                  <a:lnTo>
                    <a:pt x="60" y="43"/>
                  </a:lnTo>
                  <a:lnTo>
                    <a:pt x="56" y="44"/>
                  </a:lnTo>
                  <a:lnTo>
                    <a:pt x="51" y="42"/>
                  </a:lnTo>
                  <a:lnTo>
                    <a:pt x="43" y="44"/>
                  </a:lnTo>
                  <a:lnTo>
                    <a:pt x="36" y="42"/>
                  </a:lnTo>
                  <a:lnTo>
                    <a:pt x="31" y="42"/>
                  </a:lnTo>
                  <a:lnTo>
                    <a:pt x="29" y="43"/>
                  </a:lnTo>
                  <a:lnTo>
                    <a:pt x="23" y="53"/>
                  </a:lnTo>
                  <a:lnTo>
                    <a:pt x="20" y="53"/>
                  </a:lnTo>
                  <a:lnTo>
                    <a:pt x="18" y="54"/>
                  </a:lnTo>
                  <a:lnTo>
                    <a:pt x="17" y="56"/>
                  </a:lnTo>
                  <a:lnTo>
                    <a:pt x="15" y="58"/>
                  </a:lnTo>
                  <a:lnTo>
                    <a:pt x="14" y="62"/>
                  </a:lnTo>
                  <a:lnTo>
                    <a:pt x="10" y="62"/>
                  </a:lnTo>
                  <a:lnTo>
                    <a:pt x="5" y="67"/>
                  </a:lnTo>
                  <a:lnTo>
                    <a:pt x="4" y="74"/>
                  </a:lnTo>
                  <a:lnTo>
                    <a:pt x="2" y="7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99"/>
                  </a:lnTo>
                  <a:lnTo>
                    <a:pt x="10" y="101"/>
                  </a:lnTo>
                  <a:lnTo>
                    <a:pt x="12" y="101"/>
                  </a:lnTo>
                  <a:lnTo>
                    <a:pt x="17" y="104"/>
                  </a:lnTo>
                  <a:lnTo>
                    <a:pt x="27" y="117"/>
                  </a:lnTo>
                  <a:lnTo>
                    <a:pt x="49" y="277"/>
                  </a:lnTo>
                  <a:lnTo>
                    <a:pt x="52" y="284"/>
                  </a:lnTo>
                  <a:lnTo>
                    <a:pt x="94" y="282"/>
                  </a:lnTo>
                  <a:lnTo>
                    <a:pt x="92" y="280"/>
                  </a:lnTo>
                  <a:lnTo>
                    <a:pt x="95" y="181"/>
                  </a:lnTo>
                  <a:lnTo>
                    <a:pt x="108" y="154"/>
                  </a:lnTo>
                  <a:lnTo>
                    <a:pt x="112" y="133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3" y="108"/>
                  </a:lnTo>
                  <a:lnTo>
                    <a:pt x="134" y="107"/>
                  </a:lnTo>
                  <a:lnTo>
                    <a:pt x="133" y="105"/>
                  </a:lnTo>
                  <a:lnTo>
                    <a:pt x="130" y="101"/>
                  </a:lnTo>
                  <a:lnTo>
                    <a:pt x="129" y="98"/>
                  </a:lnTo>
                  <a:lnTo>
                    <a:pt x="131" y="93"/>
                  </a:lnTo>
                  <a:lnTo>
                    <a:pt x="134" y="92"/>
                  </a:lnTo>
                  <a:lnTo>
                    <a:pt x="138" y="92"/>
                  </a:lnTo>
                  <a:lnTo>
                    <a:pt x="138" y="90"/>
                  </a:lnTo>
                  <a:lnTo>
                    <a:pt x="134" y="58"/>
                  </a:lnTo>
                  <a:lnTo>
                    <a:pt x="127" y="50"/>
                  </a:lnTo>
                  <a:lnTo>
                    <a:pt x="125" y="46"/>
                  </a:lnTo>
                  <a:lnTo>
                    <a:pt x="127" y="37"/>
                  </a:lnTo>
                  <a:lnTo>
                    <a:pt x="131" y="3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3" name="Freeform 201"/>
            <p:cNvSpPr>
              <a:spLocks/>
            </p:cNvSpPr>
            <p:nvPr/>
          </p:nvSpPr>
          <p:spPr bwMode="auto">
            <a:xfrm>
              <a:off x="3746869" y="3087782"/>
              <a:ext cx="304653" cy="282015"/>
            </a:xfrm>
            <a:custGeom>
              <a:avLst/>
              <a:gdLst>
                <a:gd name="T0" fmla="*/ 18 w 254"/>
                <a:gd name="T1" fmla="*/ 34 h 282"/>
                <a:gd name="T2" fmla="*/ 17 w 254"/>
                <a:gd name="T3" fmla="*/ 33 h 282"/>
                <a:gd name="T4" fmla="*/ 4 w 254"/>
                <a:gd name="T5" fmla="*/ 23 h 282"/>
                <a:gd name="T6" fmla="*/ 0 w 254"/>
                <a:gd name="T7" fmla="*/ 17 h 282"/>
                <a:gd name="T8" fmla="*/ 2 w 254"/>
                <a:gd name="T9" fmla="*/ 16 h 282"/>
                <a:gd name="T10" fmla="*/ 2 w 254"/>
                <a:gd name="T11" fmla="*/ 16 h 282"/>
                <a:gd name="T12" fmla="*/ 4 w 254"/>
                <a:gd name="T13" fmla="*/ 15 h 282"/>
                <a:gd name="T14" fmla="*/ 4 w 254"/>
                <a:gd name="T15" fmla="*/ 11 h 282"/>
                <a:gd name="T16" fmla="*/ 4 w 254"/>
                <a:gd name="T17" fmla="*/ 11 h 282"/>
                <a:gd name="T18" fmla="*/ 5 w 254"/>
                <a:gd name="T19" fmla="*/ 12 h 282"/>
                <a:gd name="T20" fmla="*/ 6 w 254"/>
                <a:gd name="T21" fmla="*/ 12 h 282"/>
                <a:gd name="T22" fmla="*/ 8 w 254"/>
                <a:gd name="T23" fmla="*/ 12 h 282"/>
                <a:gd name="T24" fmla="*/ 8 w 254"/>
                <a:gd name="T25" fmla="*/ 12 h 282"/>
                <a:gd name="T26" fmla="*/ 8 w 254"/>
                <a:gd name="T27" fmla="*/ 11 h 282"/>
                <a:gd name="T28" fmla="*/ 6 w 254"/>
                <a:gd name="T29" fmla="*/ 11 h 282"/>
                <a:gd name="T30" fmla="*/ 5 w 254"/>
                <a:gd name="T31" fmla="*/ 10 h 282"/>
                <a:gd name="T32" fmla="*/ 4 w 254"/>
                <a:gd name="T33" fmla="*/ 10 h 282"/>
                <a:gd name="T34" fmla="*/ 5 w 254"/>
                <a:gd name="T35" fmla="*/ 9 h 282"/>
                <a:gd name="T36" fmla="*/ 6 w 254"/>
                <a:gd name="T37" fmla="*/ 9 h 282"/>
                <a:gd name="T38" fmla="*/ 6 w 254"/>
                <a:gd name="T39" fmla="*/ 9 h 282"/>
                <a:gd name="T40" fmla="*/ 6 w 254"/>
                <a:gd name="T41" fmla="*/ 7 h 282"/>
                <a:gd name="T42" fmla="*/ 19 w 254"/>
                <a:gd name="T43" fmla="*/ 6 h 282"/>
                <a:gd name="T44" fmla="*/ 19 w 254"/>
                <a:gd name="T45" fmla="*/ 6 h 282"/>
                <a:gd name="T46" fmla="*/ 18 w 254"/>
                <a:gd name="T47" fmla="*/ 2 h 282"/>
                <a:gd name="T48" fmla="*/ 19 w 254"/>
                <a:gd name="T49" fmla="*/ 0 h 282"/>
                <a:gd name="T50" fmla="*/ 33 w 254"/>
                <a:gd name="T51" fmla="*/ 0 h 282"/>
                <a:gd name="T52" fmla="*/ 34 w 254"/>
                <a:gd name="T53" fmla="*/ 1 h 282"/>
                <a:gd name="T54" fmla="*/ 34 w 254"/>
                <a:gd name="T55" fmla="*/ 2 h 282"/>
                <a:gd name="T56" fmla="*/ 34 w 254"/>
                <a:gd name="T57" fmla="*/ 5 h 282"/>
                <a:gd name="T58" fmla="*/ 35 w 254"/>
                <a:gd name="T59" fmla="*/ 6 h 282"/>
                <a:gd name="T60" fmla="*/ 37 w 254"/>
                <a:gd name="T61" fmla="*/ 3 h 282"/>
                <a:gd name="T62" fmla="*/ 41 w 254"/>
                <a:gd name="T63" fmla="*/ 4 h 282"/>
                <a:gd name="T64" fmla="*/ 43 w 254"/>
                <a:gd name="T65" fmla="*/ 5 h 282"/>
                <a:gd name="T66" fmla="*/ 43 w 254"/>
                <a:gd name="T67" fmla="*/ 8 h 282"/>
                <a:gd name="T68" fmla="*/ 40 w 254"/>
                <a:gd name="T69" fmla="*/ 11 h 282"/>
                <a:gd name="T70" fmla="*/ 40 w 254"/>
                <a:gd name="T71" fmla="*/ 12 h 282"/>
                <a:gd name="T72" fmla="*/ 42 w 254"/>
                <a:gd name="T73" fmla="*/ 17 h 282"/>
                <a:gd name="T74" fmla="*/ 41 w 254"/>
                <a:gd name="T75" fmla="*/ 25 h 282"/>
                <a:gd name="T76" fmla="*/ 38 w 254"/>
                <a:gd name="T77" fmla="*/ 26 h 282"/>
                <a:gd name="T78" fmla="*/ 35 w 254"/>
                <a:gd name="T79" fmla="*/ 24 h 282"/>
                <a:gd name="T80" fmla="*/ 32 w 254"/>
                <a:gd name="T81" fmla="*/ 24 h 282"/>
                <a:gd name="T82" fmla="*/ 31 w 254"/>
                <a:gd name="T83" fmla="*/ 23 h 282"/>
                <a:gd name="T84" fmla="*/ 30 w 254"/>
                <a:gd name="T85" fmla="*/ 23 h 282"/>
                <a:gd name="T86" fmla="*/ 27 w 254"/>
                <a:gd name="T87" fmla="*/ 25 h 282"/>
                <a:gd name="T88" fmla="*/ 22 w 254"/>
                <a:gd name="T89" fmla="*/ 26 h 282"/>
                <a:gd name="T90" fmla="*/ 21 w 254"/>
                <a:gd name="T91" fmla="*/ 27 h 282"/>
                <a:gd name="T92" fmla="*/ 21 w 254"/>
                <a:gd name="T93" fmla="*/ 29 h 282"/>
                <a:gd name="T94" fmla="*/ 22 w 254"/>
                <a:gd name="T95" fmla="*/ 31 h 282"/>
                <a:gd name="T96" fmla="*/ 22 w 254"/>
                <a:gd name="T97" fmla="*/ 32 h 282"/>
                <a:gd name="T98" fmla="*/ 20 w 254"/>
                <a:gd name="T99" fmla="*/ 32 h 282"/>
                <a:gd name="T100" fmla="*/ 19 w 254"/>
                <a:gd name="T101" fmla="*/ 32 h 282"/>
                <a:gd name="T102" fmla="*/ 18 w 254"/>
                <a:gd name="T103" fmla="*/ 33 h 282"/>
                <a:gd name="T104" fmla="*/ 18 w 254"/>
                <a:gd name="T105" fmla="*/ 34 h 28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4"/>
                <a:gd name="T160" fmla="*/ 0 h 282"/>
                <a:gd name="T161" fmla="*/ 254 w 254"/>
                <a:gd name="T162" fmla="*/ 282 h 28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4" h="282">
                  <a:moveTo>
                    <a:pt x="107" y="282"/>
                  </a:moveTo>
                  <a:lnTo>
                    <a:pt x="101" y="271"/>
                  </a:lnTo>
                  <a:lnTo>
                    <a:pt x="23" y="190"/>
                  </a:lnTo>
                  <a:lnTo>
                    <a:pt x="0" y="136"/>
                  </a:lnTo>
                  <a:lnTo>
                    <a:pt x="10" y="133"/>
                  </a:lnTo>
                  <a:lnTo>
                    <a:pt x="15" y="126"/>
                  </a:lnTo>
                  <a:lnTo>
                    <a:pt x="21" y="121"/>
                  </a:lnTo>
                  <a:lnTo>
                    <a:pt x="23" y="90"/>
                  </a:lnTo>
                  <a:lnTo>
                    <a:pt x="26" y="90"/>
                  </a:lnTo>
                  <a:lnTo>
                    <a:pt x="31" y="95"/>
                  </a:lnTo>
                  <a:lnTo>
                    <a:pt x="38" y="97"/>
                  </a:lnTo>
                  <a:lnTo>
                    <a:pt x="48" y="98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40" y="91"/>
                  </a:lnTo>
                  <a:lnTo>
                    <a:pt x="28" y="83"/>
                  </a:lnTo>
                  <a:lnTo>
                    <a:pt x="26" y="78"/>
                  </a:lnTo>
                  <a:lnTo>
                    <a:pt x="27" y="74"/>
                  </a:lnTo>
                  <a:lnTo>
                    <a:pt x="34" y="73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14" y="50"/>
                  </a:lnTo>
                  <a:lnTo>
                    <a:pt x="113" y="48"/>
                  </a:lnTo>
                  <a:lnTo>
                    <a:pt x="110" y="12"/>
                  </a:lnTo>
                  <a:lnTo>
                    <a:pt x="114" y="0"/>
                  </a:lnTo>
                  <a:lnTo>
                    <a:pt x="198" y="0"/>
                  </a:lnTo>
                  <a:lnTo>
                    <a:pt x="206" y="2"/>
                  </a:lnTo>
                  <a:lnTo>
                    <a:pt x="200" y="14"/>
                  </a:lnTo>
                  <a:lnTo>
                    <a:pt x="200" y="45"/>
                  </a:lnTo>
                  <a:lnTo>
                    <a:pt x="207" y="49"/>
                  </a:lnTo>
                  <a:lnTo>
                    <a:pt x="220" y="30"/>
                  </a:lnTo>
                  <a:lnTo>
                    <a:pt x="245" y="36"/>
                  </a:lnTo>
                  <a:lnTo>
                    <a:pt x="253" y="46"/>
                  </a:lnTo>
                  <a:lnTo>
                    <a:pt x="254" y="64"/>
                  </a:lnTo>
                  <a:lnTo>
                    <a:pt x="239" y="88"/>
                  </a:lnTo>
                  <a:lnTo>
                    <a:pt x="238" y="102"/>
                  </a:lnTo>
                  <a:lnTo>
                    <a:pt x="251" y="137"/>
                  </a:lnTo>
                  <a:lnTo>
                    <a:pt x="241" y="207"/>
                  </a:lnTo>
                  <a:lnTo>
                    <a:pt x="229" y="211"/>
                  </a:lnTo>
                  <a:lnTo>
                    <a:pt x="212" y="198"/>
                  </a:lnTo>
                  <a:lnTo>
                    <a:pt x="191" y="200"/>
                  </a:lnTo>
                  <a:lnTo>
                    <a:pt x="184" y="191"/>
                  </a:lnTo>
                  <a:lnTo>
                    <a:pt x="177" y="186"/>
                  </a:lnTo>
                  <a:lnTo>
                    <a:pt x="161" y="203"/>
                  </a:lnTo>
                  <a:lnTo>
                    <a:pt x="133" y="217"/>
                  </a:lnTo>
                  <a:lnTo>
                    <a:pt x="128" y="225"/>
                  </a:lnTo>
                  <a:lnTo>
                    <a:pt x="128" y="234"/>
                  </a:lnTo>
                  <a:lnTo>
                    <a:pt x="135" y="257"/>
                  </a:lnTo>
                  <a:lnTo>
                    <a:pt x="132" y="262"/>
                  </a:lnTo>
                  <a:lnTo>
                    <a:pt x="122" y="261"/>
                  </a:lnTo>
                  <a:lnTo>
                    <a:pt x="113" y="263"/>
                  </a:lnTo>
                  <a:lnTo>
                    <a:pt x="108" y="270"/>
                  </a:lnTo>
                  <a:lnTo>
                    <a:pt x="107" y="28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4" name="Freeform 202"/>
            <p:cNvSpPr>
              <a:spLocks/>
            </p:cNvSpPr>
            <p:nvPr/>
          </p:nvSpPr>
          <p:spPr bwMode="auto">
            <a:xfrm>
              <a:off x="3746869" y="3087782"/>
              <a:ext cx="304653" cy="282015"/>
            </a:xfrm>
            <a:custGeom>
              <a:avLst/>
              <a:gdLst>
                <a:gd name="T0" fmla="*/ 18 w 254"/>
                <a:gd name="T1" fmla="*/ 34 h 282"/>
                <a:gd name="T2" fmla="*/ 17 w 254"/>
                <a:gd name="T3" fmla="*/ 33 h 282"/>
                <a:gd name="T4" fmla="*/ 4 w 254"/>
                <a:gd name="T5" fmla="*/ 23 h 282"/>
                <a:gd name="T6" fmla="*/ 0 w 254"/>
                <a:gd name="T7" fmla="*/ 17 h 282"/>
                <a:gd name="T8" fmla="*/ 2 w 254"/>
                <a:gd name="T9" fmla="*/ 16 h 282"/>
                <a:gd name="T10" fmla="*/ 2 w 254"/>
                <a:gd name="T11" fmla="*/ 16 h 282"/>
                <a:gd name="T12" fmla="*/ 4 w 254"/>
                <a:gd name="T13" fmla="*/ 15 h 282"/>
                <a:gd name="T14" fmla="*/ 4 w 254"/>
                <a:gd name="T15" fmla="*/ 11 h 282"/>
                <a:gd name="T16" fmla="*/ 4 w 254"/>
                <a:gd name="T17" fmla="*/ 11 h 282"/>
                <a:gd name="T18" fmla="*/ 5 w 254"/>
                <a:gd name="T19" fmla="*/ 12 h 282"/>
                <a:gd name="T20" fmla="*/ 6 w 254"/>
                <a:gd name="T21" fmla="*/ 12 h 282"/>
                <a:gd name="T22" fmla="*/ 8 w 254"/>
                <a:gd name="T23" fmla="*/ 12 h 282"/>
                <a:gd name="T24" fmla="*/ 8 w 254"/>
                <a:gd name="T25" fmla="*/ 12 h 282"/>
                <a:gd name="T26" fmla="*/ 8 w 254"/>
                <a:gd name="T27" fmla="*/ 11 h 282"/>
                <a:gd name="T28" fmla="*/ 6 w 254"/>
                <a:gd name="T29" fmla="*/ 11 h 282"/>
                <a:gd name="T30" fmla="*/ 5 w 254"/>
                <a:gd name="T31" fmla="*/ 10 h 282"/>
                <a:gd name="T32" fmla="*/ 4 w 254"/>
                <a:gd name="T33" fmla="*/ 10 h 282"/>
                <a:gd name="T34" fmla="*/ 5 w 254"/>
                <a:gd name="T35" fmla="*/ 9 h 282"/>
                <a:gd name="T36" fmla="*/ 6 w 254"/>
                <a:gd name="T37" fmla="*/ 9 h 282"/>
                <a:gd name="T38" fmla="*/ 6 w 254"/>
                <a:gd name="T39" fmla="*/ 9 h 282"/>
                <a:gd name="T40" fmla="*/ 6 w 254"/>
                <a:gd name="T41" fmla="*/ 7 h 282"/>
                <a:gd name="T42" fmla="*/ 19 w 254"/>
                <a:gd name="T43" fmla="*/ 6 h 282"/>
                <a:gd name="T44" fmla="*/ 19 w 254"/>
                <a:gd name="T45" fmla="*/ 6 h 282"/>
                <a:gd name="T46" fmla="*/ 18 w 254"/>
                <a:gd name="T47" fmla="*/ 2 h 282"/>
                <a:gd name="T48" fmla="*/ 19 w 254"/>
                <a:gd name="T49" fmla="*/ 0 h 282"/>
                <a:gd name="T50" fmla="*/ 33 w 254"/>
                <a:gd name="T51" fmla="*/ 0 h 282"/>
                <a:gd name="T52" fmla="*/ 34 w 254"/>
                <a:gd name="T53" fmla="*/ 1 h 282"/>
                <a:gd name="T54" fmla="*/ 34 w 254"/>
                <a:gd name="T55" fmla="*/ 2 h 282"/>
                <a:gd name="T56" fmla="*/ 34 w 254"/>
                <a:gd name="T57" fmla="*/ 5 h 282"/>
                <a:gd name="T58" fmla="*/ 35 w 254"/>
                <a:gd name="T59" fmla="*/ 6 h 282"/>
                <a:gd name="T60" fmla="*/ 37 w 254"/>
                <a:gd name="T61" fmla="*/ 3 h 282"/>
                <a:gd name="T62" fmla="*/ 41 w 254"/>
                <a:gd name="T63" fmla="*/ 4 h 282"/>
                <a:gd name="T64" fmla="*/ 43 w 254"/>
                <a:gd name="T65" fmla="*/ 5 h 282"/>
                <a:gd name="T66" fmla="*/ 43 w 254"/>
                <a:gd name="T67" fmla="*/ 8 h 282"/>
                <a:gd name="T68" fmla="*/ 40 w 254"/>
                <a:gd name="T69" fmla="*/ 11 h 282"/>
                <a:gd name="T70" fmla="*/ 40 w 254"/>
                <a:gd name="T71" fmla="*/ 12 h 282"/>
                <a:gd name="T72" fmla="*/ 42 w 254"/>
                <a:gd name="T73" fmla="*/ 17 h 282"/>
                <a:gd name="T74" fmla="*/ 41 w 254"/>
                <a:gd name="T75" fmla="*/ 25 h 282"/>
                <a:gd name="T76" fmla="*/ 38 w 254"/>
                <a:gd name="T77" fmla="*/ 26 h 282"/>
                <a:gd name="T78" fmla="*/ 35 w 254"/>
                <a:gd name="T79" fmla="*/ 24 h 282"/>
                <a:gd name="T80" fmla="*/ 32 w 254"/>
                <a:gd name="T81" fmla="*/ 24 h 282"/>
                <a:gd name="T82" fmla="*/ 31 w 254"/>
                <a:gd name="T83" fmla="*/ 23 h 282"/>
                <a:gd name="T84" fmla="*/ 30 w 254"/>
                <a:gd name="T85" fmla="*/ 23 h 282"/>
                <a:gd name="T86" fmla="*/ 27 w 254"/>
                <a:gd name="T87" fmla="*/ 25 h 282"/>
                <a:gd name="T88" fmla="*/ 22 w 254"/>
                <a:gd name="T89" fmla="*/ 26 h 282"/>
                <a:gd name="T90" fmla="*/ 21 w 254"/>
                <a:gd name="T91" fmla="*/ 27 h 282"/>
                <a:gd name="T92" fmla="*/ 21 w 254"/>
                <a:gd name="T93" fmla="*/ 29 h 282"/>
                <a:gd name="T94" fmla="*/ 22 w 254"/>
                <a:gd name="T95" fmla="*/ 31 h 282"/>
                <a:gd name="T96" fmla="*/ 22 w 254"/>
                <a:gd name="T97" fmla="*/ 32 h 282"/>
                <a:gd name="T98" fmla="*/ 20 w 254"/>
                <a:gd name="T99" fmla="*/ 32 h 282"/>
                <a:gd name="T100" fmla="*/ 19 w 254"/>
                <a:gd name="T101" fmla="*/ 32 h 282"/>
                <a:gd name="T102" fmla="*/ 18 w 254"/>
                <a:gd name="T103" fmla="*/ 33 h 282"/>
                <a:gd name="T104" fmla="*/ 18 w 254"/>
                <a:gd name="T105" fmla="*/ 34 h 28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4"/>
                <a:gd name="T160" fmla="*/ 0 h 282"/>
                <a:gd name="T161" fmla="*/ 254 w 254"/>
                <a:gd name="T162" fmla="*/ 282 h 28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4" h="282">
                  <a:moveTo>
                    <a:pt x="107" y="282"/>
                  </a:moveTo>
                  <a:lnTo>
                    <a:pt x="101" y="271"/>
                  </a:lnTo>
                  <a:lnTo>
                    <a:pt x="23" y="190"/>
                  </a:lnTo>
                  <a:lnTo>
                    <a:pt x="0" y="136"/>
                  </a:lnTo>
                  <a:lnTo>
                    <a:pt x="10" y="133"/>
                  </a:lnTo>
                  <a:lnTo>
                    <a:pt x="15" y="126"/>
                  </a:lnTo>
                  <a:lnTo>
                    <a:pt x="21" y="121"/>
                  </a:lnTo>
                  <a:lnTo>
                    <a:pt x="23" y="90"/>
                  </a:lnTo>
                  <a:lnTo>
                    <a:pt x="26" y="90"/>
                  </a:lnTo>
                  <a:lnTo>
                    <a:pt x="31" y="95"/>
                  </a:lnTo>
                  <a:lnTo>
                    <a:pt x="38" y="97"/>
                  </a:lnTo>
                  <a:lnTo>
                    <a:pt x="48" y="98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40" y="91"/>
                  </a:lnTo>
                  <a:lnTo>
                    <a:pt x="28" y="83"/>
                  </a:lnTo>
                  <a:lnTo>
                    <a:pt x="26" y="78"/>
                  </a:lnTo>
                  <a:lnTo>
                    <a:pt x="27" y="74"/>
                  </a:lnTo>
                  <a:lnTo>
                    <a:pt x="34" y="73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14" y="50"/>
                  </a:lnTo>
                  <a:lnTo>
                    <a:pt x="113" y="48"/>
                  </a:lnTo>
                  <a:lnTo>
                    <a:pt x="110" y="12"/>
                  </a:lnTo>
                  <a:lnTo>
                    <a:pt x="114" y="0"/>
                  </a:lnTo>
                  <a:lnTo>
                    <a:pt x="198" y="0"/>
                  </a:lnTo>
                  <a:lnTo>
                    <a:pt x="206" y="2"/>
                  </a:lnTo>
                  <a:lnTo>
                    <a:pt x="200" y="14"/>
                  </a:lnTo>
                  <a:lnTo>
                    <a:pt x="200" y="45"/>
                  </a:lnTo>
                  <a:lnTo>
                    <a:pt x="207" y="49"/>
                  </a:lnTo>
                  <a:lnTo>
                    <a:pt x="220" y="30"/>
                  </a:lnTo>
                  <a:lnTo>
                    <a:pt x="245" y="36"/>
                  </a:lnTo>
                  <a:lnTo>
                    <a:pt x="253" y="46"/>
                  </a:lnTo>
                  <a:lnTo>
                    <a:pt x="254" y="64"/>
                  </a:lnTo>
                  <a:lnTo>
                    <a:pt x="239" y="88"/>
                  </a:lnTo>
                  <a:lnTo>
                    <a:pt x="238" y="102"/>
                  </a:lnTo>
                  <a:lnTo>
                    <a:pt x="251" y="137"/>
                  </a:lnTo>
                  <a:lnTo>
                    <a:pt x="241" y="207"/>
                  </a:lnTo>
                  <a:lnTo>
                    <a:pt x="229" y="211"/>
                  </a:lnTo>
                  <a:lnTo>
                    <a:pt x="212" y="198"/>
                  </a:lnTo>
                  <a:lnTo>
                    <a:pt x="191" y="200"/>
                  </a:lnTo>
                  <a:lnTo>
                    <a:pt x="184" y="191"/>
                  </a:lnTo>
                  <a:lnTo>
                    <a:pt x="177" y="186"/>
                  </a:lnTo>
                  <a:lnTo>
                    <a:pt x="161" y="203"/>
                  </a:lnTo>
                  <a:lnTo>
                    <a:pt x="133" y="217"/>
                  </a:lnTo>
                  <a:lnTo>
                    <a:pt x="128" y="225"/>
                  </a:lnTo>
                  <a:lnTo>
                    <a:pt x="128" y="234"/>
                  </a:lnTo>
                  <a:lnTo>
                    <a:pt x="135" y="257"/>
                  </a:lnTo>
                  <a:lnTo>
                    <a:pt x="132" y="262"/>
                  </a:lnTo>
                  <a:lnTo>
                    <a:pt x="122" y="261"/>
                  </a:lnTo>
                  <a:lnTo>
                    <a:pt x="113" y="263"/>
                  </a:lnTo>
                  <a:lnTo>
                    <a:pt x="108" y="270"/>
                  </a:lnTo>
                  <a:lnTo>
                    <a:pt x="107" y="28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5" name="Freeform 203"/>
            <p:cNvSpPr>
              <a:spLocks/>
            </p:cNvSpPr>
            <p:nvPr/>
          </p:nvSpPr>
          <p:spPr bwMode="auto">
            <a:xfrm>
              <a:off x="5079216" y="2508910"/>
              <a:ext cx="824593" cy="519502"/>
            </a:xfrm>
            <a:custGeom>
              <a:avLst/>
              <a:gdLst>
                <a:gd name="T0" fmla="*/ 24 w 688"/>
                <a:gd name="T1" fmla="*/ 10 h 522"/>
                <a:gd name="T2" fmla="*/ 22 w 688"/>
                <a:gd name="T3" fmla="*/ 11 h 522"/>
                <a:gd name="T4" fmla="*/ 15 w 688"/>
                <a:gd name="T5" fmla="*/ 21 h 522"/>
                <a:gd name="T6" fmla="*/ 12 w 688"/>
                <a:gd name="T7" fmla="*/ 22 h 522"/>
                <a:gd name="T8" fmla="*/ 10 w 688"/>
                <a:gd name="T9" fmla="*/ 25 h 522"/>
                <a:gd name="T10" fmla="*/ 8 w 688"/>
                <a:gd name="T11" fmla="*/ 35 h 522"/>
                <a:gd name="T12" fmla="*/ 6 w 688"/>
                <a:gd name="T13" fmla="*/ 36 h 522"/>
                <a:gd name="T14" fmla="*/ 1 w 688"/>
                <a:gd name="T15" fmla="*/ 36 h 522"/>
                <a:gd name="T16" fmla="*/ 1 w 688"/>
                <a:gd name="T17" fmla="*/ 38 h 522"/>
                <a:gd name="T18" fmla="*/ 1 w 688"/>
                <a:gd name="T19" fmla="*/ 39 h 522"/>
                <a:gd name="T20" fmla="*/ 3 w 688"/>
                <a:gd name="T21" fmla="*/ 40 h 522"/>
                <a:gd name="T22" fmla="*/ 5 w 688"/>
                <a:gd name="T23" fmla="*/ 40 h 522"/>
                <a:gd name="T24" fmla="*/ 8 w 688"/>
                <a:gd name="T25" fmla="*/ 41 h 522"/>
                <a:gd name="T26" fmla="*/ 10 w 688"/>
                <a:gd name="T27" fmla="*/ 44 h 522"/>
                <a:gd name="T28" fmla="*/ 17 w 688"/>
                <a:gd name="T29" fmla="*/ 51 h 522"/>
                <a:gd name="T30" fmla="*/ 21 w 688"/>
                <a:gd name="T31" fmla="*/ 53 h 522"/>
                <a:gd name="T32" fmla="*/ 22 w 688"/>
                <a:gd name="T33" fmla="*/ 57 h 522"/>
                <a:gd name="T34" fmla="*/ 28 w 688"/>
                <a:gd name="T35" fmla="*/ 57 h 522"/>
                <a:gd name="T36" fmla="*/ 37 w 688"/>
                <a:gd name="T37" fmla="*/ 61 h 522"/>
                <a:gd name="T38" fmla="*/ 53 w 688"/>
                <a:gd name="T39" fmla="*/ 61 h 522"/>
                <a:gd name="T40" fmla="*/ 60 w 688"/>
                <a:gd name="T41" fmla="*/ 59 h 522"/>
                <a:gd name="T42" fmla="*/ 68 w 688"/>
                <a:gd name="T43" fmla="*/ 61 h 522"/>
                <a:gd name="T44" fmla="*/ 76 w 688"/>
                <a:gd name="T45" fmla="*/ 58 h 522"/>
                <a:gd name="T46" fmla="*/ 83 w 688"/>
                <a:gd name="T47" fmla="*/ 55 h 522"/>
                <a:gd name="T48" fmla="*/ 114 w 688"/>
                <a:gd name="T49" fmla="*/ 38 h 522"/>
                <a:gd name="T50" fmla="*/ 107 w 688"/>
                <a:gd name="T51" fmla="*/ 38 h 522"/>
                <a:gd name="T52" fmla="*/ 84 w 688"/>
                <a:gd name="T53" fmla="*/ 31 h 522"/>
                <a:gd name="T54" fmla="*/ 80 w 688"/>
                <a:gd name="T55" fmla="*/ 29 h 522"/>
                <a:gd name="T56" fmla="*/ 78 w 688"/>
                <a:gd name="T57" fmla="*/ 27 h 522"/>
                <a:gd name="T58" fmla="*/ 77 w 688"/>
                <a:gd name="T59" fmla="*/ 26 h 522"/>
                <a:gd name="T60" fmla="*/ 75 w 688"/>
                <a:gd name="T61" fmla="*/ 23 h 522"/>
                <a:gd name="T62" fmla="*/ 76 w 688"/>
                <a:gd name="T63" fmla="*/ 22 h 522"/>
                <a:gd name="T64" fmla="*/ 74 w 688"/>
                <a:gd name="T65" fmla="*/ 21 h 522"/>
                <a:gd name="T66" fmla="*/ 72 w 688"/>
                <a:gd name="T67" fmla="*/ 21 h 522"/>
                <a:gd name="T68" fmla="*/ 72 w 688"/>
                <a:gd name="T69" fmla="*/ 22 h 522"/>
                <a:gd name="T70" fmla="*/ 70 w 688"/>
                <a:gd name="T71" fmla="*/ 22 h 522"/>
                <a:gd name="T72" fmla="*/ 67 w 688"/>
                <a:gd name="T73" fmla="*/ 21 h 522"/>
                <a:gd name="T74" fmla="*/ 69 w 688"/>
                <a:gd name="T75" fmla="*/ 18 h 522"/>
                <a:gd name="T76" fmla="*/ 71 w 688"/>
                <a:gd name="T77" fmla="*/ 14 h 522"/>
                <a:gd name="T78" fmla="*/ 68 w 688"/>
                <a:gd name="T79" fmla="*/ 11 h 522"/>
                <a:gd name="T80" fmla="*/ 58 w 688"/>
                <a:gd name="T81" fmla="*/ 4 h 522"/>
                <a:gd name="T82" fmla="*/ 54 w 688"/>
                <a:gd name="T83" fmla="*/ 2 h 522"/>
                <a:gd name="T84" fmla="*/ 53 w 688"/>
                <a:gd name="T85" fmla="*/ 3 h 522"/>
                <a:gd name="T86" fmla="*/ 52 w 688"/>
                <a:gd name="T87" fmla="*/ 2 h 522"/>
                <a:gd name="T88" fmla="*/ 50 w 688"/>
                <a:gd name="T89" fmla="*/ 2 h 522"/>
                <a:gd name="T90" fmla="*/ 48 w 688"/>
                <a:gd name="T91" fmla="*/ 2 h 522"/>
                <a:gd name="T92" fmla="*/ 47 w 688"/>
                <a:gd name="T93" fmla="*/ 2 h 522"/>
                <a:gd name="T94" fmla="*/ 47 w 688"/>
                <a:gd name="T95" fmla="*/ 2 h 522"/>
                <a:gd name="T96" fmla="*/ 45 w 688"/>
                <a:gd name="T97" fmla="*/ 1 h 522"/>
                <a:gd name="T98" fmla="*/ 44 w 688"/>
                <a:gd name="T99" fmla="*/ 2 h 522"/>
                <a:gd name="T100" fmla="*/ 42 w 688"/>
                <a:gd name="T101" fmla="*/ 3 h 522"/>
                <a:gd name="T102" fmla="*/ 40 w 688"/>
                <a:gd name="T103" fmla="*/ 2 h 522"/>
                <a:gd name="T104" fmla="*/ 39 w 688"/>
                <a:gd name="T105" fmla="*/ 1 h 522"/>
                <a:gd name="T106" fmla="*/ 37 w 688"/>
                <a:gd name="T107" fmla="*/ 0 h 522"/>
                <a:gd name="T108" fmla="*/ 32 w 688"/>
                <a:gd name="T109" fmla="*/ 3 h 522"/>
                <a:gd name="T110" fmla="*/ 32 w 688"/>
                <a:gd name="T111" fmla="*/ 2 h 522"/>
                <a:gd name="T112" fmla="*/ 31 w 688"/>
                <a:gd name="T113" fmla="*/ 3 h 522"/>
                <a:gd name="T114" fmla="*/ 30 w 688"/>
                <a:gd name="T115" fmla="*/ 3 h 522"/>
                <a:gd name="T116" fmla="*/ 29 w 688"/>
                <a:gd name="T117" fmla="*/ 3 h 522"/>
                <a:gd name="T118" fmla="*/ 27 w 688"/>
                <a:gd name="T119" fmla="*/ 3 h 5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88"/>
                <a:gd name="T181" fmla="*/ 0 h 522"/>
                <a:gd name="T182" fmla="*/ 688 w 688"/>
                <a:gd name="T183" fmla="*/ 522 h 5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88" h="522">
                  <a:moveTo>
                    <a:pt x="160" y="25"/>
                  </a:moveTo>
                  <a:lnTo>
                    <a:pt x="145" y="87"/>
                  </a:lnTo>
                  <a:lnTo>
                    <a:pt x="139" y="93"/>
                  </a:lnTo>
                  <a:lnTo>
                    <a:pt x="132" y="96"/>
                  </a:lnTo>
                  <a:lnTo>
                    <a:pt x="95" y="144"/>
                  </a:lnTo>
                  <a:lnTo>
                    <a:pt x="87" y="178"/>
                  </a:lnTo>
                  <a:lnTo>
                    <a:pt x="84" y="182"/>
                  </a:lnTo>
                  <a:lnTo>
                    <a:pt x="73" y="182"/>
                  </a:lnTo>
                  <a:lnTo>
                    <a:pt x="67" y="186"/>
                  </a:lnTo>
                  <a:lnTo>
                    <a:pt x="59" y="203"/>
                  </a:lnTo>
                  <a:lnTo>
                    <a:pt x="56" y="201"/>
                  </a:lnTo>
                  <a:lnTo>
                    <a:pt x="51" y="289"/>
                  </a:lnTo>
                  <a:lnTo>
                    <a:pt x="44" y="294"/>
                  </a:lnTo>
                  <a:lnTo>
                    <a:pt x="35" y="298"/>
                  </a:lnTo>
                  <a:lnTo>
                    <a:pt x="16" y="296"/>
                  </a:lnTo>
                  <a:lnTo>
                    <a:pt x="8" y="298"/>
                  </a:lnTo>
                  <a:lnTo>
                    <a:pt x="8" y="311"/>
                  </a:lnTo>
                  <a:lnTo>
                    <a:pt x="3" y="314"/>
                  </a:lnTo>
                  <a:lnTo>
                    <a:pt x="0" y="322"/>
                  </a:lnTo>
                  <a:lnTo>
                    <a:pt x="4" y="325"/>
                  </a:lnTo>
                  <a:lnTo>
                    <a:pt x="10" y="326"/>
                  </a:lnTo>
                  <a:lnTo>
                    <a:pt x="16" y="330"/>
                  </a:lnTo>
                  <a:lnTo>
                    <a:pt x="24" y="330"/>
                  </a:lnTo>
                  <a:lnTo>
                    <a:pt x="32" y="332"/>
                  </a:lnTo>
                  <a:lnTo>
                    <a:pt x="39" y="336"/>
                  </a:lnTo>
                  <a:lnTo>
                    <a:pt x="46" y="344"/>
                  </a:lnTo>
                  <a:lnTo>
                    <a:pt x="48" y="353"/>
                  </a:lnTo>
                  <a:lnTo>
                    <a:pt x="59" y="366"/>
                  </a:lnTo>
                  <a:lnTo>
                    <a:pt x="78" y="378"/>
                  </a:lnTo>
                  <a:lnTo>
                    <a:pt x="98" y="426"/>
                  </a:lnTo>
                  <a:lnTo>
                    <a:pt x="106" y="431"/>
                  </a:lnTo>
                  <a:lnTo>
                    <a:pt x="125" y="435"/>
                  </a:lnTo>
                  <a:lnTo>
                    <a:pt x="131" y="439"/>
                  </a:lnTo>
                  <a:lnTo>
                    <a:pt x="130" y="472"/>
                  </a:lnTo>
                  <a:lnTo>
                    <a:pt x="141" y="475"/>
                  </a:lnTo>
                  <a:lnTo>
                    <a:pt x="167" y="475"/>
                  </a:lnTo>
                  <a:lnTo>
                    <a:pt x="213" y="501"/>
                  </a:lnTo>
                  <a:lnTo>
                    <a:pt x="223" y="510"/>
                  </a:lnTo>
                  <a:lnTo>
                    <a:pt x="291" y="522"/>
                  </a:lnTo>
                  <a:lnTo>
                    <a:pt x="312" y="511"/>
                  </a:lnTo>
                  <a:lnTo>
                    <a:pt x="324" y="498"/>
                  </a:lnTo>
                  <a:lnTo>
                    <a:pt x="357" y="490"/>
                  </a:lnTo>
                  <a:lnTo>
                    <a:pt x="384" y="504"/>
                  </a:lnTo>
                  <a:lnTo>
                    <a:pt x="408" y="503"/>
                  </a:lnTo>
                  <a:lnTo>
                    <a:pt x="410" y="499"/>
                  </a:lnTo>
                  <a:lnTo>
                    <a:pt x="452" y="484"/>
                  </a:lnTo>
                  <a:lnTo>
                    <a:pt x="474" y="466"/>
                  </a:lnTo>
                  <a:lnTo>
                    <a:pt x="497" y="455"/>
                  </a:lnTo>
                  <a:lnTo>
                    <a:pt x="552" y="454"/>
                  </a:lnTo>
                  <a:lnTo>
                    <a:pt x="687" y="317"/>
                  </a:lnTo>
                  <a:lnTo>
                    <a:pt x="688" y="314"/>
                  </a:lnTo>
                  <a:lnTo>
                    <a:pt x="644" y="316"/>
                  </a:lnTo>
                  <a:lnTo>
                    <a:pt x="506" y="267"/>
                  </a:lnTo>
                  <a:lnTo>
                    <a:pt x="500" y="260"/>
                  </a:lnTo>
                  <a:lnTo>
                    <a:pt x="483" y="248"/>
                  </a:lnTo>
                  <a:lnTo>
                    <a:pt x="478" y="240"/>
                  </a:lnTo>
                  <a:lnTo>
                    <a:pt x="473" y="235"/>
                  </a:lnTo>
                  <a:lnTo>
                    <a:pt x="471" y="230"/>
                  </a:lnTo>
                  <a:lnTo>
                    <a:pt x="461" y="221"/>
                  </a:lnTo>
                  <a:lnTo>
                    <a:pt x="460" y="217"/>
                  </a:lnTo>
                  <a:lnTo>
                    <a:pt x="453" y="211"/>
                  </a:lnTo>
                  <a:lnTo>
                    <a:pt x="449" y="191"/>
                  </a:lnTo>
                  <a:lnTo>
                    <a:pt x="450" y="187"/>
                  </a:lnTo>
                  <a:lnTo>
                    <a:pt x="454" y="183"/>
                  </a:lnTo>
                  <a:lnTo>
                    <a:pt x="454" y="182"/>
                  </a:lnTo>
                  <a:lnTo>
                    <a:pt x="446" y="176"/>
                  </a:lnTo>
                  <a:lnTo>
                    <a:pt x="443" y="175"/>
                  </a:lnTo>
                  <a:lnTo>
                    <a:pt x="432" y="179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5" y="181"/>
                  </a:lnTo>
                  <a:lnTo>
                    <a:pt x="420" y="182"/>
                  </a:lnTo>
                  <a:lnTo>
                    <a:pt x="410" y="181"/>
                  </a:lnTo>
                  <a:lnTo>
                    <a:pt x="404" y="176"/>
                  </a:lnTo>
                  <a:lnTo>
                    <a:pt x="403" y="168"/>
                  </a:lnTo>
                  <a:lnTo>
                    <a:pt x="416" y="147"/>
                  </a:lnTo>
                  <a:lnTo>
                    <a:pt x="423" y="119"/>
                  </a:lnTo>
                  <a:lnTo>
                    <a:pt x="428" y="115"/>
                  </a:lnTo>
                  <a:lnTo>
                    <a:pt x="419" y="103"/>
                  </a:lnTo>
                  <a:lnTo>
                    <a:pt x="407" y="94"/>
                  </a:lnTo>
                  <a:lnTo>
                    <a:pt x="400" y="82"/>
                  </a:lnTo>
                  <a:lnTo>
                    <a:pt x="351" y="33"/>
                  </a:lnTo>
                  <a:lnTo>
                    <a:pt x="345" y="32"/>
                  </a:lnTo>
                  <a:lnTo>
                    <a:pt x="325" y="18"/>
                  </a:lnTo>
                  <a:lnTo>
                    <a:pt x="316" y="19"/>
                  </a:lnTo>
                  <a:lnTo>
                    <a:pt x="314" y="20"/>
                  </a:lnTo>
                  <a:lnTo>
                    <a:pt x="311" y="20"/>
                  </a:lnTo>
                  <a:lnTo>
                    <a:pt x="310" y="17"/>
                  </a:lnTo>
                  <a:lnTo>
                    <a:pt x="301" y="17"/>
                  </a:lnTo>
                  <a:lnTo>
                    <a:pt x="297" y="14"/>
                  </a:lnTo>
                  <a:lnTo>
                    <a:pt x="294" y="14"/>
                  </a:lnTo>
                  <a:lnTo>
                    <a:pt x="290" y="17"/>
                  </a:lnTo>
                  <a:lnTo>
                    <a:pt x="284" y="18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4"/>
                  </a:lnTo>
                  <a:lnTo>
                    <a:pt x="274" y="10"/>
                  </a:lnTo>
                  <a:lnTo>
                    <a:pt x="270" y="10"/>
                  </a:lnTo>
                  <a:lnTo>
                    <a:pt x="270" y="14"/>
                  </a:lnTo>
                  <a:lnTo>
                    <a:pt x="266" y="17"/>
                  </a:lnTo>
                  <a:lnTo>
                    <a:pt x="254" y="19"/>
                  </a:lnTo>
                  <a:lnTo>
                    <a:pt x="251" y="20"/>
                  </a:lnTo>
                  <a:lnTo>
                    <a:pt x="243" y="20"/>
                  </a:lnTo>
                  <a:lnTo>
                    <a:pt x="237" y="11"/>
                  </a:lnTo>
                  <a:lnTo>
                    <a:pt x="236" y="9"/>
                  </a:lnTo>
                  <a:lnTo>
                    <a:pt x="234" y="8"/>
                  </a:lnTo>
                  <a:lnTo>
                    <a:pt x="229" y="8"/>
                  </a:lnTo>
                  <a:lnTo>
                    <a:pt x="220" y="0"/>
                  </a:lnTo>
                  <a:lnTo>
                    <a:pt x="204" y="36"/>
                  </a:lnTo>
                  <a:lnTo>
                    <a:pt x="197" y="27"/>
                  </a:lnTo>
                  <a:lnTo>
                    <a:pt x="196" y="24"/>
                  </a:lnTo>
                  <a:lnTo>
                    <a:pt x="192" y="19"/>
                  </a:lnTo>
                  <a:lnTo>
                    <a:pt x="186" y="19"/>
                  </a:lnTo>
                  <a:lnTo>
                    <a:pt x="183" y="23"/>
                  </a:lnTo>
                  <a:lnTo>
                    <a:pt x="183" y="26"/>
                  </a:lnTo>
                  <a:lnTo>
                    <a:pt x="180" y="28"/>
                  </a:lnTo>
                  <a:lnTo>
                    <a:pt x="177" y="28"/>
                  </a:lnTo>
                  <a:lnTo>
                    <a:pt x="173" y="26"/>
                  </a:lnTo>
                  <a:lnTo>
                    <a:pt x="162" y="26"/>
                  </a:lnTo>
                  <a:lnTo>
                    <a:pt x="160" y="2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6" name="Freeform 204"/>
            <p:cNvSpPr>
              <a:spLocks/>
            </p:cNvSpPr>
            <p:nvPr/>
          </p:nvSpPr>
          <p:spPr bwMode="auto">
            <a:xfrm>
              <a:off x="5079216" y="2508910"/>
              <a:ext cx="824593" cy="519502"/>
            </a:xfrm>
            <a:custGeom>
              <a:avLst/>
              <a:gdLst>
                <a:gd name="T0" fmla="*/ 24 w 688"/>
                <a:gd name="T1" fmla="*/ 10 h 522"/>
                <a:gd name="T2" fmla="*/ 22 w 688"/>
                <a:gd name="T3" fmla="*/ 11 h 522"/>
                <a:gd name="T4" fmla="*/ 15 w 688"/>
                <a:gd name="T5" fmla="*/ 21 h 522"/>
                <a:gd name="T6" fmla="*/ 12 w 688"/>
                <a:gd name="T7" fmla="*/ 22 h 522"/>
                <a:gd name="T8" fmla="*/ 10 w 688"/>
                <a:gd name="T9" fmla="*/ 25 h 522"/>
                <a:gd name="T10" fmla="*/ 8 w 688"/>
                <a:gd name="T11" fmla="*/ 35 h 522"/>
                <a:gd name="T12" fmla="*/ 6 w 688"/>
                <a:gd name="T13" fmla="*/ 36 h 522"/>
                <a:gd name="T14" fmla="*/ 1 w 688"/>
                <a:gd name="T15" fmla="*/ 36 h 522"/>
                <a:gd name="T16" fmla="*/ 1 w 688"/>
                <a:gd name="T17" fmla="*/ 38 h 522"/>
                <a:gd name="T18" fmla="*/ 1 w 688"/>
                <a:gd name="T19" fmla="*/ 39 h 522"/>
                <a:gd name="T20" fmla="*/ 3 w 688"/>
                <a:gd name="T21" fmla="*/ 40 h 522"/>
                <a:gd name="T22" fmla="*/ 5 w 688"/>
                <a:gd name="T23" fmla="*/ 40 h 522"/>
                <a:gd name="T24" fmla="*/ 8 w 688"/>
                <a:gd name="T25" fmla="*/ 41 h 522"/>
                <a:gd name="T26" fmla="*/ 10 w 688"/>
                <a:gd name="T27" fmla="*/ 44 h 522"/>
                <a:gd name="T28" fmla="*/ 17 w 688"/>
                <a:gd name="T29" fmla="*/ 51 h 522"/>
                <a:gd name="T30" fmla="*/ 21 w 688"/>
                <a:gd name="T31" fmla="*/ 53 h 522"/>
                <a:gd name="T32" fmla="*/ 22 w 688"/>
                <a:gd name="T33" fmla="*/ 57 h 522"/>
                <a:gd name="T34" fmla="*/ 28 w 688"/>
                <a:gd name="T35" fmla="*/ 57 h 522"/>
                <a:gd name="T36" fmla="*/ 37 w 688"/>
                <a:gd name="T37" fmla="*/ 61 h 522"/>
                <a:gd name="T38" fmla="*/ 53 w 688"/>
                <a:gd name="T39" fmla="*/ 61 h 522"/>
                <a:gd name="T40" fmla="*/ 60 w 688"/>
                <a:gd name="T41" fmla="*/ 59 h 522"/>
                <a:gd name="T42" fmla="*/ 68 w 688"/>
                <a:gd name="T43" fmla="*/ 61 h 522"/>
                <a:gd name="T44" fmla="*/ 76 w 688"/>
                <a:gd name="T45" fmla="*/ 58 h 522"/>
                <a:gd name="T46" fmla="*/ 83 w 688"/>
                <a:gd name="T47" fmla="*/ 55 h 522"/>
                <a:gd name="T48" fmla="*/ 114 w 688"/>
                <a:gd name="T49" fmla="*/ 38 h 522"/>
                <a:gd name="T50" fmla="*/ 107 w 688"/>
                <a:gd name="T51" fmla="*/ 38 h 522"/>
                <a:gd name="T52" fmla="*/ 84 w 688"/>
                <a:gd name="T53" fmla="*/ 31 h 522"/>
                <a:gd name="T54" fmla="*/ 80 w 688"/>
                <a:gd name="T55" fmla="*/ 29 h 522"/>
                <a:gd name="T56" fmla="*/ 78 w 688"/>
                <a:gd name="T57" fmla="*/ 27 h 522"/>
                <a:gd name="T58" fmla="*/ 77 w 688"/>
                <a:gd name="T59" fmla="*/ 26 h 522"/>
                <a:gd name="T60" fmla="*/ 75 w 688"/>
                <a:gd name="T61" fmla="*/ 23 h 522"/>
                <a:gd name="T62" fmla="*/ 76 w 688"/>
                <a:gd name="T63" fmla="*/ 22 h 522"/>
                <a:gd name="T64" fmla="*/ 74 w 688"/>
                <a:gd name="T65" fmla="*/ 21 h 522"/>
                <a:gd name="T66" fmla="*/ 72 w 688"/>
                <a:gd name="T67" fmla="*/ 21 h 522"/>
                <a:gd name="T68" fmla="*/ 72 w 688"/>
                <a:gd name="T69" fmla="*/ 22 h 522"/>
                <a:gd name="T70" fmla="*/ 70 w 688"/>
                <a:gd name="T71" fmla="*/ 22 h 522"/>
                <a:gd name="T72" fmla="*/ 67 w 688"/>
                <a:gd name="T73" fmla="*/ 21 h 522"/>
                <a:gd name="T74" fmla="*/ 69 w 688"/>
                <a:gd name="T75" fmla="*/ 18 h 522"/>
                <a:gd name="T76" fmla="*/ 71 w 688"/>
                <a:gd name="T77" fmla="*/ 14 h 522"/>
                <a:gd name="T78" fmla="*/ 68 w 688"/>
                <a:gd name="T79" fmla="*/ 11 h 522"/>
                <a:gd name="T80" fmla="*/ 58 w 688"/>
                <a:gd name="T81" fmla="*/ 4 h 522"/>
                <a:gd name="T82" fmla="*/ 54 w 688"/>
                <a:gd name="T83" fmla="*/ 2 h 522"/>
                <a:gd name="T84" fmla="*/ 53 w 688"/>
                <a:gd name="T85" fmla="*/ 3 h 522"/>
                <a:gd name="T86" fmla="*/ 52 w 688"/>
                <a:gd name="T87" fmla="*/ 2 h 522"/>
                <a:gd name="T88" fmla="*/ 50 w 688"/>
                <a:gd name="T89" fmla="*/ 2 h 522"/>
                <a:gd name="T90" fmla="*/ 48 w 688"/>
                <a:gd name="T91" fmla="*/ 2 h 522"/>
                <a:gd name="T92" fmla="*/ 47 w 688"/>
                <a:gd name="T93" fmla="*/ 2 h 522"/>
                <a:gd name="T94" fmla="*/ 47 w 688"/>
                <a:gd name="T95" fmla="*/ 2 h 522"/>
                <a:gd name="T96" fmla="*/ 45 w 688"/>
                <a:gd name="T97" fmla="*/ 1 h 522"/>
                <a:gd name="T98" fmla="*/ 44 w 688"/>
                <a:gd name="T99" fmla="*/ 2 h 522"/>
                <a:gd name="T100" fmla="*/ 42 w 688"/>
                <a:gd name="T101" fmla="*/ 3 h 522"/>
                <a:gd name="T102" fmla="*/ 40 w 688"/>
                <a:gd name="T103" fmla="*/ 2 h 522"/>
                <a:gd name="T104" fmla="*/ 39 w 688"/>
                <a:gd name="T105" fmla="*/ 1 h 522"/>
                <a:gd name="T106" fmla="*/ 37 w 688"/>
                <a:gd name="T107" fmla="*/ 0 h 522"/>
                <a:gd name="T108" fmla="*/ 32 w 688"/>
                <a:gd name="T109" fmla="*/ 3 h 522"/>
                <a:gd name="T110" fmla="*/ 32 w 688"/>
                <a:gd name="T111" fmla="*/ 2 h 522"/>
                <a:gd name="T112" fmla="*/ 31 w 688"/>
                <a:gd name="T113" fmla="*/ 3 h 522"/>
                <a:gd name="T114" fmla="*/ 30 w 688"/>
                <a:gd name="T115" fmla="*/ 3 h 522"/>
                <a:gd name="T116" fmla="*/ 29 w 688"/>
                <a:gd name="T117" fmla="*/ 3 h 522"/>
                <a:gd name="T118" fmla="*/ 27 w 688"/>
                <a:gd name="T119" fmla="*/ 3 h 5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88"/>
                <a:gd name="T181" fmla="*/ 0 h 522"/>
                <a:gd name="T182" fmla="*/ 688 w 688"/>
                <a:gd name="T183" fmla="*/ 522 h 5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88" h="522">
                  <a:moveTo>
                    <a:pt x="160" y="25"/>
                  </a:moveTo>
                  <a:lnTo>
                    <a:pt x="145" y="87"/>
                  </a:lnTo>
                  <a:lnTo>
                    <a:pt x="139" y="93"/>
                  </a:lnTo>
                  <a:lnTo>
                    <a:pt x="132" y="96"/>
                  </a:lnTo>
                  <a:lnTo>
                    <a:pt x="95" y="144"/>
                  </a:lnTo>
                  <a:lnTo>
                    <a:pt x="87" y="178"/>
                  </a:lnTo>
                  <a:lnTo>
                    <a:pt x="84" y="182"/>
                  </a:lnTo>
                  <a:lnTo>
                    <a:pt x="73" y="182"/>
                  </a:lnTo>
                  <a:lnTo>
                    <a:pt x="67" y="186"/>
                  </a:lnTo>
                  <a:lnTo>
                    <a:pt x="59" y="203"/>
                  </a:lnTo>
                  <a:lnTo>
                    <a:pt x="56" y="201"/>
                  </a:lnTo>
                  <a:lnTo>
                    <a:pt x="51" y="289"/>
                  </a:lnTo>
                  <a:lnTo>
                    <a:pt x="44" y="294"/>
                  </a:lnTo>
                  <a:lnTo>
                    <a:pt x="35" y="298"/>
                  </a:lnTo>
                  <a:lnTo>
                    <a:pt x="16" y="296"/>
                  </a:lnTo>
                  <a:lnTo>
                    <a:pt x="8" y="298"/>
                  </a:lnTo>
                  <a:lnTo>
                    <a:pt x="8" y="311"/>
                  </a:lnTo>
                  <a:lnTo>
                    <a:pt x="3" y="314"/>
                  </a:lnTo>
                  <a:lnTo>
                    <a:pt x="0" y="322"/>
                  </a:lnTo>
                  <a:lnTo>
                    <a:pt x="4" y="325"/>
                  </a:lnTo>
                  <a:lnTo>
                    <a:pt x="10" y="326"/>
                  </a:lnTo>
                  <a:lnTo>
                    <a:pt x="16" y="330"/>
                  </a:lnTo>
                  <a:lnTo>
                    <a:pt x="24" y="330"/>
                  </a:lnTo>
                  <a:lnTo>
                    <a:pt x="32" y="332"/>
                  </a:lnTo>
                  <a:lnTo>
                    <a:pt x="39" y="336"/>
                  </a:lnTo>
                  <a:lnTo>
                    <a:pt x="46" y="344"/>
                  </a:lnTo>
                  <a:lnTo>
                    <a:pt x="48" y="353"/>
                  </a:lnTo>
                  <a:lnTo>
                    <a:pt x="59" y="366"/>
                  </a:lnTo>
                  <a:lnTo>
                    <a:pt x="78" y="378"/>
                  </a:lnTo>
                  <a:lnTo>
                    <a:pt x="98" y="426"/>
                  </a:lnTo>
                  <a:lnTo>
                    <a:pt x="106" y="431"/>
                  </a:lnTo>
                  <a:lnTo>
                    <a:pt x="125" y="435"/>
                  </a:lnTo>
                  <a:lnTo>
                    <a:pt x="131" y="439"/>
                  </a:lnTo>
                  <a:lnTo>
                    <a:pt x="130" y="472"/>
                  </a:lnTo>
                  <a:lnTo>
                    <a:pt x="141" y="475"/>
                  </a:lnTo>
                  <a:lnTo>
                    <a:pt x="167" y="475"/>
                  </a:lnTo>
                  <a:lnTo>
                    <a:pt x="213" y="501"/>
                  </a:lnTo>
                  <a:lnTo>
                    <a:pt x="223" y="510"/>
                  </a:lnTo>
                  <a:lnTo>
                    <a:pt x="291" y="522"/>
                  </a:lnTo>
                  <a:lnTo>
                    <a:pt x="312" y="511"/>
                  </a:lnTo>
                  <a:lnTo>
                    <a:pt x="324" y="498"/>
                  </a:lnTo>
                  <a:lnTo>
                    <a:pt x="357" y="490"/>
                  </a:lnTo>
                  <a:lnTo>
                    <a:pt x="384" y="504"/>
                  </a:lnTo>
                  <a:lnTo>
                    <a:pt x="408" y="503"/>
                  </a:lnTo>
                  <a:lnTo>
                    <a:pt x="410" y="499"/>
                  </a:lnTo>
                  <a:lnTo>
                    <a:pt x="452" y="484"/>
                  </a:lnTo>
                  <a:lnTo>
                    <a:pt x="474" y="466"/>
                  </a:lnTo>
                  <a:lnTo>
                    <a:pt x="497" y="455"/>
                  </a:lnTo>
                  <a:lnTo>
                    <a:pt x="552" y="454"/>
                  </a:lnTo>
                  <a:lnTo>
                    <a:pt x="687" y="317"/>
                  </a:lnTo>
                  <a:lnTo>
                    <a:pt x="688" y="314"/>
                  </a:lnTo>
                  <a:lnTo>
                    <a:pt x="644" y="316"/>
                  </a:lnTo>
                  <a:lnTo>
                    <a:pt x="506" y="267"/>
                  </a:lnTo>
                  <a:lnTo>
                    <a:pt x="500" y="260"/>
                  </a:lnTo>
                  <a:lnTo>
                    <a:pt x="483" y="248"/>
                  </a:lnTo>
                  <a:lnTo>
                    <a:pt x="478" y="240"/>
                  </a:lnTo>
                  <a:lnTo>
                    <a:pt x="473" y="235"/>
                  </a:lnTo>
                  <a:lnTo>
                    <a:pt x="471" y="230"/>
                  </a:lnTo>
                  <a:lnTo>
                    <a:pt x="461" y="221"/>
                  </a:lnTo>
                  <a:lnTo>
                    <a:pt x="460" y="217"/>
                  </a:lnTo>
                  <a:lnTo>
                    <a:pt x="453" y="211"/>
                  </a:lnTo>
                  <a:lnTo>
                    <a:pt x="449" y="191"/>
                  </a:lnTo>
                  <a:lnTo>
                    <a:pt x="450" y="187"/>
                  </a:lnTo>
                  <a:lnTo>
                    <a:pt x="454" y="183"/>
                  </a:lnTo>
                  <a:lnTo>
                    <a:pt x="454" y="182"/>
                  </a:lnTo>
                  <a:lnTo>
                    <a:pt x="446" y="176"/>
                  </a:lnTo>
                  <a:lnTo>
                    <a:pt x="443" y="175"/>
                  </a:lnTo>
                  <a:lnTo>
                    <a:pt x="432" y="179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5" y="181"/>
                  </a:lnTo>
                  <a:lnTo>
                    <a:pt x="420" y="182"/>
                  </a:lnTo>
                  <a:lnTo>
                    <a:pt x="410" y="181"/>
                  </a:lnTo>
                  <a:lnTo>
                    <a:pt x="404" y="176"/>
                  </a:lnTo>
                  <a:lnTo>
                    <a:pt x="403" y="168"/>
                  </a:lnTo>
                  <a:lnTo>
                    <a:pt x="416" y="147"/>
                  </a:lnTo>
                  <a:lnTo>
                    <a:pt x="423" y="119"/>
                  </a:lnTo>
                  <a:lnTo>
                    <a:pt x="428" y="115"/>
                  </a:lnTo>
                  <a:lnTo>
                    <a:pt x="419" y="103"/>
                  </a:lnTo>
                  <a:lnTo>
                    <a:pt x="407" y="94"/>
                  </a:lnTo>
                  <a:lnTo>
                    <a:pt x="400" y="82"/>
                  </a:lnTo>
                  <a:lnTo>
                    <a:pt x="351" y="33"/>
                  </a:lnTo>
                  <a:lnTo>
                    <a:pt x="345" y="32"/>
                  </a:lnTo>
                  <a:lnTo>
                    <a:pt x="325" y="18"/>
                  </a:lnTo>
                  <a:lnTo>
                    <a:pt x="316" y="19"/>
                  </a:lnTo>
                  <a:lnTo>
                    <a:pt x="314" y="20"/>
                  </a:lnTo>
                  <a:lnTo>
                    <a:pt x="311" y="20"/>
                  </a:lnTo>
                  <a:lnTo>
                    <a:pt x="310" y="17"/>
                  </a:lnTo>
                  <a:lnTo>
                    <a:pt x="301" y="17"/>
                  </a:lnTo>
                  <a:lnTo>
                    <a:pt x="297" y="14"/>
                  </a:lnTo>
                  <a:lnTo>
                    <a:pt x="294" y="14"/>
                  </a:lnTo>
                  <a:lnTo>
                    <a:pt x="290" y="17"/>
                  </a:lnTo>
                  <a:lnTo>
                    <a:pt x="284" y="18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4"/>
                  </a:lnTo>
                  <a:lnTo>
                    <a:pt x="274" y="10"/>
                  </a:lnTo>
                  <a:lnTo>
                    <a:pt x="270" y="10"/>
                  </a:lnTo>
                  <a:lnTo>
                    <a:pt x="270" y="14"/>
                  </a:lnTo>
                  <a:lnTo>
                    <a:pt x="266" y="17"/>
                  </a:lnTo>
                  <a:lnTo>
                    <a:pt x="254" y="19"/>
                  </a:lnTo>
                  <a:lnTo>
                    <a:pt x="251" y="20"/>
                  </a:lnTo>
                  <a:lnTo>
                    <a:pt x="243" y="20"/>
                  </a:lnTo>
                  <a:lnTo>
                    <a:pt x="237" y="11"/>
                  </a:lnTo>
                  <a:lnTo>
                    <a:pt x="236" y="9"/>
                  </a:lnTo>
                  <a:lnTo>
                    <a:pt x="234" y="8"/>
                  </a:lnTo>
                  <a:lnTo>
                    <a:pt x="229" y="8"/>
                  </a:lnTo>
                  <a:lnTo>
                    <a:pt x="220" y="0"/>
                  </a:lnTo>
                  <a:lnTo>
                    <a:pt x="204" y="36"/>
                  </a:lnTo>
                  <a:lnTo>
                    <a:pt x="197" y="27"/>
                  </a:lnTo>
                  <a:lnTo>
                    <a:pt x="196" y="24"/>
                  </a:lnTo>
                  <a:lnTo>
                    <a:pt x="192" y="19"/>
                  </a:lnTo>
                  <a:lnTo>
                    <a:pt x="186" y="19"/>
                  </a:lnTo>
                  <a:lnTo>
                    <a:pt x="183" y="23"/>
                  </a:lnTo>
                  <a:lnTo>
                    <a:pt x="183" y="26"/>
                  </a:lnTo>
                  <a:lnTo>
                    <a:pt x="180" y="28"/>
                  </a:lnTo>
                  <a:lnTo>
                    <a:pt x="177" y="28"/>
                  </a:lnTo>
                  <a:lnTo>
                    <a:pt x="173" y="26"/>
                  </a:lnTo>
                  <a:lnTo>
                    <a:pt x="162" y="26"/>
                  </a:lnTo>
                  <a:lnTo>
                    <a:pt x="160" y="2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7" name="Freeform 205"/>
            <p:cNvSpPr>
              <a:spLocks/>
            </p:cNvSpPr>
            <p:nvPr/>
          </p:nvSpPr>
          <p:spPr bwMode="auto">
            <a:xfrm>
              <a:off x="4912673" y="3670366"/>
              <a:ext cx="586963" cy="779252"/>
            </a:xfrm>
            <a:custGeom>
              <a:avLst/>
              <a:gdLst>
                <a:gd name="T0" fmla="*/ 82 w 489"/>
                <a:gd name="T1" fmla="*/ 1 h 783"/>
                <a:gd name="T2" fmla="*/ 80 w 489"/>
                <a:gd name="T3" fmla="*/ 7 h 783"/>
                <a:gd name="T4" fmla="*/ 80 w 489"/>
                <a:gd name="T5" fmla="*/ 14 h 783"/>
                <a:gd name="T6" fmla="*/ 80 w 489"/>
                <a:gd name="T7" fmla="*/ 20 h 783"/>
                <a:gd name="T8" fmla="*/ 82 w 489"/>
                <a:gd name="T9" fmla="*/ 21 h 783"/>
                <a:gd name="T10" fmla="*/ 82 w 489"/>
                <a:gd name="T11" fmla="*/ 23 h 783"/>
                <a:gd name="T12" fmla="*/ 80 w 489"/>
                <a:gd name="T13" fmla="*/ 26 h 783"/>
                <a:gd name="T14" fmla="*/ 79 w 489"/>
                <a:gd name="T15" fmla="*/ 28 h 783"/>
                <a:gd name="T16" fmla="*/ 74 w 489"/>
                <a:gd name="T17" fmla="*/ 33 h 783"/>
                <a:gd name="T18" fmla="*/ 69 w 489"/>
                <a:gd name="T19" fmla="*/ 37 h 783"/>
                <a:gd name="T20" fmla="*/ 53 w 489"/>
                <a:gd name="T21" fmla="*/ 42 h 783"/>
                <a:gd name="T22" fmla="*/ 50 w 489"/>
                <a:gd name="T23" fmla="*/ 44 h 783"/>
                <a:gd name="T24" fmla="*/ 47 w 489"/>
                <a:gd name="T25" fmla="*/ 48 h 783"/>
                <a:gd name="T26" fmla="*/ 46 w 489"/>
                <a:gd name="T27" fmla="*/ 48 h 783"/>
                <a:gd name="T28" fmla="*/ 35 w 489"/>
                <a:gd name="T29" fmla="*/ 54 h 783"/>
                <a:gd name="T30" fmla="*/ 38 w 489"/>
                <a:gd name="T31" fmla="*/ 59 h 783"/>
                <a:gd name="T32" fmla="*/ 41 w 489"/>
                <a:gd name="T33" fmla="*/ 67 h 783"/>
                <a:gd name="T34" fmla="*/ 40 w 489"/>
                <a:gd name="T35" fmla="*/ 77 h 783"/>
                <a:gd name="T36" fmla="*/ 41 w 489"/>
                <a:gd name="T37" fmla="*/ 77 h 783"/>
                <a:gd name="T38" fmla="*/ 36 w 489"/>
                <a:gd name="T39" fmla="*/ 82 h 783"/>
                <a:gd name="T40" fmla="*/ 22 w 489"/>
                <a:gd name="T41" fmla="*/ 86 h 783"/>
                <a:gd name="T42" fmla="*/ 21 w 489"/>
                <a:gd name="T43" fmla="*/ 92 h 783"/>
                <a:gd name="T44" fmla="*/ 22 w 489"/>
                <a:gd name="T45" fmla="*/ 94 h 783"/>
                <a:gd name="T46" fmla="*/ 12 w 489"/>
                <a:gd name="T47" fmla="*/ 69 h 783"/>
                <a:gd name="T48" fmla="*/ 13 w 489"/>
                <a:gd name="T49" fmla="*/ 65 h 783"/>
                <a:gd name="T50" fmla="*/ 21 w 489"/>
                <a:gd name="T51" fmla="*/ 48 h 783"/>
                <a:gd name="T52" fmla="*/ 21 w 489"/>
                <a:gd name="T53" fmla="*/ 34 h 783"/>
                <a:gd name="T54" fmla="*/ 2 w 489"/>
                <a:gd name="T55" fmla="*/ 31 h 783"/>
                <a:gd name="T56" fmla="*/ 0 w 489"/>
                <a:gd name="T57" fmla="*/ 25 h 783"/>
                <a:gd name="T58" fmla="*/ 25 w 489"/>
                <a:gd name="T59" fmla="*/ 20 h 783"/>
                <a:gd name="T60" fmla="*/ 28 w 489"/>
                <a:gd name="T61" fmla="*/ 23 h 783"/>
                <a:gd name="T62" fmla="*/ 35 w 489"/>
                <a:gd name="T63" fmla="*/ 23 h 783"/>
                <a:gd name="T64" fmla="*/ 34 w 489"/>
                <a:gd name="T65" fmla="*/ 28 h 783"/>
                <a:gd name="T66" fmla="*/ 33 w 489"/>
                <a:gd name="T67" fmla="*/ 30 h 783"/>
                <a:gd name="T68" fmla="*/ 35 w 489"/>
                <a:gd name="T69" fmla="*/ 33 h 783"/>
                <a:gd name="T70" fmla="*/ 39 w 489"/>
                <a:gd name="T71" fmla="*/ 35 h 783"/>
                <a:gd name="T72" fmla="*/ 39 w 489"/>
                <a:gd name="T73" fmla="*/ 37 h 783"/>
                <a:gd name="T74" fmla="*/ 41 w 489"/>
                <a:gd name="T75" fmla="*/ 37 h 783"/>
                <a:gd name="T76" fmla="*/ 40 w 489"/>
                <a:gd name="T77" fmla="*/ 34 h 783"/>
                <a:gd name="T78" fmla="*/ 41 w 489"/>
                <a:gd name="T79" fmla="*/ 33 h 783"/>
                <a:gd name="T80" fmla="*/ 45 w 489"/>
                <a:gd name="T81" fmla="*/ 31 h 783"/>
                <a:gd name="T82" fmla="*/ 45 w 489"/>
                <a:gd name="T83" fmla="*/ 26 h 783"/>
                <a:gd name="T84" fmla="*/ 38 w 489"/>
                <a:gd name="T85" fmla="*/ 17 h 783"/>
                <a:gd name="T86" fmla="*/ 36 w 489"/>
                <a:gd name="T87" fmla="*/ 11 h 783"/>
                <a:gd name="T88" fmla="*/ 45 w 489"/>
                <a:gd name="T89" fmla="*/ 6 h 783"/>
                <a:gd name="T90" fmla="*/ 47 w 489"/>
                <a:gd name="T91" fmla="*/ 5 h 783"/>
                <a:gd name="T92" fmla="*/ 51 w 489"/>
                <a:gd name="T93" fmla="*/ 6 h 783"/>
                <a:gd name="T94" fmla="*/ 59 w 489"/>
                <a:gd name="T95" fmla="*/ 6 h 783"/>
                <a:gd name="T96" fmla="*/ 64 w 489"/>
                <a:gd name="T97" fmla="*/ 4 h 783"/>
                <a:gd name="T98" fmla="*/ 76 w 489"/>
                <a:gd name="T99" fmla="*/ 3 h 7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9"/>
                <a:gd name="T151" fmla="*/ 0 h 783"/>
                <a:gd name="T152" fmla="*/ 489 w 489"/>
                <a:gd name="T153" fmla="*/ 783 h 7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9" h="783">
                  <a:moveTo>
                    <a:pt x="485" y="0"/>
                  </a:moveTo>
                  <a:lnTo>
                    <a:pt x="488" y="2"/>
                  </a:lnTo>
                  <a:lnTo>
                    <a:pt x="489" y="6"/>
                  </a:lnTo>
                  <a:lnTo>
                    <a:pt x="488" y="8"/>
                  </a:lnTo>
                  <a:lnTo>
                    <a:pt x="489" y="22"/>
                  </a:lnTo>
                  <a:lnTo>
                    <a:pt x="473" y="59"/>
                  </a:lnTo>
                  <a:lnTo>
                    <a:pt x="477" y="106"/>
                  </a:lnTo>
                  <a:lnTo>
                    <a:pt x="472" y="110"/>
                  </a:lnTo>
                  <a:lnTo>
                    <a:pt x="473" y="118"/>
                  </a:lnTo>
                  <a:lnTo>
                    <a:pt x="476" y="118"/>
                  </a:lnTo>
                  <a:lnTo>
                    <a:pt x="477" y="164"/>
                  </a:lnTo>
                  <a:lnTo>
                    <a:pt x="475" y="171"/>
                  </a:lnTo>
                  <a:lnTo>
                    <a:pt x="480" y="174"/>
                  </a:lnTo>
                  <a:lnTo>
                    <a:pt x="483" y="171"/>
                  </a:lnTo>
                  <a:lnTo>
                    <a:pt x="486" y="177"/>
                  </a:lnTo>
                  <a:lnTo>
                    <a:pt x="481" y="183"/>
                  </a:lnTo>
                  <a:lnTo>
                    <a:pt x="485" y="183"/>
                  </a:lnTo>
                  <a:lnTo>
                    <a:pt x="488" y="187"/>
                  </a:lnTo>
                  <a:lnTo>
                    <a:pt x="488" y="194"/>
                  </a:lnTo>
                  <a:lnTo>
                    <a:pt x="482" y="211"/>
                  </a:lnTo>
                  <a:lnTo>
                    <a:pt x="473" y="219"/>
                  </a:lnTo>
                  <a:lnTo>
                    <a:pt x="481" y="222"/>
                  </a:lnTo>
                  <a:lnTo>
                    <a:pt x="479" y="234"/>
                  </a:lnTo>
                  <a:lnTo>
                    <a:pt x="470" y="238"/>
                  </a:lnTo>
                  <a:lnTo>
                    <a:pt x="454" y="262"/>
                  </a:lnTo>
                  <a:lnTo>
                    <a:pt x="440" y="269"/>
                  </a:lnTo>
                  <a:lnTo>
                    <a:pt x="444" y="273"/>
                  </a:lnTo>
                  <a:lnTo>
                    <a:pt x="440" y="280"/>
                  </a:lnTo>
                  <a:lnTo>
                    <a:pt x="415" y="296"/>
                  </a:lnTo>
                  <a:lnTo>
                    <a:pt x="409" y="305"/>
                  </a:lnTo>
                  <a:lnTo>
                    <a:pt x="398" y="311"/>
                  </a:lnTo>
                  <a:lnTo>
                    <a:pt x="385" y="311"/>
                  </a:lnTo>
                  <a:lnTo>
                    <a:pt x="313" y="351"/>
                  </a:lnTo>
                  <a:lnTo>
                    <a:pt x="311" y="359"/>
                  </a:lnTo>
                  <a:lnTo>
                    <a:pt x="307" y="362"/>
                  </a:lnTo>
                  <a:lnTo>
                    <a:pt x="300" y="363"/>
                  </a:lnTo>
                  <a:lnTo>
                    <a:pt x="297" y="364"/>
                  </a:lnTo>
                  <a:lnTo>
                    <a:pt x="302" y="369"/>
                  </a:lnTo>
                  <a:lnTo>
                    <a:pt x="282" y="395"/>
                  </a:lnTo>
                  <a:lnTo>
                    <a:pt x="278" y="393"/>
                  </a:lnTo>
                  <a:lnTo>
                    <a:pt x="275" y="385"/>
                  </a:lnTo>
                  <a:lnTo>
                    <a:pt x="270" y="398"/>
                  </a:lnTo>
                  <a:lnTo>
                    <a:pt x="263" y="401"/>
                  </a:lnTo>
                  <a:lnTo>
                    <a:pt x="222" y="443"/>
                  </a:lnTo>
                  <a:lnTo>
                    <a:pt x="212" y="446"/>
                  </a:lnTo>
                  <a:lnTo>
                    <a:pt x="211" y="478"/>
                  </a:lnTo>
                  <a:lnTo>
                    <a:pt x="223" y="487"/>
                  </a:lnTo>
                  <a:lnTo>
                    <a:pt x="227" y="492"/>
                  </a:lnTo>
                  <a:lnTo>
                    <a:pt x="227" y="499"/>
                  </a:lnTo>
                  <a:lnTo>
                    <a:pt x="228" y="500"/>
                  </a:lnTo>
                  <a:lnTo>
                    <a:pt x="241" y="557"/>
                  </a:lnTo>
                  <a:lnTo>
                    <a:pt x="246" y="553"/>
                  </a:lnTo>
                  <a:lnTo>
                    <a:pt x="249" y="556"/>
                  </a:lnTo>
                  <a:lnTo>
                    <a:pt x="236" y="645"/>
                  </a:lnTo>
                  <a:lnTo>
                    <a:pt x="238" y="654"/>
                  </a:lnTo>
                  <a:lnTo>
                    <a:pt x="241" y="646"/>
                  </a:lnTo>
                  <a:lnTo>
                    <a:pt x="247" y="639"/>
                  </a:lnTo>
                  <a:lnTo>
                    <a:pt x="244" y="652"/>
                  </a:lnTo>
                  <a:lnTo>
                    <a:pt x="228" y="678"/>
                  </a:lnTo>
                  <a:lnTo>
                    <a:pt x="215" y="686"/>
                  </a:lnTo>
                  <a:lnTo>
                    <a:pt x="200" y="692"/>
                  </a:lnTo>
                  <a:lnTo>
                    <a:pt x="191" y="693"/>
                  </a:lnTo>
                  <a:lnTo>
                    <a:pt x="131" y="721"/>
                  </a:lnTo>
                  <a:lnTo>
                    <a:pt x="113" y="746"/>
                  </a:lnTo>
                  <a:lnTo>
                    <a:pt x="111" y="746"/>
                  </a:lnTo>
                  <a:lnTo>
                    <a:pt x="123" y="760"/>
                  </a:lnTo>
                  <a:lnTo>
                    <a:pt x="129" y="756"/>
                  </a:lnTo>
                  <a:lnTo>
                    <a:pt x="131" y="751"/>
                  </a:lnTo>
                  <a:lnTo>
                    <a:pt x="129" y="783"/>
                  </a:lnTo>
                  <a:lnTo>
                    <a:pt x="94" y="782"/>
                  </a:lnTo>
                  <a:lnTo>
                    <a:pt x="70" y="576"/>
                  </a:lnTo>
                  <a:lnTo>
                    <a:pt x="71" y="575"/>
                  </a:lnTo>
                  <a:lnTo>
                    <a:pt x="71" y="562"/>
                  </a:lnTo>
                  <a:lnTo>
                    <a:pt x="73" y="552"/>
                  </a:lnTo>
                  <a:lnTo>
                    <a:pt x="78" y="544"/>
                  </a:lnTo>
                  <a:lnTo>
                    <a:pt x="95" y="531"/>
                  </a:lnTo>
                  <a:lnTo>
                    <a:pt x="130" y="447"/>
                  </a:lnTo>
                  <a:lnTo>
                    <a:pt x="122" y="399"/>
                  </a:lnTo>
                  <a:lnTo>
                    <a:pt x="131" y="384"/>
                  </a:lnTo>
                  <a:lnTo>
                    <a:pt x="136" y="325"/>
                  </a:lnTo>
                  <a:lnTo>
                    <a:pt x="128" y="287"/>
                  </a:lnTo>
                  <a:lnTo>
                    <a:pt x="120" y="279"/>
                  </a:lnTo>
                  <a:lnTo>
                    <a:pt x="45" y="253"/>
                  </a:lnTo>
                  <a:lnTo>
                    <a:pt x="12" y="254"/>
                  </a:lnTo>
                  <a:lnTo>
                    <a:pt x="12" y="237"/>
                  </a:lnTo>
                  <a:lnTo>
                    <a:pt x="8" y="235"/>
                  </a:lnTo>
                  <a:lnTo>
                    <a:pt x="0" y="211"/>
                  </a:lnTo>
                  <a:lnTo>
                    <a:pt x="145" y="163"/>
                  </a:lnTo>
                  <a:lnTo>
                    <a:pt x="146" y="165"/>
                  </a:lnTo>
                  <a:lnTo>
                    <a:pt x="150" y="167"/>
                  </a:lnTo>
                  <a:lnTo>
                    <a:pt x="158" y="180"/>
                  </a:lnTo>
                  <a:lnTo>
                    <a:pt x="166" y="189"/>
                  </a:lnTo>
                  <a:lnTo>
                    <a:pt x="169" y="190"/>
                  </a:lnTo>
                  <a:lnTo>
                    <a:pt x="200" y="183"/>
                  </a:lnTo>
                  <a:lnTo>
                    <a:pt x="203" y="184"/>
                  </a:lnTo>
                  <a:lnTo>
                    <a:pt x="207" y="189"/>
                  </a:lnTo>
                  <a:lnTo>
                    <a:pt x="211" y="222"/>
                  </a:lnTo>
                  <a:lnTo>
                    <a:pt x="209" y="227"/>
                  </a:lnTo>
                  <a:lnTo>
                    <a:pt x="204" y="233"/>
                  </a:lnTo>
                  <a:lnTo>
                    <a:pt x="205" y="239"/>
                  </a:lnTo>
                  <a:lnTo>
                    <a:pt x="200" y="243"/>
                  </a:lnTo>
                  <a:lnTo>
                    <a:pt x="198" y="252"/>
                  </a:lnTo>
                  <a:lnTo>
                    <a:pt x="200" y="256"/>
                  </a:lnTo>
                  <a:lnTo>
                    <a:pt x="204" y="268"/>
                  </a:lnTo>
                  <a:lnTo>
                    <a:pt x="207" y="271"/>
                  </a:lnTo>
                  <a:lnTo>
                    <a:pt x="210" y="273"/>
                  </a:lnTo>
                  <a:lnTo>
                    <a:pt x="224" y="290"/>
                  </a:lnTo>
                  <a:lnTo>
                    <a:pt x="233" y="294"/>
                  </a:lnTo>
                  <a:lnTo>
                    <a:pt x="236" y="298"/>
                  </a:lnTo>
                  <a:lnTo>
                    <a:pt x="236" y="301"/>
                  </a:lnTo>
                  <a:lnTo>
                    <a:pt x="232" y="306"/>
                  </a:lnTo>
                  <a:lnTo>
                    <a:pt x="233" y="307"/>
                  </a:lnTo>
                  <a:lnTo>
                    <a:pt x="243" y="307"/>
                  </a:lnTo>
                  <a:lnTo>
                    <a:pt x="244" y="306"/>
                  </a:lnTo>
                  <a:lnTo>
                    <a:pt x="244" y="293"/>
                  </a:lnTo>
                  <a:lnTo>
                    <a:pt x="242" y="289"/>
                  </a:lnTo>
                  <a:lnTo>
                    <a:pt x="239" y="287"/>
                  </a:lnTo>
                  <a:lnTo>
                    <a:pt x="239" y="282"/>
                  </a:lnTo>
                  <a:lnTo>
                    <a:pt x="242" y="275"/>
                  </a:lnTo>
                  <a:lnTo>
                    <a:pt x="242" y="272"/>
                  </a:lnTo>
                  <a:lnTo>
                    <a:pt x="243" y="268"/>
                  </a:lnTo>
                  <a:lnTo>
                    <a:pt x="264" y="259"/>
                  </a:lnTo>
                  <a:lnTo>
                    <a:pt x="267" y="255"/>
                  </a:lnTo>
                  <a:lnTo>
                    <a:pt x="268" y="237"/>
                  </a:lnTo>
                  <a:lnTo>
                    <a:pt x="270" y="231"/>
                  </a:lnTo>
                  <a:lnTo>
                    <a:pt x="267" y="219"/>
                  </a:lnTo>
                  <a:lnTo>
                    <a:pt x="272" y="204"/>
                  </a:lnTo>
                  <a:lnTo>
                    <a:pt x="269" y="194"/>
                  </a:lnTo>
                  <a:lnTo>
                    <a:pt x="224" y="139"/>
                  </a:lnTo>
                  <a:lnTo>
                    <a:pt x="222" y="140"/>
                  </a:lnTo>
                  <a:lnTo>
                    <a:pt x="218" y="102"/>
                  </a:lnTo>
                  <a:lnTo>
                    <a:pt x="216" y="96"/>
                  </a:lnTo>
                  <a:lnTo>
                    <a:pt x="215" y="90"/>
                  </a:lnTo>
                  <a:lnTo>
                    <a:pt x="228" y="48"/>
                  </a:lnTo>
                  <a:lnTo>
                    <a:pt x="265" y="48"/>
                  </a:lnTo>
                  <a:lnTo>
                    <a:pt x="270" y="44"/>
                  </a:lnTo>
                  <a:lnTo>
                    <a:pt x="276" y="44"/>
                  </a:lnTo>
                  <a:lnTo>
                    <a:pt x="282" y="46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302" y="53"/>
                  </a:lnTo>
                  <a:lnTo>
                    <a:pt x="308" y="53"/>
                  </a:lnTo>
                  <a:lnTo>
                    <a:pt x="318" y="47"/>
                  </a:lnTo>
                  <a:lnTo>
                    <a:pt x="353" y="47"/>
                  </a:lnTo>
                  <a:lnTo>
                    <a:pt x="364" y="36"/>
                  </a:lnTo>
                  <a:lnTo>
                    <a:pt x="375" y="35"/>
                  </a:lnTo>
                  <a:lnTo>
                    <a:pt x="384" y="33"/>
                  </a:lnTo>
                  <a:lnTo>
                    <a:pt x="394" y="38"/>
                  </a:lnTo>
                  <a:lnTo>
                    <a:pt x="410" y="37"/>
                  </a:lnTo>
                  <a:lnTo>
                    <a:pt x="454" y="22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8" name="Freeform 206"/>
            <p:cNvSpPr>
              <a:spLocks/>
            </p:cNvSpPr>
            <p:nvPr/>
          </p:nvSpPr>
          <p:spPr bwMode="auto">
            <a:xfrm>
              <a:off x="4912673" y="3670366"/>
              <a:ext cx="586963" cy="779252"/>
            </a:xfrm>
            <a:custGeom>
              <a:avLst/>
              <a:gdLst>
                <a:gd name="T0" fmla="*/ 82 w 489"/>
                <a:gd name="T1" fmla="*/ 1 h 783"/>
                <a:gd name="T2" fmla="*/ 80 w 489"/>
                <a:gd name="T3" fmla="*/ 7 h 783"/>
                <a:gd name="T4" fmla="*/ 80 w 489"/>
                <a:gd name="T5" fmla="*/ 14 h 783"/>
                <a:gd name="T6" fmla="*/ 80 w 489"/>
                <a:gd name="T7" fmla="*/ 20 h 783"/>
                <a:gd name="T8" fmla="*/ 82 w 489"/>
                <a:gd name="T9" fmla="*/ 21 h 783"/>
                <a:gd name="T10" fmla="*/ 82 w 489"/>
                <a:gd name="T11" fmla="*/ 23 h 783"/>
                <a:gd name="T12" fmla="*/ 80 w 489"/>
                <a:gd name="T13" fmla="*/ 26 h 783"/>
                <a:gd name="T14" fmla="*/ 79 w 489"/>
                <a:gd name="T15" fmla="*/ 28 h 783"/>
                <a:gd name="T16" fmla="*/ 74 w 489"/>
                <a:gd name="T17" fmla="*/ 33 h 783"/>
                <a:gd name="T18" fmla="*/ 69 w 489"/>
                <a:gd name="T19" fmla="*/ 37 h 783"/>
                <a:gd name="T20" fmla="*/ 53 w 489"/>
                <a:gd name="T21" fmla="*/ 42 h 783"/>
                <a:gd name="T22" fmla="*/ 50 w 489"/>
                <a:gd name="T23" fmla="*/ 44 h 783"/>
                <a:gd name="T24" fmla="*/ 47 w 489"/>
                <a:gd name="T25" fmla="*/ 48 h 783"/>
                <a:gd name="T26" fmla="*/ 46 w 489"/>
                <a:gd name="T27" fmla="*/ 48 h 783"/>
                <a:gd name="T28" fmla="*/ 35 w 489"/>
                <a:gd name="T29" fmla="*/ 54 h 783"/>
                <a:gd name="T30" fmla="*/ 38 w 489"/>
                <a:gd name="T31" fmla="*/ 59 h 783"/>
                <a:gd name="T32" fmla="*/ 41 w 489"/>
                <a:gd name="T33" fmla="*/ 67 h 783"/>
                <a:gd name="T34" fmla="*/ 40 w 489"/>
                <a:gd name="T35" fmla="*/ 77 h 783"/>
                <a:gd name="T36" fmla="*/ 41 w 489"/>
                <a:gd name="T37" fmla="*/ 77 h 783"/>
                <a:gd name="T38" fmla="*/ 36 w 489"/>
                <a:gd name="T39" fmla="*/ 82 h 783"/>
                <a:gd name="T40" fmla="*/ 22 w 489"/>
                <a:gd name="T41" fmla="*/ 86 h 783"/>
                <a:gd name="T42" fmla="*/ 21 w 489"/>
                <a:gd name="T43" fmla="*/ 92 h 783"/>
                <a:gd name="T44" fmla="*/ 22 w 489"/>
                <a:gd name="T45" fmla="*/ 94 h 783"/>
                <a:gd name="T46" fmla="*/ 12 w 489"/>
                <a:gd name="T47" fmla="*/ 69 h 783"/>
                <a:gd name="T48" fmla="*/ 13 w 489"/>
                <a:gd name="T49" fmla="*/ 65 h 783"/>
                <a:gd name="T50" fmla="*/ 21 w 489"/>
                <a:gd name="T51" fmla="*/ 48 h 783"/>
                <a:gd name="T52" fmla="*/ 21 w 489"/>
                <a:gd name="T53" fmla="*/ 34 h 783"/>
                <a:gd name="T54" fmla="*/ 2 w 489"/>
                <a:gd name="T55" fmla="*/ 31 h 783"/>
                <a:gd name="T56" fmla="*/ 0 w 489"/>
                <a:gd name="T57" fmla="*/ 25 h 783"/>
                <a:gd name="T58" fmla="*/ 25 w 489"/>
                <a:gd name="T59" fmla="*/ 20 h 783"/>
                <a:gd name="T60" fmla="*/ 28 w 489"/>
                <a:gd name="T61" fmla="*/ 23 h 783"/>
                <a:gd name="T62" fmla="*/ 35 w 489"/>
                <a:gd name="T63" fmla="*/ 23 h 783"/>
                <a:gd name="T64" fmla="*/ 34 w 489"/>
                <a:gd name="T65" fmla="*/ 28 h 783"/>
                <a:gd name="T66" fmla="*/ 33 w 489"/>
                <a:gd name="T67" fmla="*/ 30 h 783"/>
                <a:gd name="T68" fmla="*/ 35 w 489"/>
                <a:gd name="T69" fmla="*/ 33 h 783"/>
                <a:gd name="T70" fmla="*/ 39 w 489"/>
                <a:gd name="T71" fmla="*/ 35 h 783"/>
                <a:gd name="T72" fmla="*/ 39 w 489"/>
                <a:gd name="T73" fmla="*/ 37 h 783"/>
                <a:gd name="T74" fmla="*/ 41 w 489"/>
                <a:gd name="T75" fmla="*/ 37 h 783"/>
                <a:gd name="T76" fmla="*/ 40 w 489"/>
                <a:gd name="T77" fmla="*/ 34 h 783"/>
                <a:gd name="T78" fmla="*/ 41 w 489"/>
                <a:gd name="T79" fmla="*/ 33 h 783"/>
                <a:gd name="T80" fmla="*/ 45 w 489"/>
                <a:gd name="T81" fmla="*/ 31 h 783"/>
                <a:gd name="T82" fmla="*/ 45 w 489"/>
                <a:gd name="T83" fmla="*/ 26 h 783"/>
                <a:gd name="T84" fmla="*/ 38 w 489"/>
                <a:gd name="T85" fmla="*/ 17 h 783"/>
                <a:gd name="T86" fmla="*/ 36 w 489"/>
                <a:gd name="T87" fmla="*/ 11 h 783"/>
                <a:gd name="T88" fmla="*/ 45 w 489"/>
                <a:gd name="T89" fmla="*/ 6 h 783"/>
                <a:gd name="T90" fmla="*/ 47 w 489"/>
                <a:gd name="T91" fmla="*/ 5 h 783"/>
                <a:gd name="T92" fmla="*/ 51 w 489"/>
                <a:gd name="T93" fmla="*/ 6 h 783"/>
                <a:gd name="T94" fmla="*/ 59 w 489"/>
                <a:gd name="T95" fmla="*/ 6 h 783"/>
                <a:gd name="T96" fmla="*/ 64 w 489"/>
                <a:gd name="T97" fmla="*/ 4 h 783"/>
                <a:gd name="T98" fmla="*/ 76 w 489"/>
                <a:gd name="T99" fmla="*/ 3 h 7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9"/>
                <a:gd name="T151" fmla="*/ 0 h 783"/>
                <a:gd name="T152" fmla="*/ 489 w 489"/>
                <a:gd name="T153" fmla="*/ 783 h 7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9" h="783">
                  <a:moveTo>
                    <a:pt x="485" y="0"/>
                  </a:moveTo>
                  <a:lnTo>
                    <a:pt x="488" y="2"/>
                  </a:lnTo>
                  <a:lnTo>
                    <a:pt x="489" y="6"/>
                  </a:lnTo>
                  <a:lnTo>
                    <a:pt x="488" y="8"/>
                  </a:lnTo>
                  <a:lnTo>
                    <a:pt x="489" y="22"/>
                  </a:lnTo>
                  <a:lnTo>
                    <a:pt x="473" y="59"/>
                  </a:lnTo>
                  <a:lnTo>
                    <a:pt x="477" y="106"/>
                  </a:lnTo>
                  <a:lnTo>
                    <a:pt x="472" y="110"/>
                  </a:lnTo>
                  <a:lnTo>
                    <a:pt x="473" y="118"/>
                  </a:lnTo>
                  <a:lnTo>
                    <a:pt x="476" y="118"/>
                  </a:lnTo>
                  <a:lnTo>
                    <a:pt x="477" y="164"/>
                  </a:lnTo>
                  <a:lnTo>
                    <a:pt x="475" y="171"/>
                  </a:lnTo>
                  <a:lnTo>
                    <a:pt x="480" y="174"/>
                  </a:lnTo>
                  <a:lnTo>
                    <a:pt x="483" y="171"/>
                  </a:lnTo>
                  <a:lnTo>
                    <a:pt x="486" y="177"/>
                  </a:lnTo>
                  <a:lnTo>
                    <a:pt x="481" y="183"/>
                  </a:lnTo>
                  <a:lnTo>
                    <a:pt x="485" y="183"/>
                  </a:lnTo>
                  <a:lnTo>
                    <a:pt x="488" y="187"/>
                  </a:lnTo>
                  <a:lnTo>
                    <a:pt x="488" y="194"/>
                  </a:lnTo>
                  <a:lnTo>
                    <a:pt x="482" y="211"/>
                  </a:lnTo>
                  <a:lnTo>
                    <a:pt x="473" y="219"/>
                  </a:lnTo>
                  <a:lnTo>
                    <a:pt x="481" y="222"/>
                  </a:lnTo>
                  <a:lnTo>
                    <a:pt x="479" y="234"/>
                  </a:lnTo>
                  <a:lnTo>
                    <a:pt x="470" y="238"/>
                  </a:lnTo>
                  <a:lnTo>
                    <a:pt x="454" y="262"/>
                  </a:lnTo>
                  <a:lnTo>
                    <a:pt x="440" y="269"/>
                  </a:lnTo>
                  <a:lnTo>
                    <a:pt x="444" y="273"/>
                  </a:lnTo>
                  <a:lnTo>
                    <a:pt x="440" y="280"/>
                  </a:lnTo>
                  <a:lnTo>
                    <a:pt x="415" y="296"/>
                  </a:lnTo>
                  <a:lnTo>
                    <a:pt x="409" y="305"/>
                  </a:lnTo>
                  <a:lnTo>
                    <a:pt x="398" y="311"/>
                  </a:lnTo>
                  <a:lnTo>
                    <a:pt x="385" y="311"/>
                  </a:lnTo>
                  <a:lnTo>
                    <a:pt x="313" y="351"/>
                  </a:lnTo>
                  <a:lnTo>
                    <a:pt x="311" y="359"/>
                  </a:lnTo>
                  <a:lnTo>
                    <a:pt x="307" y="362"/>
                  </a:lnTo>
                  <a:lnTo>
                    <a:pt x="300" y="363"/>
                  </a:lnTo>
                  <a:lnTo>
                    <a:pt x="297" y="364"/>
                  </a:lnTo>
                  <a:lnTo>
                    <a:pt x="302" y="369"/>
                  </a:lnTo>
                  <a:lnTo>
                    <a:pt x="282" y="395"/>
                  </a:lnTo>
                  <a:lnTo>
                    <a:pt x="278" y="393"/>
                  </a:lnTo>
                  <a:lnTo>
                    <a:pt x="275" y="385"/>
                  </a:lnTo>
                  <a:lnTo>
                    <a:pt x="270" y="398"/>
                  </a:lnTo>
                  <a:lnTo>
                    <a:pt x="263" y="401"/>
                  </a:lnTo>
                  <a:lnTo>
                    <a:pt x="222" y="443"/>
                  </a:lnTo>
                  <a:lnTo>
                    <a:pt x="212" y="446"/>
                  </a:lnTo>
                  <a:lnTo>
                    <a:pt x="211" y="478"/>
                  </a:lnTo>
                  <a:lnTo>
                    <a:pt x="223" y="487"/>
                  </a:lnTo>
                  <a:lnTo>
                    <a:pt x="227" y="492"/>
                  </a:lnTo>
                  <a:lnTo>
                    <a:pt x="227" y="499"/>
                  </a:lnTo>
                  <a:lnTo>
                    <a:pt x="228" y="500"/>
                  </a:lnTo>
                  <a:lnTo>
                    <a:pt x="241" y="557"/>
                  </a:lnTo>
                  <a:lnTo>
                    <a:pt x="246" y="553"/>
                  </a:lnTo>
                  <a:lnTo>
                    <a:pt x="249" y="556"/>
                  </a:lnTo>
                  <a:lnTo>
                    <a:pt x="236" y="645"/>
                  </a:lnTo>
                  <a:lnTo>
                    <a:pt x="238" y="654"/>
                  </a:lnTo>
                  <a:lnTo>
                    <a:pt x="241" y="646"/>
                  </a:lnTo>
                  <a:lnTo>
                    <a:pt x="247" y="639"/>
                  </a:lnTo>
                  <a:lnTo>
                    <a:pt x="244" y="652"/>
                  </a:lnTo>
                  <a:lnTo>
                    <a:pt x="228" y="678"/>
                  </a:lnTo>
                  <a:lnTo>
                    <a:pt x="215" y="686"/>
                  </a:lnTo>
                  <a:lnTo>
                    <a:pt x="200" y="692"/>
                  </a:lnTo>
                  <a:lnTo>
                    <a:pt x="191" y="693"/>
                  </a:lnTo>
                  <a:lnTo>
                    <a:pt x="131" y="721"/>
                  </a:lnTo>
                  <a:lnTo>
                    <a:pt x="113" y="746"/>
                  </a:lnTo>
                  <a:lnTo>
                    <a:pt x="111" y="746"/>
                  </a:lnTo>
                  <a:lnTo>
                    <a:pt x="123" y="760"/>
                  </a:lnTo>
                  <a:lnTo>
                    <a:pt x="129" y="756"/>
                  </a:lnTo>
                  <a:lnTo>
                    <a:pt x="131" y="751"/>
                  </a:lnTo>
                  <a:lnTo>
                    <a:pt x="129" y="783"/>
                  </a:lnTo>
                  <a:lnTo>
                    <a:pt x="94" y="782"/>
                  </a:lnTo>
                  <a:lnTo>
                    <a:pt x="70" y="576"/>
                  </a:lnTo>
                  <a:lnTo>
                    <a:pt x="71" y="575"/>
                  </a:lnTo>
                  <a:lnTo>
                    <a:pt x="71" y="562"/>
                  </a:lnTo>
                  <a:lnTo>
                    <a:pt x="73" y="552"/>
                  </a:lnTo>
                  <a:lnTo>
                    <a:pt x="78" y="544"/>
                  </a:lnTo>
                  <a:lnTo>
                    <a:pt x="95" y="531"/>
                  </a:lnTo>
                  <a:lnTo>
                    <a:pt x="130" y="447"/>
                  </a:lnTo>
                  <a:lnTo>
                    <a:pt x="122" y="399"/>
                  </a:lnTo>
                  <a:lnTo>
                    <a:pt x="131" y="384"/>
                  </a:lnTo>
                  <a:lnTo>
                    <a:pt x="136" y="325"/>
                  </a:lnTo>
                  <a:lnTo>
                    <a:pt x="128" y="287"/>
                  </a:lnTo>
                  <a:lnTo>
                    <a:pt x="120" y="279"/>
                  </a:lnTo>
                  <a:lnTo>
                    <a:pt x="45" y="253"/>
                  </a:lnTo>
                  <a:lnTo>
                    <a:pt x="12" y="254"/>
                  </a:lnTo>
                  <a:lnTo>
                    <a:pt x="12" y="237"/>
                  </a:lnTo>
                  <a:lnTo>
                    <a:pt x="8" y="235"/>
                  </a:lnTo>
                  <a:lnTo>
                    <a:pt x="0" y="211"/>
                  </a:lnTo>
                  <a:lnTo>
                    <a:pt x="145" y="163"/>
                  </a:lnTo>
                  <a:lnTo>
                    <a:pt x="146" y="165"/>
                  </a:lnTo>
                  <a:lnTo>
                    <a:pt x="150" y="167"/>
                  </a:lnTo>
                  <a:lnTo>
                    <a:pt x="158" y="180"/>
                  </a:lnTo>
                  <a:lnTo>
                    <a:pt x="166" y="189"/>
                  </a:lnTo>
                  <a:lnTo>
                    <a:pt x="169" y="190"/>
                  </a:lnTo>
                  <a:lnTo>
                    <a:pt x="200" y="183"/>
                  </a:lnTo>
                  <a:lnTo>
                    <a:pt x="203" y="184"/>
                  </a:lnTo>
                  <a:lnTo>
                    <a:pt x="207" y="189"/>
                  </a:lnTo>
                  <a:lnTo>
                    <a:pt x="211" y="222"/>
                  </a:lnTo>
                  <a:lnTo>
                    <a:pt x="209" y="227"/>
                  </a:lnTo>
                  <a:lnTo>
                    <a:pt x="204" y="233"/>
                  </a:lnTo>
                  <a:lnTo>
                    <a:pt x="205" y="239"/>
                  </a:lnTo>
                  <a:lnTo>
                    <a:pt x="200" y="243"/>
                  </a:lnTo>
                  <a:lnTo>
                    <a:pt x="198" y="252"/>
                  </a:lnTo>
                  <a:lnTo>
                    <a:pt x="200" y="256"/>
                  </a:lnTo>
                  <a:lnTo>
                    <a:pt x="204" y="268"/>
                  </a:lnTo>
                  <a:lnTo>
                    <a:pt x="207" y="271"/>
                  </a:lnTo>
                  <a:lnTo>
                    <a:pt x="210" y="273"/>
                  </a:lnTo>
                  <a:lnTo>
                    <a:pt x="224" y="290"/>
                  </a:lnTo>
                  <a:lnTo>
                    <a:pt x="233" y="294"/>
                  </a:lnTo>
                  <a:lnTo>
                    <a:pt x="236" y="298"/>
                  </a:lnTo>
                  <a:lnTo>
                    <a:pt x="236" y="301"/>
                  </a:lnTo>
                  <a:lnTo>
                    <a:pt x="232" y="306"/>
                  </a:lnTo>
                  <a:lnTo>
                    <a:pt x="233" y="307"/>
                  </a:lnTo>
                  <a:lnTo>
                    <a:pt x="243" y="307"/>
                  </a:lnTo>
                  <a:lnTo>
                    <a:pt x="244" y="306"/>
                  </a:lnTo>
                  <a:lnTo>
                    <a:pt x="244" y="293"/>
                  </a:lnTo>
                  <a:lnTo>
                    <a:pt x="242" y="289"/>
                  </a:lnTo>
                  <a:lnTo>
                    <a:pt x="239" y="287"/>
                  </a:lnTo>
                  <a:lnTo>
                    <a:pt x="239" y="282"/>
                  </a:lnTo>
                  <a:lnTo>
                    <a:pt x="242" y="275"/>
                  </a:lnTo>
                  <a:lnTo>
                    <a:pt x="242" y="272"/>
                  </a:lnTo>
                  <a:lnTo>
                    <a:pt x="243" y="268"/>
                  </a:lnTo>
                  <a:lnTo>
                    <a:pt x="264" y="259"/>
                  </a:lnTo>
                  <a:lnTo>
                    <a:pt x="267" y="255"/>
                  </a:lnTo>
                  <a:lnTo>
                    <a:pt x="268" y="237"/>
                  </a:lnTo>
                  <a:lnTo>
                    <a:pt x="270" y="231"/>
                  </a:lnTo>
                  <a:lnTo>
                    <a:pt x="267" y="219"/>
                  </a:lnTo>
                  <a:lnTo>
                    <a:pt x="272" y="204"/>
                  </a:lnTo>
                  <a:lnTo>
                    <a:pt x="269" y="194"/>
                  </a:lnTo>
                  <a:lnTo>
                    <a:pt x="224" y="139"/>
                  </a:lnTo>
                  <a:lnTo>
                    <a:pt x="222" y="140"/>
                  </a:lnTo>
                  <a:lnTo>
                    <a:pt x="218" y="102"/>
                  </a:lnTo>
                  <a:lnTo>
                    <a:pt x="216" y="96"/>
                  </a:lnTo>
                  <a:lnTo>
                    <a:pt x="215" y="90"/>
                  </a:lnTo>
                  <a:lnTo>
                    <a:pt x="228" y="48"/>
                  </a:lnTo>
                  <a:lnTo>
                    <a:pt x="265" y="48"/>
                  </a:lnTo>
                  <a:lnTo>
                    <a:pt x="270" y="44"/>
                  </a:lnTo>
                  <a:lnTo>
                    <a:pt x="276" y="44"/>
                  </a:lnTo>
                  <a:lnTo>
                    <a:pt x="282" y="46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302" y="53"/>
                  </a:lnTo>
                  <a:lnTo>
                    <a:pt x="308" y="53"/>
                  </a:lnTo>
                  <a:lnTo>
                    <a:pt x="318" y="47"/>
                  </a:lnTo>
                  <a:lnTo>
                    <a:pt x="353" y="47"/>
                  </a:lnTo>
                  <a:lnTo>
                    <a:pt x="364" y="36"/>
                  </a:lnTo>
                  <a:lnTo>
                    <a:pt x="375" y="35"/>
                  </a:lnTo>
                  <a:lnTo>
                    <a:pt x="384" y="33"/>
                  </a:lnTo>
                  <a:lnTo>
                    <a:pt x="394" y="38"/>
                  </a:lnTo>
                  <a:lnTo>
                    <a:pt x="410" y="37"/>
                  </a:lnTo>
                  <a:lnTo>
                    <a:pt x="454" y="22"/>
                  </a:lnTo>
                  <a:lnTo>
                    <a:pt x="48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9" name="Freeform 207"/>
            <p:cNvSpPr>
              <a:spLocks/>
            </p:cNvSpPr>
            <p:nvPr/>
          </p:nvSpPr>
          <p:spPr bwMode="auto">
            <a:xfrm>
              <a:off x="3771241" y="1590506"/>
              <a:ext cx="869275" cy="693905"/>
            </a:xfrm>
            <a:custGeom>
              <a:avLst/>
              <a:gdLst>
                <a:gd name="T0" fmla="*/ 16 w 727"/>
                <a:gd name="T1" fmla="*/ 55 h 697"/>
                <a:gd name="T2" fmla="*/ 8 w 727"/>
                <a:gd name="T3" fmla="*/ 54 h 697"/>
                <a:gd name="T4" fmla="*/ 5 w 727"/>
                <a:gd name="T5" fmla="*/ 49 h 697"/>
                <a:gd name="T6" fmla="*/ 1 w 727"/>
                <a:gd name="T7" fmla="*/ 44 h 697"/>
                <a:gd name="T8" fmla="*/ 4 w 727"/>
                <a:gd name="T9" fmla="*/ 42 h 697"/>
                <a:gd name="T10" fmla="*/ 0 w 727"/>
                <a:gd name="T11" fmla="*/ 21 h 697"/>
                <a:gd name="T12" fmla="*/ 1 w 727"/>
                <a:gd name="T13" fmla="*/ 18 h 697"/>
                <a:gd name="T14" fmla="*/ 3 w 727"/>
                <a:gd name="T15" fmla="*/ 18 h 697"/>
                <a:gd name="T16" fmla="*/ 7 w 727"/>
                <a:gd name="T17" fmla="*/ 16 h 697"/>
                <a:gd name="T18" fmla="*/ 6 w 727"/>
                <a:gd name="T19" fmla="*/ 12 h 697"/>
                <a:gd name="T20" fmla="*/ 7 w 727"/>
                <a:gd name="T21" fmla="*/ 10 h 697"/>
                <a:gd name="T22" fmla="*/ 11 w 727"/>
                <a:gd name="T23" fmla="*/ 8 h 697"/>
                <a:gd name="T24" fmla="*/ 16 w 727"/>
                <a:gd name="T25" fmla="*/ 4 h 697"/>
                <a:gd name="T26" fmla="*/ 23 w 727"/>
                <a:gd name="T27" fmla="*/ 2 h 697"/>
                <a:gd name="T28" fmla="*/ 29 w 727"/>
                <a:gd name="T29" fmla="*/ 2 h 697"/>
                <a:gd name="T30" fmla="*/ 32 w 727"/>
                <a:gd name="T31" fmla="*/ 3 h 697"/>
                <a:gd name="T32" fmla="*/ 44 w 727"/>
                <a:gd name="T33" fmla="*/ 5 h 697"/>
                <a:gd name="T34" fmla="*/ 46 w 727"/>
                <a:gd name="T35" fmla="*/ 9 h 697"/>
                <a:gd name="T36" fmla="*/ 68 w 727"/>
                <a:gd name="T37" fmla="*/ 16 h 697"/>
                <a:gd name="T38" fmla="*/ 73 w 727"/>
                <a:gd name="T39" fmla="*/ 18 h 697"/>
                <a:gd name="T40" fmla="*/ 79 w 727"/>
                <a:gd name="T41" fmla="*/ 17 h 697"/>
                <a:gd name="T42" fmla="*/ 82 w 727"/>
                <a:gd name="T43" fmla="*/ 13 h 697"/>
                <a:gd name="T44" fmla="*/ 81 w 727"/>
                <a:gd name="T45" fmla="*/ 11 h 697"/>
                <a:gd name="T46" fmla="*/ 81 w 727"/>
                <a:gd name="T47" fmla="*/ 9 h 697"/>
                <a:gd name="T48" fmla="*/ 89 w 727"/>
                <a:gd name="T49" fmla="*/ 3 h 697"/>
                <a:gd name="T50" fmla="*/ 102 w 727"/>
                <a:gd name="T51" fmla="*/ 3 h 697"/>
                <a:gd name="T52" fmla="*/ 104 w 727"/>
                <a:gd name="T53" fmla="*/ 3 h 697"/>
                <a:gd name="T54" fmla="*/ 104 w 727"/>
                <a:gd name="T55" fmla="*/ 5 h 697"/>
                <a:gd name="T56" fmla="*/ 104 w 727"/>
                <a:gd name="T57" fmla="*/ 5 h 697"/>
                <a:gd name="T58" fmla="*/ 106 w 727"/>
                <a:gd name="T59" fmla="*/ 6 h 697"/>
                <a:gd name="T60" fmla="*/ 118 w 727"/>
                <a:gd name="T61" fmla="*/ 8 h 697"/>
                <a:gd name="T62" fmla="*/ 120 w 727"/>
                <a:gd name="T63" fmla="*/ 10 h 697"/>
                <a:gd name="T64" fmla="*/ 120 w 727"/>
                <a:gd name="T65" fmla="*/ 10 h 697"/>
                <a:gd name="T66" fmla="*/ 118 w 727"/>
                <a:gd name="T67" fmla="*/ 12 h 697"/>
                <a:gd name="T68" fmla="*/ 118 w 727"/>
                <a:gd name="T69" fmla="*/ 13 h 697"/>
                <a:gd name="T70" fmla="*/ 118 w 727"/>
                <a:gd name="T71" fmla="*/ 18 h 697"/>
                <a:gd name="T72" fmla="*/ 117 w 727"/>
                <a:gd name="T73" fmla="*/ 19 h 697"/>
                <a:gd name="T74" fmla="*/ 117 w 727"/>
                <a:gd name="T75" fmla="*/ 22 h 697"/>
                <a:gd name="T76" fmla="*/ 118 w 727"/>
                <a:gd name="T77" fmla="*/ 25 h 697"/>
                <a:gd name="T78" fmla="*/ 120 w 727"/>
                <a:gd name="T79" fmla="*/ 80 h 697"/>
                <a:gd name="T80" fmla="*/ 113 w 727"/>
                <a:gd name="T81" fmla="*/ 84 h 697"/>
                <a:gd name="T82" fmla="*/ 52 w 727"/>
                <a:gd name="T83" fmla="*/ 61 h 697"/>
                <a:gd name="T84" fmla="*/ 41 w 727"/>
                <a:gd name="T85" fmla="*/ 62 h 697"/>
                <a:gd name="T86" fmla="*/ 38 w 727"/>
                <a:gd name="T87" fmla="*/ 61 h 697"/>
                <a:gd name="T88" fmla="*/ 20 w 727"/>
                <a:gd name="T89" fmla="*/ 60 h 6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7"/>
                <a:gd name="T136" fmla="*/ 0 h 697"/>
                <a:gd name="T137" fmla="*/ 727 w 727"/>
                <a:gd name="T138" fmla="*/ 697 h 69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7" h="697">
                  <a:moveTo>
                    <a:pt x="117" y="500"/>
                  </a:moveTo>
                  <a:lnTo>
                    <a:pt x="96" y="459"/>
                  </a:lnTo>
                  <a:lnTo>
                    <a:pt x="72" y="447"/>
                  </a:lnTo>
                  <a:lnTo>
                    <a:pt x="48" y="447"/>
                  </a:lnTo>
                  <a:lnTo>
                    <a:pt x="35" y="434"/>
                  </a:lnTo>
                  <a:lnTo>
                    <a:pt x="32" y="408"/>
                  </a:lnTo>
                  <a:lnTo>
                    <a:pt x="8" y="376"/>
                  </a:lnTo>
                  <a:lnTo>
                    <a:pt x="4" y="365"/>
                  </a:lnTo>
                  <a:lnTo>
                    <a:pt x="6" y="358"/>
                  </a:lnTo>
                  <a:lnTo>
                    <a:pt x="22" y="350"/>
                  </a:lnTo>
                  <a:lnTo>
                    <a:pt x="19" y="203"/>
                  </a:lnTo>
                  <a:lnTo>
                    <a:pt x="0" y="173"/>
                  </a:lnTo>
                  <a:lnTo>
                    <a:pt x="1" y="160"/>
                  </a:lnTo>
                  <a:lnTo>
                    <a:pt x="9" y="154"/>
                  </a:lnTo>
                  <a:lnTo>
                    <a:pt x="9" y="152"/>
                  </a:lnTo>
                  <a:lnTo>
                    <a:pt x="20" y="151"/>
                  </a:lnTo>
                  <a:lnTo>
                    <a:pt x="38" y="136"/>
                  </a:lnTo>
                  <a:lnTo>
                    <a:pt x="43" y="128"/>
                  </a:lnTo>
                  <a:lnTo>
                    <a:pt x="43" y="121"/>
                  </a:lnTo>
                  <a:lnTo>
                    <a:pt x="38" y="97"/>
                  </a:lnTo>
                  <a:lnTo>
                    <a:pt x="39" y="90"/>
                  </a:lnTo>
                  <a:lnTo>
                    <a:pt x="43" y="81"/>
                  </a:lnTo>
                  <a:lnTo>
                    <a:pt x="62" y="71"/>
                  </a:lnTo>
                  <a:lnTo>
                    <a:pt x="65" y="63"/>
                  </a:lnTo>
                  <a:lnTo>
                    <a:pt x="95" y="41"/>
                  </a:lnTo>
                  <a:lnTo>
                    <a:pt x="99" y="33"/>
                  </a:lnTo>
                  <a:lnTo>
                    <a:pt x="98" y="0"/>
                  </a:lnTo>
                  <a:lnTo>
                    <a:pt x="141" y="17"/>
                  </a:lnTo>
                  <a:lnTo>
                    <a:pt x="159" y="18"/>
                  </a:lnTo>
                  <a:lnTo>
                    <a:pt x="175" y="14"/>
                  </a:lnTo>
                  <a:lnTo>
                    <a:pt x="188" y="15"/>
                  </a:lnTo>
                  <a:lnTo>
                    <a:pt x="197" y="20"/>
                  </a:lnTo>
                  <a:lnTo>
                    <a:pt x="209" y="21"/>
                  </a:lnTo>
                  <a:lnTo>
                    <a:pt x="269" y="44"/>
                  </a:lnTo>
                  <a:lnTo>
                    <a:pt x="275" y="49"/>
                  </a:lnTo>
                  <a:lnTo>
                    <a:pt x="278" y="70"/>
                  </a:lnTo>
                  <a:lnTo>
                    <a:pt x="298" y="97"/>
                  </a:lnTo>
                  <a:lnTo>
                    <a:pt x="410" y="129"/>
                  </a:lnTo>
                  <a:lnTo>
                    <a:pt x="429" y="149"/>
                  </a:lnTo>
                  <a:lnTo>
                    <a:pt x="442" y="154"/>
                  </a:lnTo>
                  <a:lnTo>
                    <a:pt x="453" y="154"/>
                  </a:lnTo>
                  <a:lnTo>
                    <a:pt x="477" y="142"/>
                  </a:lnTo>
                  <a:lnTo>
                    <a:pt x="495" y="117"/>
                  </a:lnTo>
                  <a:lnTo>
                    <a:pt x="495" y="109"/>
                  </a:lnTo>
                  <a:lnTo>
                    <a:pt x="491" y="99"/>
                  </a:lnTo>
                  <a:lnTo>
                    <a:pt x="491" y="91"/>
                  </a:lnTo>
                  <a:lnTo>
                    <a:pt x="486" y="82"/>
                  </a:lnTo>
                  <a:lnTo>
                    <a:pt x="485" y="69"/>
                  </a:lnTo>
                  <a:lnTo>
                    <a:pt x="488" y="59"/>
                  </a:lnTo>
                  <a:lnTo>
                    <a:pt x="536" y="21"/>
                  </a:lnTo>
                  <a:lnTo>
                    <a:pt x="585" y="13"/>
                  </a:lnTo>
                  <a:lnTo>
                    <a:pt x="615" y="25"/>
                  </a:lnTo>
                  <a:lnTo>
                    <a:pt x="622" y="26"/>
                  </a:lnTo>
                  <a:lnTo>
                    <a:pt x="630" y="30"/>
                  </a:lnTo>
                  <a:lnTo>
                    <a:pt x="631" y="38"/>
                  </a:lnTo>
                  <a:lnTo>
                    <a:pt x="630" y="39"/>
                  </a:lnTo>
                  <a:lnTo>
                    <a:pt x="628" y="39"/>
                  </a:lnTo>
                  <a:lnTo>
                    <a:pt x="629" y="45"/>
                  </a:lnTo>
                  <a:lnTo>
                    <a:pt x="637" y="52"/>
                  </a:lnTo>
                  <a:lnTo>
                    <a:pt x="641" y="53"/>
                  </a:lnTo>
                  <a:lnTo>
                    <a:pt x="645" y="52"/>
                  </a:lnTo>
                  <a:lnTo>
                    <a:pt x="715" y="66"/>
                  </a:lnTo>
                  <a:lnTo>
                    <a:pt x="722" y="70"/>
                  </a:lnTo>
                  <a:lnTo>
                    <a:pt x="726" y="80"/>
                  </a:lnTo>
                  <a:lnTo>
                    <a:pt x="727" y="81"/>
                  </a:lnTo>
                  <a:lnTo>
                    <a:pt x="721" y="84"/>
                  </a:lnTo>
                  <a:lnTo>
                    <a:pt x="718" y="90"/>
                  </a:lnTo>
                  <a:lnTo>
                    <a:pt x="712" y="98"/>
                  </a:lnTo>
                  <a:lnTo>
                    <a:pt x="712" y="100"/>
                  </a:lnTo>
                  <a:lnTo>
                    <a:pt x="714" y="107"/>
                  </a:lnTo>
                  <a:lnTo>
                    <a:pt x="717" y="152"/>
                  </a:lnTo>
                  <a:lnTo>
                    <a:pt x="716" y="153"/>
                  </a:lnTo>
                  <a:lnTo>
                    <a:pt x="709" y="157"/>
                  </a:lnTo>
                  <a:lnTo>
                    <a:pt x="706" y="161"/>
                  </a:lnTo>
                  <a:lnTo>
                    <a:pt x="705" y="164"/>
                  </a:lnTo>
                  <a:lnTo>
                    <a:pt x="707" y="182"/>
                  </a:lnTo>
                  <a:lnTo>
                    <a:pt x="714" y="193"/>
                  </a:lnTo>
                  <a:lnTo>
                    <a:pt x="712" y="203"/>
                  </a:lnTo>
                  <a:lnTo>
                    <a:pt x="727" y="219"/>
                  </a:lnTo>
                  <a:lnTo>
                    <a:pt x="727" y="669"/>
                  </a:lnTo>
                  <a:lnTo>
                    <a:pt x="681" y="669"/>
                  </a:lnTo>
                  <a:lnTo>
                    <a:pt x="681" y="697"/>
                  </a:lnTo>
                  <a:lnTo>
                    <a:pt x="674" y="696"/>
                  </a:lnTo>
                  <a:lnTo>
                    <a:pt x="314" y="506"/>
                  </a:lnTo>
                  <a:lnTo>
                    <a:pt x="253" y="527"/>
                  </a:lnTo>
                  <a:lnTo>
                    <a:pt x="245" y="516"/>
                  </a:lnTo>
                  <a:lnTo>
                    <a:pt x="232" y="510"/>
                  </a:lnTo>
                  <a:lnTo>
                    <a:pt x="229" y="506"/>
                  </a:lnTo>
                  <a:lnTo>
                    <a:pt x="225" y="503"/>
                  </a:lnTo>
                  <a:lnTo>
                    <a:pt x="121" y="497"/>
                  </a:lnTo>
                  <a:lnTo>
                    <a:pt x="117" y="50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0" name="Freeform 208"/>
            <p:cNvSpPr>
              <a:spLocks/>
            </p:cNvSpPr>
            <p:nvPr/>
          </p:nvSpPr>
          <p:spPr bwMode="auto">
            <a:xfrm>
              <a:off x="3771241" y="1590506"/>
              <a:ext cx="869275" cy="693905"/>
            </a:xfrm>
            <a:custGeom>
              <a:avLst/>
              <a:gdLst>
                <a:gd name="T0" fmla="*/ 16 w 727"/>
                <a:gd name="T1" fmla="*/ 55 h 697"/>
                <a:gd name="T2" fmla="*/ 8 w 727"/>
                <a:gd name="T3" fmla="*/ 54 h 697"/>
                <a:gd name="T4" fmla="*/ 5 w 727"/>
                <a:gd name="T5" fmla="*/ 49 h 697"/>
                <a:gd name="T6" fmla="*/ 1 w 727"/>
                <a:gd name="T7" fmla="*/ 44 h 697"/>
                <a:gd name="T8" fmla="*/ 4 w 727"/>
                <a:gd name="T9" fmla="*/ 42 h 697"/>
                <a:gd name="T10" fmla="*/ 0 w 727"/>
                <a:gd name="T11" fmla="*/ 21 h 697"/>
                <a:gd name="T12" fmla="*/ 1 w 727"/>
                <a:gd name="T13" fmla="*/ 18 h 697"/>
                <a:gd name="T14" fmla="*/ 3 w 727"/>
                <a:gd name="T15" fmla="*/ 18 h 697"/>
                <a:gd name="T16" fmla="*/ 7 w 727"/>
                <a:gd name="T17" fmla="*/ 16 h 697"/>
                <a:gd name="T18" fmla="*/ 6 w 727"/>
                <a:gd name="T19" fmla="*/ 12 h 697"/>
                <a:gd name="T20" fmla="*/ 7 w 727"/>
                <a:gd name="T21" fmla="*/ 10 h 697"/>
                <a:gd name="T22" fmla="*/ 11 w 727"/>
                <a:gd name="T23" fmla="*/ 8 h 697"/>
                <a:gd name="T24" fmla="*/ 16 w 727"/>
                <a:gd name="T25" fmla="*/ 4 h 697"/>
                <a:gd name="T26" fmla="*/ 23 w 727"/>
                <a:gd name="T27" fmla="*/ 2 h 697"/>
                <a:gd name="T28" fmla="*/ 29 w 727"/>
                <a:gd name="T29" fmla="*/ 2 h 697"/>
                <a:gd name="T30" fmla="*/ 32 w 727"/>
                <a:gd name="T31" fmla="*/ 3 h 697"/>
                <a:gd name="T32" fmla="*/ 44 w 727"/>
                <a:gd name="T33" fmla="*/ 5 h 697"/>
                <a:gd name="T34" fmla="*/ 46 w 727"/>
                <a:gd name="T35" fmla="*/ 9 h 697"/>
                <a:gd name="T36" fmla="*/ 68 w 727"/>
                <a:gd name="T37" fmla="*/ 16 h 697"/>
                <a:gd name="T38" fmla="*/ 73 w 727"/>
                <a:gd name="T39" fmla="*/ 18 h 697"/>
                <a:gd name="T40" fmla="*/ 79 w 727"/>
                <a:gd name="T41" fmla="*/ 17 h 697"/>
                <a:gd name="T42" fmla="*/ 82 w 727"/>
                <a:gd name="T43" fmla="*/ 13 h 697"/>
                <a:gd name="T44" fmla="*/ 81 w 727"/>
                <a:gd name="T45" fmla="*/ 11 h 697"/>
                <a:gd name="T46" fmla="*/ 81 w 727"/>
                <a:gd name="T47" fmla="*/ 9 h 697"/>
                <a:gd name="T48" fmla="*/ 89 w 727"/>
                <a:gd name="T49" fmla="*/ 3 h 697"/>
                <a:gd name="T50" fmla="*/ 102 w 727"/>
                <a:gd name="T51" fmla="*/ 3 h 697"/>
                <a:gd name="T52" fmla="*/ 104 w 727"/>
                <a:gd name="T53" fmla="*/ 3 h 697"/>
                <a:gd name="T54" fmla="*/ 104 w 727"/>
                <a:gd name="T55" fmla="*/ 5 h 697"/>
                <a:gd name="T56" fmla="*/ 104 w 727"/>
                <a:gd name="T57" fmla="*/ 5 h 697"/>
                <a:gd name="T58" fmla="*/ 106 w 727"/>
                <a:gd name="T59" fmla="*/ 6 h 697"/>
                <a:gd name="T60" fmla="*/ 118 w 727"/>
                <a:gd name="T61" fmla="*/ 8 h 697"/>
                <a:gd name="T62" fmla="*/ 120 w 727"/>
                <a:gd name="T63" fmla="*/ 10 h 697"/>
                <a:gd name="T64" fmla="*/ 120 w 727"/>
                <a:gd name="T65" fmla="*/ 10 h 697"/>
                <a:gd name="T66" fmla="*/ 118 w 727"/>
                <a:gd name="T67" fmla="*/ 12 h 697"/>
                <a:gd name="T68" fmla="*/ 118 w 727"/>
                <a:gd name="T69" fmla="*/ 13 h 697"/>
                <a:gd name="T70" fmla="*/ 118 w 727"/>
                <a:gd name="T71" fmla="*/ 18 h 697"/>
                <a:gd name="T72" fmla="*/ 117 w 727"/>
                <a:gd name="T73" fmla="*/ 19 h 697"/>
                <a:gd name="T74" fmla="*/ 117 w 727"/>
                <a:gd name="T75" fmla="*/ 22 h 697"/>
                <a:gd name="T76" fmla="*/ 118 w 727"/>
                <a:gd name="T77" fmla="*/ 25 h 697"/>
                <a:gd name="T78" fmla="*/ 120 w 727"/>
                <a:gd name="T79" fmla="*/ 80 h 697"/>
                <a:gd name="T80" fmla="*/ 113 w 727"/>
                <a:gd name="T81" fmla="*/ 84 h 697"/>
                <a:gd name="T82" fmla="*/ 52 w 727"/>
                <a:gd name="T83" fmla="*/ 61 h 697"/>
                <a:gd name="T84" fmla="*/ 41 w 727"/>
                <a:gd name="T85" fmla="*/ 62 h 697"/>
                <a:gd name="T86" fmla="*/ 38 w 727"/>
                <a:gd name="T87" fmla="*/ 61 h 697"/>
                <a:gd name="T88" fmla="*/ 20 w 727"/>
                <a:gd name="T89" fmla="*/ 60 h 6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7"/>
                <a:gd name="T136" fmla="*/ 0 h 697"/>
                <a:gd name="T137" fmla="*/ 727 w 727"/>
                <a:gd name="T138" fmla="*/ 697 h 69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7" h="697">
                  <a:moveTo>
                    <a:pt x="117" y="500"/>
                  </a:moveTo>
                  <a:lnTo>
                    <a:pt x="96" y="459"/>
                  </a:lnTo>
                  <a:lnTo>
                    <a:pt x="72" y="447"/>
                  </a:lnTo>
                  <a:lnTo>
                    <a:pt x="48" y="447"/>
                  </a:lnTo>
                  <a:lnTo>
                    <a:pt x="35" y="434"/>
                  </a:lnTo>
                  <a:lnTo>
                    <a:pt x="32" y="408"/>
                  </a:lnTo>
                  <a:lnTo>
                    <a:pt x="8" y="376"/>
                  </a:lnTo>
                  <a:lnTo>
                    <a:pt x="4" y="365"/>
                  </a:lnTo>
                  <a:lnTo>
                    <a:pt x="6" y="358"/>
                  </a:lnTo>
                  <a:lnTo>
                    <a:pt x="22" y="350"/>
                  </a:lnTo>
                  <a:lnTo>
                    <a:pt x="19" y="203"/>
                  </a:lnTo>
                  <a:lnTo>
                    <a:pt x="0" y="173"/>
                  </a:lnTo>
                  <a:lnTo>
                    <a:pt x="1" y="160"/>
                  </a:lnTo>
                  <a:lnTo>
                    <a:pt x="9" y="154"/>
                  </a:lnTo>
                  <a:lnTo>
                    <a:pt x="9" y="152"/>
                  </a:lnTo>
                  <a:lnTo>
                    <a:pt x="20" y="151"/>
                  </a:lnTo>
                  <a:lnTo>
                    <a:pt x="38" y="136"/>
                  </a:lnTo>
                  <a:lnTo>
                    <a:pt x="43" y="128"/>
                  </a:lnTo>
                  <a:lnTo>
                    <a:pt x="43" y="121"/>
                  </a:lnTo>
                  <a:lnTo>
                    <a:pt x="38" y="97"/>
                  </a:lnTo>
                  <a:lnTo>
                    <a:pt x="39" y="90"/>
                  </a:lnTo>
                  <a:lnTo>
                    <a:pt x="43" y="81"/>
                  </a:lnTo>
                  <a:lnTo>
                    <a:pt x="62" y="71"/>
                  </a:lnTo>
                  <a:lnTo>
                    <a:pt x="65" y="63"/>
                  </a:lnTo>
                  <a:lnTo>
                    <a:pt x="95" y="41"/>
                  </a:lnTo>
                  <a:lnTo>
                    <a:pt x="99" y="33"/>
                  </a:lnTo>
                  <a:lnTo>
                    <a:pt x="98" y="0"/>
                  </a:lnTo>
                  <a:lnTo>
                    <a:pt x="141" y="17"/>
                  </a:lnTo>
                  <a:lnTo>
                    <a:pt x="159" y="18"/>
                  </a:lnTo>
                  <a:lnTo>
                    <a:pt x="175" y="14"/>
                  </a:lnTo>
                  <a:lnTo>
                    <a:pt x="188" y="15"/>
                  </a:lnTo>
                  <a:lnTo>
                    <a:pt x="197" y="20"/>
                  </a:lnTo>
                  <a:lnTo>
                    <a:pt x="209" y="21"/>
                  </a:lnTo>
                  <a:lnTo>
                    <a:pt x="269" y="44"/>
                  </a:lnTo>
                  <a:lnTo>
                    <a:pt x="275" y="49"/>
                  </a:lnTo>
                  <a:lnTo>
                    <a:pt x="278" y="70"/>
                  </a:lnTo>
                  <a:lnTo>
                    <a:pt x="298" y="97"/>
                  </a:lnTo>
                  <a:lnTo>
                    <a:pt x="410" y="129"/>
                  </a:lnTo>
                  <a:lnTo>
                    <a:pt x="429" y="149"/>
                  </a:lnTo>
                  <a:lnTo>
                    <a:pt x="442" y="154"/>
                  </a:lnTo>
                  <a:lnTo>
                    <a:pt x="453" y="154"/>
                  </a:lnTo>
                  <a:lnTo>
                    <a:pt x="477" y="142"/>
                  </a:lnTo>
                  <a:lnTo>
                    <a:pt x="495" y="117"/>
                  </a:lnTo>
                  <a:lnTo>
                    <a:pt x="495" y="109"/>
                  </a:lnTo>
                  <a:lnTo>
                    <a:pt x="491" y="99"/>
                  </a:lnTo>
                  <a:lnTo>
                    <a:pt x="491" y="91"/>
                  </a:lnTo>
                  <a:lnTo>
                    <a:pt x="486" y="82"/>
                  </a:lnTo>
                  <a:lnTo>
                    <a:pt x="485" y="69"/>
                  </a:lnTo>
                  <a:lnTo>
                    <a:pt x="488" y="59"/>
                  </a:lnTo>
                  <a:lnTo>
                    <a:pt x="536" y="21"/>
                  </a:lnTo>
                  <a:lnTo>
                    <a:pt x="585" y="13"/>
                  </a:lnTo>
                  <a:lnTo>
                    <a:pt x="615" y="25"/>
                  </a:lnTo>
                  <a:lnTo>
                    <a:pt x="622" y="26"/>
                  </a:lnTo>
                  <a:lnTo>
                    <a:pt x="630" y="30"/>
                  </a:lnTo>
                  <a:lnTo>
                    <a:pt x="631" y="38"/>
                  </a:lnTo>
                  <a:lnTo>
                    <a:pt x="630" y="39"/>
                  </a:lnTo>
                  <a:lnTo>
                    <a:pt x="628" y="39"/>
                  </a:lnTo>
                  <a:lnTo>
                    <a:pt x="629" y="45"/>
                  </a:lnTo>
                  <a:lnTo>
                    <a:pt x="637" y="52"/>
                  </a:lnTo>
                  <a:lnTo>
                    <a:pt x="641" y="53"/>
                  </a:lnTo>
                  <a:lnTo>
                    <a:pt x="645" y="52"/>
                  </a:lnTo>
                  <a:lnTo>
                    <a:pt x="715" y="66"/>
                  </a:lnTo>
                  <a:lnTo>
                    <a:pt x="722" y="70"/>
                  </a:lnTo>
                  <a:lnTo>
                    <a:pt x="726" y="80"/>
                  </a:lnTo>
                  <a:lnTo>
                    <a:pt x="727" y="81"/>
                  </a:lnTo>
                  <a:lnTo>
                    <a:pt x="721" y="84"/>
                  </a:lnTo>
                  <a:lnTo>
                    <a:pt x="718" y="90"/>
                  </a:lnTo>
                  <a:lnTo>
                    <a:pt x="712" y="98"/>
                  </a:lnTo>
                  <a:lnTo>
                    <a:pt x="712" y="100"/>
                  </a:lnTo>
                  <a:lnTo>
                    <a:pt x="714" y="107"/>
                  </a:lnTo>
                  <a:lnTo>
                    <a:pt x="717" y="152"/>
                  </a:lnTo>
                  <a:lnTo>
                    <a:pt x="716" y="153"/>
                  </a:lnTo>
                  <a:lnTo>
                    <a:pt x="709" y="157"/>
                  </a:lnTo>
                  <a:lnTo>
                    <a:pt x="706" y="161"/>
                  </a:lnTo>
                  <a:lnTo>
                    <a:pt x="705" y="164"/>
                  </a:lnTo>
                  <a:lnTo>
                    <a:pt x="707" y="182"/>
                  </a:lnTo>
                  <a:lnTo>
                    <a:pt x="714" y="193"/>
                  </a:lnTo>
                  <a:lnTo>
                    <a:pt x="712" y="203"/>
                  </a:lnTo>
                  <a:lnTo>
                    <a:pt x="727" y="219"/>
                  </a:lnTo>
                  <a:lnTo>
                    <a:pt x="727" y="669"/>
                  </a:lnTo>
                  <a:lnTo>
                    <a:pt x="681" y="669"/>
                  </a:lnTo>
                  <a:lnTo>
                    <a:pt x="681" y="697"/>
                  </a:lnTo>
                  <a:lnTo>
                    <a:pt x="674" y="696"/>
                  </a:lnTo>
                  <a:lnTo>
                    <a:pt x="314" y="506"/>
                  </a:lnTo>
                  <a:lnTo>
                    <a:pt x="253" y="527"/>
                  </a:lnTo>
                  <a:lnTo>
                    <a:pt x="245" y="516"/>
                  </a:lnTo>
                  <a:lnTo>
                    <a:pt x="232" y="510"/>
                  </a:lnTo>
                  <a:lnTo>
                    <a:pt x="229" y="506"/>
                  </a:lnTo>
                  <a:lnTo>
                    <a:pt x="225" y="503"/>
                  </a:lnTo>
                  <a:lnTo>
                    <a:pt x="121" y="497"/>
                  </a:lnTo>
                  <a:lnTo>
                    <a:pt x="117" y="50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1" name="Freeform 209"/>
            <p:cNvSpPr>
              <a:spLocks/>
            </p:cNvSpPr>
            <p:nvPr/>
          </p:nvSpPr>
          <p:spPr bwMode="auto">
            <a:xfrm>
              <a:off x="2601374" y="2013529"/>
              <a:ext cx="891616" cy="710603"/>
            </a:xfrm>
            <a:custGeom>
              <a:avLst/>
              <a:gdLst>
                <a:gd name="T0" fmla="*/ 101 w 745"/>
                <a:gd name="T1" fmla="*/ 24 h 711"/>
                <a:gd name="T2" fmla="*/ 105 w 745"/>
                <a:gd name="T3" fmla="*/ 27 h 711"/>
                <a:gd name="T4" fmla="*/ 108 w 745"/>
                <a:gd name="T5" fmla="*/ 29 h 711"/>
                <a:gd name="T6" fmla="*/ 111 w 745"/>
                <a:gd name="T7" fmla="*/ 30 h 711"/>
                <a:gd name="T8" fmla="*/ 114 w 745"/>
                <a:gd name="T9" fmla="*/ 31 h 711"/>
                <a:gd name="T10" fmla="*/ 117 w 745"/>
                <a:gd name="T11" fmla="*/ 31 h 711"/>
                <a:gd name="T12" fmla="*/ 117 w 745"/>
                <a:gd name="T13" fmla="*/ 33 h 711"/>
                <a:gd name="T14" fmla="*/ 117 w 745"/>
                <a:gd name="T15" fmla="*/ 34 h 711"/>
                <a:gd name="T16" fmla="*/ 119 w 745"/>
                <a:gd name="T17" fmla="*/ 36 h 711"/>
                <a:gd name="T18" fmla="*/ 124 w 745"/>
                <a:gd name="T19" fmla="*/ 36 h 711"/>
                <a:gd name="T20" fmla="*/ 122 w 745"/>
                <a:gd name="T21" fmla="*/ 54 h 711"/>
                <a:gd name="T22" fmla="*/ 119 w 745"/>
                <a:gd name="T23" fmla="*/ 57 h 711"/>
                <a:gd name="T24" fmla="*/ 114 w 745"/>
                <a:gd name="T25" fmla="*/ 58 h 711"/>
                <a:gd name="T26" fmla="*/ 78 w 745"/>
                <a:gd name="T27" fmla="*/ 65 h 711"/>
                <a:gd name="T28" fmla="*/ 63 w 745"/>
                <a:gd name="T29" fmla="*/ 70 h 711"/>
                <a:gd name="T30" fmla="*/ 53 w 745"/>
                <a:gd name="T31" fmla="*/ 86 h 711"/>
                <a:gd name="T32" fmla="*/ 50 w 745"/>
                <a:gd name="T33" fmla="*/ 85 h 711"/>
                <a:gd name="T34" fmla="*/ 47 w 745"/>
                <a:gd name="T35" fmla="*/ 86 h 711"/>
                <a:gd name="T36" fmla="*/ 45 w 745"/>
                <a:gd name="T37" fmla="*/ 85 h 711"/>
                <a:gd name="T38" fmla="*/ 45 w 745"/>
                <a:gd name="T39" fmla="*/ 83 h 711"/>
                <a:gd name="T40" fmla="*/ 43 w 745"/>
                <a:gd name="T41" fmla="*/ 85 h 711"/>
                <a:gd name="T42" fmla="*/ 42 w 745"/>
                <a:gd name="T43" fmla="*/ 85 h 711"/>
                <a:gd name="T44" fmla="*/ 39 w 745"/>
                <a:gd name="T45" fmla="*/ 86 h 711"/>
                <a:gd name="T46" fmla="*/ 38 w 745"/>
                <a:gd name="T47" fmla="*/ 87 h 711"/>
                <a:gd name="T48" fmla="*/ 37 w 745"/>
                <a:gd name="T49" fmla="*/ 87 h 711"/>
                <a:gd name="T50" fmla="*/ 35 w 745"/>
                <a:gd name="T51" fmla="*/ 85 h 711"/>
                <a:gd name="T52" fmla="*/ 33 w 745"/>
                <a:gd name="T53" fmla="*/ 86 h 711"/>
                <a:gd name="T54" fmla="*/ 32 w 745"/>
                <a:gd name="T55" fmla="*/ 87 h 711"/>
                <a:gd name="T56" fmla="*/ 29 w 745"/>
                <a:gd name="T57" fmla="*/ 85 h 711"/>
                <a:gd name="T58" fmla="*/ 28 w 745"/>
                <a:gd name="T59" fmla="*/ 82 h 711"/>
                <a:gd name="T60" fmla="*/ 27 w 745"/>
                <a:gd name="T61" fmla="*/ 81 h 711"/>
                <a:gd name="T62" fmla="*/ 28 w 745"/>
                <a:gd name="T63" fmla="*/ 80 h 711"/>
                <a:gd name="T64" fmla="*/ 28 w 745"/>
                <a:gd name="T65" fmla="*/ 80 h 711"/>
                <a:gd name="T66" fmla="*/ 26 w 745"/>
                <a:gd name="T67" fmla="*/ 78 h 711"/>
                <a:gd name="T68" fmla="*/ 25 w 745"/>
                <a:gd name="T69" fmla="*/ 76 h 711"/>
                <a:gd name="T70" fmla="*/ 24 w 745"/>
                <a:gd name="T71" fmla="*/ 75 h 711"/>
                <a:gd name="T72" fmla="*/ 23 w 745"/>
                <a:gd name="T73" fmla="*/ 74 h 711"/>
                <a:gd name="T74" fmla="*/ 21 w 745"/>
                <a:gd name="T75" fmla="*/ 74 h 711"/>
                <a:gd name="T76" fmla="*/ 19 w 745"/>
                <a:gd name="T77" fmla="*/ 75 h 711"/>
                <a:gd name="T78" fmla="*/ 15 w 745"/>
                <a:gd name="T79" fmla="*/ 75 h 711"/>
                <a:gd name="T80" fmla="*/ 12 w 745"/>
                <a:gd name="T81" fmla="*/ 76 h 711"/>
                <a:gd name="T82" fmla="*/ 9 w 745"/>
                <a:gd name="T83" fmla="*/ 75 h 711"/>
                <a:gd name="T84" fmla="*/ 6 w 745"/>
                <a:gd name="T85" fmla="*/ 76 h 711"/>
                <a:gd name="T86" fmla="*/ 5 w 745"/>
                <a:gd name="T87" fmla="*/ 75 h 711"/>
                <a:gd name="T88" fmla="*/ 6 w 745"/>
                <a:gd name="T89" fmla="*/ 73 h 711"/>
                <a:gd name="T90" fmla="*/ 6 w 745"/>
                <a:gd name="T91" fmla="*/ 72 h 711"/>
                <a:gd name="T92" fmla="*/ 5 w 745"/>
                <a:gd name="T93" fmla="*/ 70 h 711"/>
                <a:gd name="T94" fmla="*/ 4 w 745"/>
                <a:gd name="T95" fmla="*/ 69 h 711"/>
                <a:gd name="T96" fmla="*/ 3 w 745"/>
                <a:gd name="T97" fmla="*/ 69 h 711"/>
                <a:gd name="T98" fmla="*/ 1 w 745"/>
                <a:gd name="T99" fmla="*/ 66 h 711"/>
                <a:gd name="T100" fmla="*/ 1 w 745"/>
                <a:gd name="T101" fmla="*/ 64 h 711"/>
                <a:gd name="T102" fmla="*/ 1 w 745"/>
                <a:gd name="T103" fmla="*/ 62 h 711"/>
                <a:gd name="T104" fmla="*/ 0 w 745"/>
                <a:gd name="T105" fmla="*/ 61 h 711"/>
                <a:gd name="T106" fmla="*/ 6 w 745"/>
                <a:gd name="T107" fmla="*/ 54 h 711"/>
                <a:gd name="T108" fmla="*/ 9 w 745"/>
                <a:gd name="T109" fmla="*/ 58 h 711"/>
                <a:gd name="T110" fmla="*/ 52 w 745"/>
                <a:gd name="T111" fmla="*/ 52 h 711"/>
                <a:gd name="T112" fmla="*/ 64 w 745"/>
                <a:gd name="T113" fmla="*/ 4 h 7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45"/>
                <a:gd name="T172" fmla="*/ 0 h 711"/>
                <a:gd name="T173" fmla="*/ 745 w 745"/>
                <a:gd name="T174" fmla="*/ 711 h 71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45" h="711">
                  <a:moveTo>
                    <a:pt x="385" y="36"/>
                  </a:moveTo>
                  <a:lnTo>
                    <a:pt x="605" y="189"/>
                  </a:lnTo>
                  <a:lnTo>
                    <a:pt x="605" y="193"/>
                  </a:lnTo>
                  <a:lnTo>
                    <a:pt x="609" y="196"/>
                  </a:lnTo>
                  <a:lnTo>
                    <a:pt x="607" y="202"/>
                  </a:lnTo>
                  <a:lnTo>
                    <a:pt x="608" y="206"/>
                  </a:lnTo>
                  <a:lnTo>
                    <a:pt x="628" y="215"/>
                  </a:lnTo>
                  <a:lnTo>
                    <a:pt x="630" y="217"/>
                  </a:lnTo>
                  <a:lnTo>
                    <a:pt x="631" y="222"/>
                  </a:lnTo>
                  <a:lnTo>
                    <a:pt x="632" y="225"/>
                  </a:lnTo>
                  <a:lnTo>
                    <a:pt x="643" y="233"/>
                  </a:lnTo>
                  <a:lnTo>
                    <a:pt x="651" y="234"/>
                  </a:lnTo>
                  <a:lnTo>
                    <a:pt x="658" y="233"/>
                  </a:lnTo>
                  <a:lnTo>
                    <a:pt x="660" y="234"/>
                  </a:lnTo>
                  <a:lnTo>
                    <a:pt x="663" y="242"/>
                  </a:lnTo>
                  <a:lnTo>
                    <a:pt x="666" y="244"/>
                  </a:lnTo>
                  <a:lnTo>
                    <a:pt x="676" y="244"/>
                  </a:lnTo>
                  <a:lnTo>
                    <a:pt x="679" y="245"/>
                  </a:lnTo>
                  <a:lnTo>
                    <a:pt x="682" y="245"/>
                  </a:lnTo>
                  <a:lnTo>
                    <a:pt x="689" y="250"/>
                  </a:lnTo>
                  <a:lnTo>
                    <a:pt x="697" y="252"/>
                  </a:lnTo>
                  <a:lnTo>
                    <a:pt x="701" y="254"/>
                  </a:lnTo>
                  <a:lnTo>
                    <a:pt x="702" y="256"/>
                  </a:lnTo>
                  <a:lnTo>
                    <a:pt x="703" y="257"/>
                  </a:lnTo>
                  <a:lnTo>
                    <a:pt x="704" y="261"/>
                  </a:lnTo>
                  <a:lnTo>
                    <a:pt x="702" y="263"/>
                  </a:lnTo>
                  <a:lnTo>
                    <a:pt x="702" y="267"/>
                  </a:lnTo>
                  <a:lnTo>
                    <a:pt x="704" y="271"/>
                  </a:lnTo>
                  <a:lnTo>
                    <a:pt x="704" y="273"/>
                  </a:lnTo>
                  <a:lnTo>
                    <a:pt x="702" y="274"/>
                  </a:lnTo>
                  <a:lnTo>
                    <a:pt x="701" y="276"/>
                  </a:lnTo>
                  <a:lnTo>
                    <a:pt x="702" y="281"/>
                  </a:lnTo>
                  <a:lnTo>
                    <a:pt x="700" y="286"/>
                  </a:lnTo>
                  <a:lnTo>
                    <a:pt x="700" y="289"/>
                  </a:lnTo>
                  <a:lnTo>
                    <a:pt x="706" y="296"/>
                  </a:lnTo>
                  <a:lnTo>
                    <a:pt x="716" y="297"/>
                  </a:lnTo>
                  <a:lnTo>
                    <a:pt x="723" y="294"/>
                  </a:lnTo>
                  <a:lnTo>
                    <a:pt x="732" y="293"/>
                  </a:lnTo>
                  <a:lnTo>
                    <a:pt x="744" y="288"/>
                  </a:lnTo>
                  <a:lnTo>
                    <a:pt x="744" y="290"/>
                  </a:lnTo>
                  <a:lnTo>
                    <a:pt x="745" y="290"/>
                  </a:lnTo>
                  <a:lnTo>
                    <a:pt x="745" y="437"/>
                  </a:lnTo>
                  <a:lnTo>
                    <a:pt x="741" y="438"/>
                  </a:lnTo>
                  <a:lnTo>
                    <a:pt x="733" y="442"/>
                  </a:lnTo>
                  <a:lnTo>
                    <a:pt x="730" y="447"/>
                  </a:lnTo>
                  <a:lnTo>
                    <a:pt x="728" y="453"/>
                  </a:lnTo>
                  <a:lnTo>
                    <a:pt x="718" y="459"/>
                  </a:lnTo>
                  <a:lnTo>
                    <a:pt x="714" y="465"/>
                  </a:lnTo>
                  <a:lnTo>
                    <a:pt x="713" y="470"/>
                  </a:lnTo>
                  <a:lnTo>
                    <a:pt x="692" y="467"/>
                  </a:lnTo>
                  <a:lnTo>
                    <a:pt x="692" y="471"/>
                  </a:lnTo>
                  <a:lnTo>
                    <a:pt x="688" y="469"/>
                  </a:lnTo>
                  <a:lnTo>
                    <a:pt x="615" y="471"/>
                  </a:lnTo>
                  <a:lnTo>
                    <a:pt x="593" y="486"/>
                  </a:lnTo>
                  <a:lnTo>
                    <a:pt x="535" y="487"/>
                  </a:lnTo>
                  <a:lnTo>
                    <a:pt x="468" y="528"/>
                  </a:lnTo>
                  <a:lnTo>
                    <a:pt x="458" y="541"/>
                  </a:lnTo>
                  <a:lnTo>
                    <a:pt x="443" y="552"/>
                  </a:lnTo>
                  <a:lnTo>
                    <a:pt x="385" y="567"/>
                  </a:lnTo>
                  <a:lnTo>
                    <a:pt x="378" y="572"/>
                  </a:lnTo>
                  <a:lnTo>
                    <a:pt x="355" y="622"/>
                  </a:lnTo>
                  <a:lnTo>
                    <a:pt x="329" y="643"/>
                  </a:lnTo>
                  <a:lnTo>
                    <a:pt x="318" y="673"/>
                  </a:lnTo>
                  <a:lnTo>
                    <a:pt x="318" y="703"/>
                  </a:lnTo>
                  <a:lnTo>
                    <a:pt x="307" y="705"/>
                  </a:lnTo>
                  <a:lnTo>
                    <a:pt x="306" y="704"/>
                  </a:lnTo>
                  <a:lnTo>
                    <a:pt x="303" y="699"/>
                  </a:lnTo>
                  <a:lnTo>
                    <a:pt x="300" y="698"/>
                  </a:lnTo>
                  <a:lnTo>
                    <a:pt x="292" y="698"/>
                  </a:lnTo>
                  <a:lnTo>
                    <a:pt x="289" y="699"/>
                  </a:lnTo>
                  <a:lnTo>
                    <a:pt x="286" y="704"/>
                  </a:lnTo>
                  <a:lnTo>
                    <a:pt x="283" y="704"/>
                  </a:lnTo>
                  <a:lnTo>
                    <a:pt x="279" y="707"/>
                  </a:lnTo>
                  <a:lnTo>
                    <a:pt x="272" y="707"/>
                  </a:lnTo>
                  <a:lnTo>
                    <a:pt x="273" y="705"/>
                  </a:lnTo>
                  <a:lnTo>
                    <a:pt x="272" y="696"/>
                  </a:lnTo>
                  <a:lnTo>
                    <a:pt x="271" y="693"/>
                  </a:lnTo>
                  <a:lnTo>
                    <a:pt x="271" y="692"/>
                  </a:lnTo>
                  <a:lnTo>
                    <a:pt x="271" y="687"/>
                  </a:lnTo>
                  <a:lnTo>
                    <a:pt x="269" y="684"/>
                  </a:lnTo>
                  <a:lnTo>
                    <a:pt x="267" y="686"/>
                  </a:lnTo>
                  <a:lnTo>
                    <a:pt x="262" y="686"/>
                  </a:lnTo>
                  <a:lnTo>
                    <a:pt x="260" y="692"/>
                  </a:lnTo>
                  <a:lnTo>
                    <a:pt x="259" y="692"/>
                  </a:lnTo>
                  <a:lnTo>
                    <a:pt x="255" y="689"/>
                  </a:lnTo>
                  <a:lnTo>
                    <a:pt x="252" y="689"/>
                  </a:lnTo>
                  <a:lnTo>
                    <a:pt x="250" y="692"/>
                  </a:lnTo>
                  <a:lnTo>
                    <a:pt x="250" y="695"/>
                  </a:lnTo>
                  <a:lnTo>
                    <a:pt x="252" y="700"/>
                  </a:lnTo>
                  <a:lnTo>
                    <a:pt x="250" y="702"/>
                  </a:lnTo>
                  <a:lnTo>
                    <a:pt x="240" y="702"/>
                  </a:lnTo>
                  <a:lnTo>
                    <a:pt x="235" y="704"/>
                  </a:lnTo>
                  <a:lnTo>
                    <a:pt x="235" y="707"/>
                  </a:lnTo>
                  <a:lnTo>
                    <a:pt x="233" y="711"/>
                  </a:lnTo>
                  <a:lnTo>
                    <a:pt x="230" y="711"/>
                  </a:lnTo>
                  <a:lnTo>
                    <a:pt x="227" y="709"/>
                  </a:lnTo>
                  <a:lnTo>
                    <a:pt x="224" y="705"/>
                  </a:lnTo>
                  <a:lnTo>
                    <a:pt x="222" y="705"/>
                  </a:lnTo>
                  <a:lnTo>
                    <a:pt x="220" y="706"/>
                  </a:lnTo>
                  <a:lnTo>
                    <a:pt x="219" y="707"/>
                  </a:lnTo>
                  <a:lnTo>
                    <a:pt x="218" y="707"/>
                  </a:lnTo>
                  <a:lnTo>
                    <a:pt x="217" y="702"/>
                  </a:lnTo>
                  <a:lnTo>
                    <a:pt x="213" y="698"/>
                  </a:lnTo>
                  <a:lnTo>
                    <a:pt x="210" y="697"/>
                  </a:lnTo>
                  <a:lnTo>
                    <a:pt x="207" y="700"/>
                  </a:lnTo>
                  <a:lnTo>
                    <a:pt x="203" y="699"/>
                  </a:lnTo>
                  <a:lnTo>
                    <a:pt x="201" y="700"/>
                  </a:lnTo>
                  <a:lnTo>
                    <a:pt x="199" y="702"/>
                  </a:lnTo>
                  <a:lnTo>
                    <a:pt x="198" y="705"/>
                  </a:lnTo>
                  <a:lnTo>
                    <a:pt x="196" y="708"/>
                  </a:lnTo>
                  <a:lnTo>
                    <a:pt x="191" y="709"/>
                  </a:lnTo>
                  <a:lnTo>
                    <a:pt x="191" y="707"/>
                  </a:lnTo>
                  <a:lnTo>
                    <a:pt x="190" y="704"/>
                  </a:lnTo>
                  <a:lnTo>
                    <a:pt x="185" y="702"/>
                  </a:lnTo>
                  <a:lnTo>
                    <a:pt x="184" y="699"/>
                  </a:lnTo>
                  <a:lnTo>
                    <a:pt x="178" y="698"/>
                  </a:lnTo>
                  <a:lnTo>
                    <a:pt x="176" y="693"/>
                  </a:lnTo>
                  <a:lnTo>
                    <a:pt x="174" y="670"/>
                  </a:lnTo>
                  <a:lnTo>
                    <a:pt x="170" y="669"/>
                  </a:lnTo>
                  <a:lnTo>
                    <a:pt x="166" y="670"/>
                  </a:lnTo>
                  <a:lnTo>
                    <a:pt x="162" y="676"/>
                  </a:lnTo>
                  <a:lnTo>
                    <a:pt x="159" y="676"/>
                  </a:lnTo>
                  <a:lnTo>
                    <a:pt x="159" y="669"/>
                  </a:lnTo>
                  <a:lnTo>
                    <a:pt x="160" y="668"/>
                  </a:lnTo>
                  <a:lnTo>
                    <a:pt x="164" y="666"/>
                  </a:lnTo>
                  <a:lnTo>
                    <a:pt x="165" y="663"/>
                  </a:lnTo>
                  <a:lnTo>
                    <a:pt x="168" y="662"/>
                  </a:lnTo>
                  <a:lnTo>
                    <a:pt x="169" y="659"/>
                  </a:lnTo>
                  <a:lnTo>
                    <a:pt x="173" y="659"/>
                  </a:lnTo>
                  <a:lnTo>
                    <a:pt x="172" y="654"/>
                  </a:lnTo>
                  <a:lnTo>
                    <a:pt x="172" y="653"/>
                  </a:lnTo>
                  <a:lnTo>
                    <a:pt x="167" y="653"/>
                  </a:lnTo>
                  <a:lnTo>
                    <a:pt x="165" y="650"/>
                  </a:lnTo>
                  <a:lnTo>
                    <a:pt x="162" y="648"/>
                  </a:lnTo>
                  <a:lnTo>
                    <a:pt x="157" y="641"/>
                  </a:lnTo>
                  <a:lnTo>
                    <a:pt x="154" y="642"/>
                  </a:lnTo>
                  <a:lnTo>
                    <a:pt x="153" y="642"/>
                  </a:lnTo>
                  <a:lnTo>
                    <a:pt x="153" y="627"/>
                  </a:lnTo>
                  <a:lnTo>
                    <a:pt x="150" y="624"/>
                  </a:lnTo>
                  <a:lnTo>
                    <a:pt x="148" y="622"/>
                  </a:lnTo>
                  <a:lnTo>
                    <a:pt x="149" y="617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5"/>
                  </a:lnTo>
                  <a:lnTo>
                    <a:pt x="144" y="606"/>
                  </a:lnTo>
                  <a:lnTo>
                    <a:pt x="144" y="604"/>
                  </a:lnTo>
                  <a:lnTo>
                    <a:pt x="141" y="602"/>
                  </a:lnTo>
                  <a:lnTo>
                    <a:pt x="139" y="602"/>
                  </a:lnTo>
                  <a:lnTo>
                    <a:pt x="137" y="605"/>
                  </a:lnTo>
                  <a:lnTo>
                    <a:pt x="135" y="605"/>
                  </a:lnTo>
                  <a:lnTo>
                    <a:pt x="130" y="602"/>
                  </a:lnTo>
                  <a:lnTo>
                    <a:pt x="128" y="602"/>
                  </a:lnTo>
                  <a:lnTo>
                    <a:pt x="127" y="603"/>
                  </a:lnTo>
                  <a:lnTo>
                    <a:pt x="127" y="610"/>
                  </a:lnTo>
                  <a:lnTo>
                    <a:pt x="124" y="612"/>
                  </a:lnTo>
                  <a:lnTo>
                    <a:pt x="113" y="616"/>
                  </a:lnTo>
                  <a:lnTo>
                    <a:pt x="113" y="620"/>
                  </a:lnTo>
                  <a:lnTo>
                    <a:pt x="111" y="625"/>
                  </a:lnTo>
                  <a:lnTo>
                    <a:pt x="99" y="620"/>
                  </a:lnTo>
                  <a:lnTo>
                    <a:pt x="92" y="616"/>
                  </a:lnTo>
                  <a:lnTo>
                    <a:pt x="84" y="614"/>
                  </a:lnTo>
                  <a:lnTo>
                    <a:pt x="82" y="615"/>
                  </a:lnTo>
                  <a:lnTo>
                    <a:pt x="79" y="619"/>
                  </a:lnTo>
                  <a:lnTo>
                    <a:pt x="74" y="621"/>
                  </a:lnTo>
                  <a:lnTo>
                    <a:pt x="72" y="626"/>
                  </a:lnTo>
                  <a:lnTo>
                    <a:pt x="69" y="629"/>
                  </a:lnTo>
                  <a:lnTo>
                    <a:pt x="65" y="627"/>
                  </a:lnTo>
                  <a:lnTo>
                    <a:pt x="56" y="615"/>
                  </a:lnTo>
                  <a:lnTo>
                    <a:pt x="51" y="616"/>
                  </a:lnTo>
                  <a:lnTo>
                    <a:pt x="46" y="621"/>
                  </a:lnTo>
                  <a:lnTo>
                    <a:pt x="43" y="624"/>
                  </a:lnTo>
                  <a:lnTo>
                    <a:pt x="39" y="625"/>
                  </a:lnTo>
                  <a:lnTo>
                    <a:pt x="35" y="622"/>
                  </a:lnTo>
                  <a:lnTo>
                    <a:pt x="32" y="618"/>
                  </a:lnTo>
                  <a:lnTo>
                    <a:pt x="32" y="615"/>
                  </a:lnTo>
                  <a:lnTo>
                    <a:pt x="35" y="612"/>
                  </a:lnTo>
                  <a:lnTo>
                    <a:pt x="35" y="609"/>
                  </a:lnTo>
                  <a:lnTo>
                    <a:pt x="39" y="604"/>
                  </a:lnTo>
                  <a:lnTo>
                    <a:pt x="39" y="603"/>
                  </a:lnTo>
                  <a:lnTo>
                    <a:pt x="36" y="600"/>
                  </a:lnTo>
                  <a:lnTo>
                    <a:pt x="36" y="594"/>
                  </a:lnTo>
                  <a:lnTo>
                    <a:pt x="38" y="590"/>
                  </a:lnTo>
                  <a:lnTo>
                    <a:pt x="38" y="586"/>
                  </a:lnTo>
                  <a:lnTo>
                    <a:pt x="37" y="584"/>
                  </a:lnTo>
                  <a:lnTo>
                    <a:pt x="37" y="582"/>
                  </a:lnTo>
                  <a:lnTo>
                    <a:pt x="38" y="582"/>
                  </a:lnTo>
                  <a:lnTo>
                    <a:pt x="37" y="579"/>
                  </a:lnTo>
                  <a:lnTo>
                    <a:pt x="34" y="575"/>
                  </a:lnTo>
                  <a:lnTo>
                    <a:pt x="33" y="572"/>
                  </a:lnTo>
                  <a:lnTo>
                    <a:pt x="30" y="570"/>
                  </a:lnTo>
                  <a:lnTo>
                    <a:pt x="30" y="566"/>
                  </a:lnTo>
                  <a:lnTo>
                    <a:pt x="26" y="564"/>
                  </a:lnTo>
                  <a:lnTo>
                    <a:pt x="26" y="561"/>
                  </a:lnTo>
                  <a:lnTo>
                    <a:pt x="21" y="561"/>
                  </a:lnTo>
                  <a:lnTo>
                    <a:pt x="19" y="563"/>
                  </a:lnTo>
                  <a:lnTo>
                    <a:pt x="16" y="563"/>
                  </a:lnTo>
                  <a:lnTo>
                    <a:pt x="15" y="562"/>
                  </a:lnTo>
                  <a:lnTo>
                    <a:pt x="14" y="555"/>
                  </a:lnTo>
                  <a:lnTo>
                    <a:pt x="7" y="547"/>
                  </a:lnTo>
                  <a:lnTo>
                    <a:pt x="7" y="545"/>
                  </a:lnTo>
                  <a:lnTo>
                    <a:pt x="11" y="539"/>
                  </a:lnTo>
                  <a:lnTo>
                    <a:pt x="11" y="535"/>
                  </a:lnTo>
                  <a:lnTo>
                    <a:pt x="8" y="531"/>
                  </a:lnTo>
                  <a:lnTo>
                    <a:pt x="7" y="519"/>
                  </a:lnTo>
                  <a:lnTo>
                    <a:pt x="5" y="517"/>
                  </a:lnTo>
                  <a:lnTo>
                    <a:pt x="3" y="516"/>
                  </a:lnTo>
                  <a:lnTo>
                    <a:pt x="2" y="513"/>
                  </a:lnTo>
                  <a:lnTo>
                    <a:pt x="1" y="513"/>
                  </a:lnTo>
                  <a:lnTo>
                    <a:pt x="0" y="508"/>
                  </a:lnTo>
                  <a:lnTo>
                    <a:pt x="2" y="503"/>
                  </a:lnTo>
                  <a:lnTo>
                    <a:pt x="2" y="499"/>
                  </a:lnTo>
                  <a:lnTo>
                    <a:pt x="0" y="497"/>
                  </a:lnTo>
                  <a:lnTo>
                    <a:pt x="18" y="478"/>
                  </a:lnTo>
                  <a:lnTo>
                    <a:pt x="33" y="444"/>
                  </a:lnTo>
                  <a:lnTo>
                    <a:pt x="34" y="444"/>
                  </a:lnTo>
                  <a:lnTo>
                    <a:pt x="37" y="444"/>
                  </a:lnTo>
                  <a:lnTo>
                    <a:pt x="37" y="445"/>
                  </a:lnTo>
                  <a:lnTo>
                    <a:pt x="42" y="446"/>
                  </a:lnTo>
                  <a:lnTo>
                    <a:pt x="45" y="448"/>
                  </a:lnTo>
                  <a:lnTo>
                    <a:pt x="57" y="476"/>
                  </a:lnTo>
                  <a:lnTo>
                    <a:pt x="72" y="478"/>
                  </a:lnTo>
                  <a:lnTo>
                    <a:pt x="94" y="460"/>
                  </a:lnTo>
                  <a:lnTo>
                    <a:pt x="302" y="464"/>
                  </a:lnTo>
                  <a:lnTo>
                    <a:pt x="313" y="424"/>
                  </a:lnTo>
                  <a:lnTo>
                    <a:pt x="294" y="419"/>
                  </a:lnTo>
                  <a:lnTo>
                    <a:pt x="252" y="0"/>
                  </a:lnTo>
                  <a:lnTo>
                    <a:pt x="332" y="0"/>
                  </a:lnTo>
                  <a:lnTo>
                    <a:pt x="385" y="3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2" name="Freeform 210"/>
            <p:cNvSpPr>
              <a:spLocks/>
            </p:cNvSpPr>
            <p:nvPr/>
          </p:nvSpPr>
          <p:spPr bwMode="auto">
            <a:xfrm>
              <a:off x="2601374" y="2013529"/>
              <a:ext cx="891616" cy="710603"/>
            </a:xfrm>
            <a:custGeom>
              <a:avLst/>
              <a:gdLst>
                <a:gd name="T0" fmla="*/ 101 w 745"/>
                <a:gd name="T1" fmla="*/ 24 h 711"/>
                <a:gd name="T2" fmla="*/ 105 w 745"/>
                <a:gd name="T3" fmla="*/ 27 h 711"/>
                <a:gd name="T4" fmla="*/ 108 w 745"/>
                <a:gd name="T5" fmla="*/ 29 h 711"/>
                <a:gd name="T6" fmla="*/ 111 w 745"/>
                <a:gd name="T7" fmla="*/ 30 h 711"/>
                <a:gd name="T8" fmla="*/ 114 w 745"/>
                <a:gd name="T9" fmla="*/ 31 h 711"/>
                <a:gd name="T10" fmla="*/ 117 w 745"/>
                <a:gd name="T11" fmla="*/ 31 h 711"/>
                <a:gd name="T12" fmla="*/ 117 w 745"/>
                <a:gd name="T13" fmla="*/ 33 h 711"/>
                <a:gd name="T14" fmla="*/ 117 w 745"/>
                <a:gd name="T15" fmla="*/ 34 h 711"/>
                <a:gd name="T16" fmla="*/ 119 w 745"/>
                <a:gd name="T17" fmla="*/ 36 h 711"/>
                <a:gd name="T18" fmla="*/ 124 w 745"/>
                <a:gd name="T19" fmla="*/ 36 h 711"/>
                <a:gd name="T20" fmla="*/ 122 w 745"/>
                <a:gd name="T21" fmla="*/ 54 h 711"/>
                <a:gd name="T22" fmla="*/ 119 w 745"/>
                <a:gd name="T23" fmla="*/ 57 h 711"/>
                <a:gd name="T24" fmla="*/ 114 w 745"/>
                <a:gd name="T25" fmla="*/ 58 h 711"/>
                <a:gd name="T26" fmla="*/ 78 w 745"/>
                <a:gd name="T27" fmla="*/ 65 h 711"/>
                <a:gd name="T28" fmla="*/ 63 w 745"/>
                <a:gd name="T29" fmla="*/ 70 h 711"/>
                <a:gd name="T30" fmla="*/ 53 w 745"/>
                <a:gd name="T31" fmla="*/ 86 h 711"/>
                <a:gd name="T32" fmla="*/ 50 w 745"/>
                <a:gd name="T33" fmla="*/ 85 h 711"/>
                <a:gd name="T34" fmla="*/ 47 w 745"/>
                <a:gd name="T35" fmla="*/ 86 h 711"/>
                <a:gd name="T36" fmla="*/ 45 w 745"/>
                <a:gd name="T37" fmla="*/ 85 h 711"/>
                <a:gd name="T38" fmla="*/ 45 w 745"/>
                <a:gd name="T39" fmla="*/ 83 h 711"/>
                <a:gd name="T40" fmla="*/ 43 w 745"/>
                <a:gd name="T41" fmla="*/ 85 h 711"/>
                <a:gd name="T42" fmla="*/ 42 w 745"/>
                <a:gd name="T43" fmla="*/ 85 h 711"/>
                <a:gd name="T44" fmla="*/ 39 w 745"/>
                <a:gd name="T45" fmla="*/ 86 h 711"/>
                <a:gd name="T46" fmla="*/ 38 w 745"/>
                <a:gd name="T47" fmla="*/ 87 h 711"/>
                <a:gd name="T48" fmla="*/ 37 w 745"/>
                <a:gd name="T49" fmla="*/ 87 h 711"/>
                <a:gd name="T50" fmla="*/ 35 w 745"/>
                <a:gd name="T51" fmla="*/ 85 h 711"/>
                <a:gd name="T52" fmla="*/ 33 w 745"/>
                <a:gd name="T53" fmla="*/ 86 h 711"/>
                <a:gd name="T54" fmla="*/ 32 w 745"/>
                <a:gd name="T55" fmla="*/ 87 h 711"/>
                <a:gd name="T56" fmla="*/ 29 w 745"/>
                <a:gd name="T57" fmla="*/ 85 h 711"/>
                <a:gd name="T58" fmla="*/ 28 w 745"/>
                <a:gd name="T59" fmla="*/ 82 h 711"/>
                <a:gd name="T60" fmla="*/ 27 w 745"/>
                <a:gd name="T61" fmla="*/ 81 h 711"/>
                <a:gd name="T62" fmla="*/ 28 w 745"/>
                <a:gd name="T63" fmla="*/ 80 h 711"/>
                <a:gd name="T64" fmla="*/ 28 w 745"/>
                <a:gd name="T65" fmla="*/ 80 h 711"/>
                <a:gd name="T66" fmla="*/ 26 w 745"/>
                <a:gd name="T67" fmla="*/ 78 h 711"/>
                <a:gd name="T68" fmla="*/ 25 w 745"/>
                <a:gd name="T69" fmla="*/ 76 h 711"/>
                <a:gd name="T70" fmla="*/ 24 w 745"/>
                <a:gd name="T71" fmla="*/ 75 h 711"/>
                <a:gd name="T72" fmla="*/ 23 w 745"/>
                <a:gd name="T73" fmla="*/ 74 h 711"/>
                <a:gd name="T74" fmla="*/ 21 w 745"/>
                <a:gd name="T75" fmla="*/ 74 h 711"/>
                <a:gd name="T76" fmla="*/ 19 w 745"/>
                <a:gd name="T77" fmla="*/ 75 h 711"/>
                <a:gd name="T78" fmla="*/ 15 w 745"/>
                <a:gd name="T79" fmla="*/ 75 h 711"/>
                <a:gd name="T80" fmla="*/ 12 w 745"/>
                <a:gd name="T81" fmla="*/ 76 h 711"/>
                <a:gd name="T82" fmla="*/ 9 w 745"/>
                <a:gd name="T83" fmla="*/ 75 h 711"/>
                <a:gd name="T84" fmla="*/ 6 w 745"/>
                <a:gd name="T85" fmla="*/ 76 h 711"/>
                <a:gd name="T86" fmla="*/ 5 w 745"/>
                <a:gd name="T87" fmla="*/ 75 h 711"/>
                <a:gd name="T88" fmla="*/ 6 w 745"/>
                <a:gd name="T89" fmla="*/ 73 h 711"/>
                <a:gd name="T90" fmla="*/ 6 w 745"/>
                <a:gd name="T91" fmla="*/ 72 h 711"/>
                <a:gd name="T92" fmla="*/ 5 w 745"/>
                <a:gd name="T93" fmla="*/ 70 h 711"/>
                <a:gd name="T94" fmla="*/ 4 w 745"/>
                <a:gd name="T95" fmla="*/ 69 h 711"/>
                <a:gd name="T96" fmla="*/ 3 w 745"/>
                <a:gd name="T97" fmla="*/ 69 h 711"/>
                <a:gd name="T98" fmla="*/ 1 w 745"/>
                <a:gd name="T99" fmla="*/ 66 h 711"/>
                <a:gd name="T100" fmla="*/ 1 w 745"/>
                <a:gd name="T101" fmla="*/ 64 h 711"/>
                <a:gd name="T102" fmla="*/ 1 w 745"/>
                <a:gd name="T103" fmla="*/ 62 h 711"/>
                <a:gd name="T104" fmla="*/ 0 w 745"/>
                <a:gd name="T105" fmla="*/ 61 h 711"/>
                <a:gd name="T106" fmla="*/ 6 w 745"/>
                <a:gd name="T107" fmla="*/ 54 h 711"/>
                <a:gd name="T108" fmla="*/ 9 w 745"/>
                <a:gd name="T109" fmla="*/ 58 h 711"/>
                <a:gd name="T110" fmla="*/ 52 w 745"/>
                <a:gd name="T111" fmla="*/ 52 h 711"/>
                <a:gd name="T112" fmla="*/ 64 w 745"/>
                <a:gd name="T113" fmla="*/ 4 h 7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45"/>
                <a:gd name="T172" fmla="*/ 0 h 711"/>
                <a:gd name="T173" fmla="*/ 745 w 745"/>
                <a:gd name="T174" fmla="*/ 711 h 71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45" h="711">
                  <a:moveTo>
                    <a:pt x="385" y="36"/>
                  </a:moveTo>
                  <a:lnTo>
                    <a:pt x="605" y="189"/>
                  </a:lnTo>
                  <a:lnTo>
                    <a:pt x="605" y="193"/>
                  </a:lnTo>
                  <a:lnTo>
                    <a:pt x="609" y="196"/>
                  </a:lnTo>
                  <a:lnTo>
                    <a:pt x="607" y="202"/>
                  </a:lnTo>
                  <a:lnTo>
                    <a:pt x="608" y="206"/>
                  </a:lnTo>
                  <a:lnTo>
                    <a:pt x="628" y="215"/>
                  </a:lnTo>
                  <a:lnTo>
                    <a:pt x="630" y="217"/>
                  </a:lnTo>
                  <a:lnTo>
                    <a:pt x="631" y="222"/>
                  </a:lnTo>
                  <a:lnTo>
                    <a:pt x="632" y="225"/>
                  </a:lnTo>
                  <a:lnTo>
                    <a:pt x="643" y="233"/>
                  </a:lnTo>
                  <a:lnTo>
                    <a:pt x="651" y="234"/>
                  </a:lnTo>
                  <a:lnTo>
                    <a:pt x="658" y="233"/>
                  </a:lnTo>
                  <a:lnTo>
                    <a:pt x="660" y="234"/>
                  </a:lnTo>
                  <a:lnTo>
                    <a:pt x="663" y="242"/>
                  </a:lnTo>
                  <a:lnTo>
                    <a:pt x="666" y="244"/>
                  </a:lnTo>
                  <a:lnTo>
                    <a:pt x="676" y="244"/>
                  </a:lnTo>
                  <a:lnTo>
                    <a:pt x="679" y="245"/>
                  </a:lnTo>
                  <a:lnTo>
                    <a:pt x="682" y="245"/>
                  </a:lnTo>
                  <a:lnTo>
                    <a:pt x="689" y="250"/>
                  </a:lnTo>
                  <a:lnTo>
                    <a:pt x="697" y="252"/>
                  </a:lnTo>
                  <a:lnTo>
                    <a:pt x="701" y="254"/>
                  </a:lnTo>
                  <a:lnTo>
                    <a:pt x="702" y="256"/>
                  </a:lnTo>
                  <a:lnTo>
                    <a:pt x="703" y="257"/>
                  </a:lnTo>
                  <a:lnTo>
                    <a:pt x="704" y="261"/>
                  </a:lnTo>
                  <a:lnTo>
                    <a:pt x="702" y="263"/>
                  </a:lnTo>
                  <a:lnTo>
                    <a:pt x="702" y="267"/>
                  </a:lnTo>
                  <a:lnTo>
                    <a:pt x="704" y="271"/>
                  </a:lnTo>
                  <a:lnTo>
                    <a:pt x="704" y="273"/>
                  </a:lnTo>
                  <a:lnTo>
                    <a:pt x="702" y="274"/>
                  </a:lnTo>
                  <a:lnTo>
                    <a:pt x="701" y="276"/>
                  </a:lnTo>
                  <a:lnTo>
                    <a:pt x="702" y="281"/>
                  </a:lnTo>
                  <a:lnTo>
                    <a:pt x="700" y="286"/>
                  </a:lnTo>
                  <a:lnTo>
                    <a:pt x="700" y="289"/>
                  </a:lnTo>
                  <a:lnTo>
                    <a:pt x="706" y="296"/>
                  </a:lnTo>
                  <a:lnTo>
                    <a:pt x="716" y="297"/>
                  </a:lnTo>
                  <a:lnTo>
                    <a:pt x="723" y="294"/>
                  </a:lnTo>
                  <a:lnTo>
                    <a:pt x="732" y="293"/>
                  </a:lnTo>
                  <a:lnTo>
                    <a:pt x="744" y="288"/>
                  </a:lnTo>
                  <a:lnTo>
                    <a:pt x="744" y="290"/>
                  </a:lnTo>
                  <a:lnTo>
                    <a:pt x="745" y="290"/>
                  </a:lnTo>
                  <a:lnTo>
                    <a:pt x="745" y="437"/>
                  </a:lnTo>
                  <a:lnTo>
                    <a:pt x="741" y="438"/>
                  </a:lnTo>
                  <a:lnTo>
                    <a:pt x="733" y="442"/>
                  </a:lnTo>
                  <a:lnTo>
                    <a:pt x="730" y="447"/>
                  </a:lnTo>
                  <a:lnTo>
                    <a:pt x="728" y="453"/>
                  </a:lnTo>
                  <a:lnTo>
                    <a:pt x="718" y="459"/>
                  </a:lnTo>
                  <a:lnTo>
                    <a:pt x="714" y="465"/>
                  </a:lnTo>
                  <a:lnTo>
                    <a:pt x="713" y="470"/>
                  </a:lnTo>
                  <a:lnTo>
                    <a:pt x="692" y="467"/>
                  </a:lnTo>
                  <a:lnTo>
                    <a:pt x="692" y="471"/>
                  </a:lnTo>
                  <a:lnTo>
                    <a:pt x="688" y="469"/>
                  </a:lnTo>
                  <a:lnTo>
                    <a:pt x="615" y="471"/>
                  </a:lnTo>
                  <a:lnTo>
                    <a:pt x="593" y="486"/>
                  </a:lnTo>
                  <a:lnTo>
                    <a:pt x="535" y="487"/>
                  </a:lnTo>
                  <a:lnTo>
                    <a:pt x="468" y="528"/>
                  </a:lnTo>
                  <a:lnTo>
                    <a:pt x="458" y="541"/>
                  </a:lnTo>
                  <a:lnTo>
                    <a:pt x="443" y="552"/>
                  </a:lnTo>
                  <a:lnTo>
                    <a:pt x="385" y="567"/>
                  </a:lnTo>
                  <a:lnTo>
                    <a:pt x="378" y="572"/>
                  </a:lnTo>
                  <a:lnTo>
                    <a:pt x="355" y="622"/>
                  </a:lnTo>
                  <a:lnTo>
                    <a:pt x="329" y="643"/>
                  </a:lnTo>
                  <a:lnTo>
                    <a:pt x="318" y="673"/>
                  </a:lnTo>
                  <a:lnTo>
                    <a:pt x="318" y="703"/>
                  </a:lnTo>
                  <a:lnTo>
                    <a:pt x="307" y="705"/>
                  </a:lnTo>
                  <a:lnTo>
                    <a:pt x="306" y="704"/>
                  </a:lnTo>
                  <a:lnTo>
                    <a:pt x="303" y="699"/>
                  </a:lnTo>
                  <a:lnTo>
                    <a:pt x="300" y="698"/>
                  </a:lnTo>
                  <a:lnTo>
                    <a:pt x="292" y="698"/>
                  </a:lnTo>
                  <a:lnTo>
                    <a:pt x="289" y="699"/>
                  </a:lnTo>
                  <a:lnTo>
                    <a:pt x="286" y="704"/>
                  </a:lnTo>
                  <a:lnTo>
                    <a:pt x="283" y="704"/>
                  </a:lnTo>
                  <a:lnTo>
                    <a:pt x="279" y="707"/>
                  </a:lnTo>
                  <a:lnTo>
                    <a:pt x="272" y="707"/>
                  </a:lnTo>
                  <a:lnTo>
                    <a:pt x="273" y="705"/>
                  </a:lnTo>
                  <a:lnTo>
                    <a:pt x="272" y="696"/>
                  </a:lnTo>
                  <a:lnTo>
                    <a:pt x="271" y="693"/>
                  </a:lnTo>
                  <a:lnTo>
                    <a:pt x="271" y="692"/>
                  </a:lnTo>
                  <a:lnTo>
                    <a:pt x="271" y="687"/>
                  </a:lnTo>
                  <a:lnTo>
                    <a:pt x="269" y="684"/>
                  </a:lnTo>
                  <a:lnTo>
                    <a:pt x="267" y="686"/>
                  </a:lnTo>
                  <a:lnTo>
                    <a:pt x="262" y="686"/>
                  </a:lnTo>
                  <a:lnTo>
                    <a:pt x="260" y="692"/>
                  </a:lnTo>
                  <a:lnTo>
                    <a:pt x="259" y="692"/>
                  </a:lnTo>
                  <a:lnTo>
                    <a:pt x="255" y="689"/>
                  </a:lnTo>
                  <a:lnTo>
                    <a:pt x="252" y="689"/>
                  </a:lnTo>
                  <a:lnTo>
                    <a:pt x="250" y="692"/>
                  </a:lnTo>
                  <a:lnTo>
                    <a:pt x="250" y="695"/>
                  </a:lnTo>
                  <a:lnTo>
                    <a:pt x="252" y="700"/>
                  </a:lnTo>
                  <a:lnTo>
                    <a:pt x="250" y="702"/>
                  </a:lnTo>
                  <a:lnTo>
                    <a:pt x="240" y="702"/>
                  </a:lnTo>
                  <a:lnTo>
                    <a:pt x="235" y="704"/>
                  </a:lnTo>
                  <a:lnTo>
                    <a:pt x="235" y="707"/>
                  </a:lnTo>
                  <a:lnTo>
                    <a:pt x="233" y="711"/>
                  </a:lnTo>
                  <a:lnTo>
                    <a:pt x="230" y="711"/>
                  </a:lnTo>
                  <a:lnTo>
                    <a:pt x="227" y="709"/>
                  </a:lnTo>
                  <a:lnTo>
                    <a:pt x="224" y="705"/>
                  </a:lnTo>
                  <a:lnTo>
                    <a:pt x="222" y="705"/>
                  </a:lnTo>
                  <a:lnTo>
                    <a:pt x="220" y="706"/>
                  </a:lnTo>
                  <a:lnTo>
                    <a:pt x="219" y="707"/>
                  </a:lnTo>
                  <a:lnTo>
                    <a:pt x="218" y="707"/>
                  </a:lnTo>
                  <a:lnTo>
                    <a:pt x="217" y="702"/>
                  </a:lnTo>
                  <a:lnTo>
                    <a:pt x="213" y="698"/>
                  </a:lnTo>
                  <a:lnTo>
                    <a:pt x="210" y="697"/>
                  </a:lnTo>
                  <a:lnTo>
                    <a:pt x="207" y="700"/>
                  </a:lnTo>
                  <a:lnTo>
                    <a:pt x="203" y="699"/>
                  </a:lnTo>
                  <a:lnTo>
                    <a:pt x="201" y="700"/>
                  </a:lnTo>
                  <a:lnTo>
                    <a:pt x="199" y="702"/>
                  </a:lnTo>
                  <a:lnTo>
                    <a:pt x="198" y="705"/>
                  </a:lnTo>
                  <a:lnTo>
                    <a:pt x="196" y="708"/>
                  </a:lnTo>
                  <a:lnTo>
                    <a:pt x="191" y="709"/>
                  </a:lnTo>
                  <a:lnTo>
                    <a:pt x="191" y="707"/>
                  </a:lnTo>
                  <a:lnTo>
                    <a:pt x="190" y="704"/>
                  </a:lnTo>
                  <a:lnTo>
                    <a:pt x="185" y="702"/>
                  </a:lnTo>
                  <a:lnTo>
                    <a:pt x="184" y="699"/>
                  </a:lnTo>
                  <a:lnTo>
                    <a:pt x="178" y="698"/>
                  </a:lnTo>
                  <a:lnTo>
                    <a:pt x="176" y="693"/>
                  </a:lnTo>
                  <a:lnTo>
                    <a:pt x="174" y="670"/>
                  </a:lnTo>
                  <a:lnTo>
                    <a:pt x="170" y="669"/>
                  </a:lnTo>
                  <a:lnTo>
                    <a:pt x="166" y="670"/>
                  </a:lnTo>
                  <a:lnTo>
                    <a:pt x="162" y="676"/>
                  </a:lnTo>
                  <a:lnTo>
                    <a:pt x="159" y="676"/>
                  </a:lnTo>
                  <a:lnTo>
                    <a:pt x="159" y="669"/>
                  </a:lnTo>
                  <a:lnTo>
                    <a:pt x="160" y="668"/>
                  </a:lnTo>
                  <a:lnTo>
                    <a:pt x="164" y="666"/>
                  </a:lnTo>
                  <a:lnTo>
                    <a:pt x="165" y="663"/>
                  </a:lnTo>
                  <a:lnTo>
                    <a:pt x="168" y="662"/>
                  </a:lnTo>
                  <a:lnTo>
                    <a:pt x="169" y="659"/>
                  </a:lnTo>
                  <a:lnTo>
                    <a:pt x="173" y="659"/>
                  </a:lnTo>
                  <a:lnTo>
                    <a:pt x="172" y="654"/>
                  </a:lnTo>
                  <a:lnTo>
                    <a:pt x="172" y="653"/>
                  </a:lnTo>
                  <a:lnTo>
                    <a:pt x="167" y="653"/>
                  </a:lnTo>
                  <a:lnTo>
                    <a:pt x="165" y="650"/>
                  </a:lnTo>
                  <a:lnTo>
                    <a:pt x="162" y="648"/>
                  </a:lnTo>
                  <a:lnTo>
                    <a:pt x="157" y="641"/>
                  </a:lnTo>
                  <a:lnTo>
                    <a:pt x="154" y="642"/>
                  </a:lnTo>
                  <a:lnTo>
                    <a:pt x="153" y="642"/>
                  </a:lnTo>
                  <a:lnTo>
                    <a:pt x="153" y="627"/>
                  </a:lnTo>
                  <a:lnTo>
                    <a:pt x="150" y="624"/>
                  </a:lnTo>
                  <a:lnTo>
                    <a:pt x="148" y="622"/>
                  </a:lnTo>
                  <a:lnTo>
                    <a:pt x="149" y="617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5"/>
                  </a:lnTo>
                  <a:lnTo>
                    <a:pt x="144" y="606"/>
                  </a:lnTo>
                  <a:lnTo>
                    <a:pt x="144" y="604"/>
                  </a:lnTo>
                  <a:lnTo>
                    <a:pt x="141" y="602"/>
                  </a:lnTo>
                  <a:lnTo>
                    <a:pt x="139" y="602"/>
                  </a:lnTo>
                  <a:lnTo>
                    <a:pt x="137" y="605"/>
                  </a:lnTo>
                  <a:lnTo>
                    <a:pt x="135" y="605"/>
                  </a:lnTo>
                  <a:lnTo>
                    <a:pt x="130" y="602"/>
                  </a:lnTo>
                  <a:lnTo>
                    <a:pt x="128" y="602"/>
                  </a:lnTo>
                  <a:lnTo>
                    <a:pt x="127" y="603"/>
                  </a:lnTo>
                  <a:lnTo>
                    <a:pt x="127" y="610"/>
                  </a:lnTo>
                  <a:lnTo>
                    <a:pt x="124" y="612"/>
                  </a:lnTo>
                  <a:lnTo>
                    <a:pt x="113" y="616"/>
                  </a:lnTo>
                  <a:lnTo>
                    <a:pt x="113" y="620"/>
                  </a:lnTo>
                  <a:lnTo>
                    <a:pt x="111" y="625"/>
                  </a:lnTo>
                  <a:lnTo>
                    <a:pt x="99" y="620"/>
                  </a:lnTo>
                  <a:lnTo>
                    <a:pt x="92" y="616"/>
                  </a:lnTo>
                  <a:lnTo>
                    <a:pt x="84" y="614"/>
                  </a:lnTo>
                  <a:lnTo>
                    <a:pt x="82" y="615"/>
                  </a:lnTo>
                  <a:lnTo>
                    <a:pt x="79" y="619"/>
                  </a:lnTo>
                  <a:lnTo>
                    <a:pt x="74" y="621"/>
                  </a:lnTo>
                  <a:lnTo>
                    <a:pt x="72" y="626"/>
                  </a:lnTo>
                  <a:lnTo>
                    <a:pt x="69" y="629"/>
                  </a:lnTo>
                  <a:lnTo>
                    <a:pt x="65" y="627"/>
                  </a:lnTo>
                  <a:lnTo>
                    <a:pt x="56" y="615"/>
                  </a:lnTo>
                  <a:lnTo>
                    <a:pt x="51" y="616"/>
                  </a:lnTo>
                  <a:lnTo>
                    <a:pt x="46" y="621"/>
                  </a:lnTo>
                  <a:lnTo>
                    <a:pt x="43" y="624"/>
                  </a:lnTo>
                  <a:lnTo>
                    <a:pt x="39" y="625"/>
                  </a:lnTo>
                  <a:lnTo>
                    <a:pt x="35" y="622"/>
                  </a:lnTo>
                  <a:lnTo>
                    <a:pt x="32" y="618"/>
                  </a:lnTo>
                  <a:lnTo>
                    <a:pt x="32" y="615"/>
                  </a:lnTo>
                  <a:lnTo>
                    <a:pt x="35" y="612"/>
                  </a:lnTo>
                  <a:lnTo>
                    <a:pt x="35" y="609"/>
                  </a:lnTo>
                  <a:lnTo>
                    <a:pt x="39" y="604"/>
                  </a:lnTo>
                  <a:lnTo>
                    <a:pt x="39" y="603"/>
                  </a:lnTo>
                  <a:lnTo>
                    <a:pt x="36" y="600"/>
                  </a:lnTo>
                  <a:lnTo>
                    <a:pt x="36" y="594"/>
                  </a:lnTo>
                  <a:lnTo>
                    <a:pt x="38" y="590"/>
                  </a:lnTo>
                  <a:lnTo>
                    <a:pt x="38" y="586"/>
                  </a:lnTo>
                  <a:lnTo>
                    <a:pt x="37" y="584"/>
                  </a:lnTo>
                  <a:lnTo>
                    <a:pt x="37" y="582"/>
                  </a:lnTo>
                  <a:lnTo>
                    <a:pt x="38" y="582"/>
                  </a:lnTo>
                  <a:lnTo>
                    <a:pt x="37" y="579"/>
                  </a:lnTo>
                  <a:lnTo>
                    <a:pt x="34" y="575"/>
                  </a:lnTo>
                  <a:lnTo>
                    <a:pt x="33" y="572"/>
                  </a:lnTo>
                  <a:lnTo>
                    <a:pt x="30" y="570"/>
                  </a:lnTo>
                  <a:lnTo>
                    <a:pt x="30" y="566"/>
                  </a:lnTo>
                  <a:lnTo>
                    <a:pt x="26" y="564"/>
                  </a:lnTo>
                  <a:lnTo>
                    <a:pt x="26" y="561"/>
                  </a:lnTo>
                  <a:lnTo>
                    <a:pt x="21" y="561"/>
                  </a:lnTo>
                  <a:lnTo>
                    <a:pt x="19" y="563"/>
                  </a:lnTo>
                  <a:lnTo>
                    <a:pt x="16" y="563"/>
                  </a:lnTo>
                  <a:lnTo>
                    <a:pt x="15" y="562"/>
                  </a:lnTo>
                  <a:lnTo>
                    <a:pt x="14" y="555"/>
                  </a:lnTo>
                  <a:lnTo>
                    <a:pt x="7" y="547"/>
                  </a:lnTo>
                  <a:lnTo>
                    <a:pt x="7" y="545"/>
                  </a:lnTo>
                  <a:lnTo>
                    <a:pt x="11" y="539"/>
                  </a:lnTo>
                  <a:lnTo>
                    <a:pt x="11" y="535"/>
                  </a:lnTo>
                  <a:lnTo>
                    <a:pt x="8" y="531"/>
                  </a:lnTo>
                  <a:lnTo>
                    <a:pt x="7" y="519"/>
                  </a:lnTo>
                  <a:lnTo>
                    <a:pt x="5" y="517"/>
                  </a:lnTo>
                  <a:lnTo>
                    <a:pt x="3" y="516"/>
                  </a:lnTo>
                  <a:lnTo>
                    <a:pt x="2" y="513"/>
                  </a:lnTo>
                  <a:lnTo>
                    <a:pt x="1" y="513"/>
                  </a:lnTo>
                  <a:lnTo>
                    <a:pt x="0" y="508"/>
                  </a:lnTo>
                  <a:lnTo>
                    <a:pt x="2" y="503"/>
                  </a:lnTo>
                  <a:lnTo>
                    <a:pt x="2" y="499"/>
                  </a:lnTo>
                  <a:lnTo>
                    <a:pt x="0" y="497"/>
                  </a:lnTo>
                  <a:lnTo>
                    <a:pt x="18" y="478"/>
                  </a:lnTo>
                  <a:lnTo>
                    <a:pt x="33" y="444"/>
                  </a:lnTo>
                  <a:lnTo>
                    <a:pt x="34" y="444"/>
                  </a:lnTo>
                  <a:lnTo>
                    <a:pt x="37" y="444"/>
                  </a:lnTo>
                  <a:lnTo>
                    <a:pt x="37" y="445"/>
                  </a:lnTo>
                  <a:lnTo>
                    <a:pt x="42" y="446"/>
                  </a:lnTo>
                  <a:lnTo>
                    <a:pt x="45" y="448"/>
                  </a:lnTo>
                  <a:lnTo>
                    <a:pt x="57" y="476"/>
                  </a:lnTo>
                  <a:lnTo>
                    <a:pt x="72" y="478"/>
                  </a:lnTo>
                  <a:lnTo>
                    <a:pt x="94" y="460"/>
                  </a:lnTo>
                  <a:lnTo>
                    <a:pt x="302" y="464"/>
                  </a:lnTo>
                  <a:lnTo>
                    <a:pt x="313" y="424"/>
                  </a:lnTo>
                  <a:lnTo>
                    <a:pt x="294" y="419"/>
                  </a:lnTo>
                  <a:lnTo>
                    <a:pt x="252" y="0"/>
                  </a:lnTo>
                  <a:lnTo>
                    <a:pt x="332" y="0"/>
                  </a:lnTo>
                  <a:lnTo>
                    <a:pt x="385" y="3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" name="Group 279"/>
            <p:cNvGrpSpPr>
              <a:grpSpLocks/>
            </p:cNvGrpSpPr>
            <p:nvPr/>
          </p:nvGrpSpPr>
          <p:grpSpPr bwMode="auto">
            <a:xfrm>
              <a:off x="2345466" y="1443932"/>
              <a:ext cx="871306" cy="758843"/>
              <a:chOff x="4550" y="603"/>
              <a:chExt cx="429" cy="409"/>
            </a:xfrm>
            <a:solidFill>
              <a:srgbClr val="0070C0"/>
            </a:solidFill>
          </p:grpSpPr>
          <p:sp>
            <p:nvSpPr>
              <p:cNvPr id="3341" name="Freeform 124"/>
              <p:cNvSpPr>
                <a:spLocks/>
              </p:cNvSpPr>
              <p:nvPr/>
            </p:nvSpPr>
            <p:spPr bwMode="auto">
              <a:xfrm>
                <a:off x="4657" y="603"/>
                <a:ext cx="322" cy="235"/>
              </a:xfrm>
              <a:custGeom>
                <a:avLst/>
                <a:gdLst>
                  <a:gd name="T0" fmla="*/ 33 w 548"/>
                  <a:gd name="T1" fmla="*/ 52 h 440"/>
                  <a:gd name="T2" fmla="*/ 1 w 548"/>
                  <a:gd name="T3" fmla="*/ 51 h 440"/>
                  <a:gd name="T4" fmla="*/ 15 w 548"/>
                  <a:gd name="T5" fmla="*/ 45 h 440"/>
                  <a:gd name="T6" fmla="*/ 19 w 548"/>
                  <a:gd name="T7" fmla="*/ 44 h 440"/>
                  <a:gd name="T8" fmla="*/ 21 w 548"/>
                  <a:gd name="T9" fmla="*/ 43 h 440"/>
                  <a:gd name="T10" fmla="*/ 25 w 548"/>
                  <a:gd name="T11" fmla="*/ 36 h 440"/>
                  <a:gd name="T12" fmla="*/ 24 w 548"/>
                  <a:gd name="T13" fmla="*/ 29 h 440"/>
                  <a:gd name="T14" fmla="*/ 26 w 548"/>
                  <a:gd name="T15" fmla="*/ 26 h 440"/>
                  <a:gd name="T16" fmla="*/ 28 w 548"/>
                  <a:gd name="T17" fmla="*/ 26 h 440"/>
                  <a:gd name="T18" fmla="*/ 29 w 548"/>
                  <a:gd name="T19" fmla="*/ 22 h 440"/>
                  <a:gd name="T20" fmla="*/ 46 w 548"/>
                  <a:gd name="T21" fmla="*/ 13 h 440"/>
                  <a:gd name="T22" fmla="*/ 48 w 548"/>
                  <a:gd name="T23" fmla="*/ 10 h 440"/>
                  <a:gd name="T24" fmla="*/ 54 w 548"/>
                  <a:gd name="T25" fmla="*/ 1 h 440"/>
                  <a:gd name="T26" fmla="*/ 58 w 548"/>
                  <a:gd name="T27" fmla="*/ 0 h 440"/>
                  <a:gd name="T28" fmla="*/ 64 w 548"/>
                  <a:gd name="T29" fmla="*/ 5 h 440"/>
                  <a:gd name="T30" fmla="*/ 68 w 548"/>
                  <a:gd name="T31" fmla="*/ 4 h 440"/>
                  <a:gd name="T32" fmla="*/ 75 w 548"/>
                  <a:gd name="T33" fmla="*/ 4 h 440"/>
                  <a:gd name="T34" fmla="*/ 79 w 548"/>
                  <a:gd name="T35" fmla="*/ 5 h 440"/>
                  <a:gd name="T36" fmla="*/ 83 w 548"/>
                  <a:gd name="T37" fmla="*/ 5 h 440"/>
                  <a:gd name="T38" fmla="*/ 83 w 548"/>
                  <a:gd name="T39" fmla="*/ 6 h 440"/>
                  <a:gd name="T40" fmla="*/ 84 w 548"/>
                  <a:gd name="T41" fmla="*/ 7 h 440"/>
                  <a:gd name="T42" fmla="*/ 85 w 548"/>
                  <a:gd name="T43" fmla="*/ 7 h 440"/>
                  <a:gd name="T44" fmla="*/ 85 w 548"/>
                  <a:gd name="T45" fmla="*/ 8 h 440"/>
                  <a:gd name="T46" fmla="*/ 85 w 548"/>
                  <a:gd name="T47" fmla="*/ 9 h 440"/>
                  <a:gd name="T48" fmla="*/ 85 w 548"/>
                  <a:gd name="T49" fmla="*/ 10 h 440"/>
                  <a:gd name="T50" fmla="*/ 86 w 548"/>
                  <a:gd name="T51" fmla="*/ 14 h 440"/>
                  <a:gd name="T52" fmla="*/ 86 w 548"/>
                  <a:gd name="T53" fmla="*/ 15 h 440"/>
                  <a:gd name="T54" fmla="*/ 86 w 548"/>
                  <a:gd name="T55" fmla="*/ 16 h 440"/>
                  <a:gd name="T56" fmla="*/ 86 w 548"/>
                  <a:gd name="T57" fmla="*/ 18 h 440"/>
                  <a:gd name="T58" fmla="*/ 88 w 548"/>
                  <a:gd name="T59" fmla="*/ 20 h 440"/>
                  <a:gd name="T60" fmla="*/ 90 w 548"/>
                  <a:gd name="T61" fmla="*/ 22 h 440"/>
                  <a:gd name="T62" fmla="*/ 89 w 548"/>
                  <a:gd name="T63" fmla="*/ 23 h 440"/>
                  <a:gd name="T64" fmla="*/ 89 w 548"/>
                  <a:gd name="T65" fmla="*/ 24 h 440"/>
                  <a:gd name="T66" fmla="*/ 88 w 548"/>
                  <a:gd name="T67" fmla="*/ 24 h 440"/>
                  <a:gd name="T68" fmla="*/ 84 w 548"/>
                  <a:gd name="T69" fmla="*/ 24 h 440"/>
                  <a:gd name="T70" fmla="*/ 78 w 548"/>
                  <a:gd name="T71" fmla="*/ 24 h 440"/>
                  <a:gd name="T72" fmla="*/ 77 w 548"/>
                  <a:gd name="T73" fmla="*/ 25 h 440"/>
                  <a:gd name="T74" fmla="*/ 76 w 548"/>
                  <a:gd name="T75" fmla="*/ 24 h 440"/>
                  <a:gd name="T76" fmla="*/ 76 w 548"/>
                  <a:gd name="T77" fmla="*/ 26 h 440"/>
                  <a:gd name="T78" fmla="*/ 75 w 548"/>
                  <a:gd name="T79" fmla="*/ 26 h 440"/>
                  <a:gd name="T80" fmla="*/ 71 w 548"/>
                  <a:gd name="T81" fmla="*/ 27 h 440"/>
                  <a:gd name="T82" fmla="*/ 69 w 548"/>
                  <a:gd name="T83" fmla="*/ 27 h 440"/>
                  <a:gd name="T84" fmla="*/ 69 w 548"/>
                  <a:gd name="T85" fmla="*/ 28 h 440"/>
                  <a:gd name="T86" fmla="*/ 70 w 548"/>
                  <a:gd name="T87" fmla="*/ 29 h 440"/>
                  <a:gd name="T88" fmla="*/ 69 w 548"/>
                  <a:gd name="T89" fmla="*/ 30 h 440"/>
                  <a:gd name="T90" fmla="*/ 69 w 548"/>
                  <a:gd name="T91" fmla="*/ 30 h 440"/>
                  <a:gd name="T92" fmla="*/ 70 w 548"/>
                  <a:gd name="T93" fmla="*/ 30 h 440"/>
                  <a:gd name="T94" fmla="*/ 71 w 548"/>
                  <a:gd name="T95" fmla="*/ 31 h 440"/>
                  <a:gd name="T96" fmla="*/ 71 w 548"/>
                  <a:gd name="T97" fmla="*/ 32 h 440"/>
                  <a:gd name="T98" fmla="*/ 64 w 548"/>
                  <a:gd name="T99" fmla="*/ 34 h 440"/>
                  <a:gd name="T100" fmla="*/ 61 w 548"/>
                  <a:gd name="T101" fmla="*/ 34 h 440"/>
                  <a:gd name="T102" fmla="*/ 59 w 548"/>
                  <a:gd name="T103" fmla="*/ 36 h 440"/>
                  <a:gd name="T104" fmla="*/ 59 w 548"/>
                  <a:gd name="T105" fmla="*/ 37 h 440"/>
                  <a:gd name="T106" fmla="*/ 53 w 548"/>
                  <a:gd name="T107" fmla="*/ 38 h 440"/>
                  <a:gd name="T108" fmla="*/ 51 w 548"/>
                  <a:gd name="T109" fmla="*/ 39 h 440"/>
                  <a:gd name="T110" fmla="*/ 48 w 548"/>
                  <a:gd name="T111" fmla="*/ 39 h 440"/>
                  <a:gd name="T112" fmla="*/ 48 w 548"/>
                  <a:gd name="T113" fmla="*/ 40 h 440"/>
                  <a:gd name="T114" fmla="*/ 46 w 548"/>
                  <a:gd name="T115" fmla="*/ 40 h 440"/>
                  <a:gd name="T116" fmla="*/ 44 w 548"/>
                  <a:gd name="T117" fmla="*/ 40 h 440"/>
                  <a:gd name="T118" fmla="*/ 43 w 548"/>
                  <a:gd name="T119" fmla="*/ 41 h 440"/>
                  <a:gd name="T120" fmla="*/ 41 w 548"/>
                  <a:gd name="T121" fmla="*/ 42 h 440"/>
                  <a:gd name="T122" fmla="*/ 33 w 548"/>
                  <a:gd name="T123" fmla="*/ 45 h 44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48"/>
                  <a:gd name="T187" fmla="*/ 0 h 440"/>
                  <a:gd name="T188" fmla="*/ 548 w 548"/>
                  <a:gd name="T189" fmla="*/ 440 h 44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48" h="440">
                    <a:moveTo>
                      <a:pt x="200" y="381"/>
                    </a:moveTo>
                    <a:lnTo>
                      <a:pt x="200" y="439"/>
                    </a:lnTo>
                    <a:lnTo>
                      <a:pt x="0" y="440"/>
                    </a:lnTo>
                    <a:lnTo>
                      <a:pt x="3" y="430"/>
                    </a:lnTo>
                    <a:lnTo>
                      <a:pt x="63" y="414"/>
                    </a:lnTo>
                    <a:lnTo>
                      <a:pt x="93" y="386"/>
                    </a:lnTo>
                    <a:lnTo>
                      <a:pt x="107" y="381"/>
                    </a:lnTo>
                    <a:lnTo>
                      <a:pt x="116" y="372"/>
                    </a:lnTo>
                    <a:lnTo>
                      <a:pt x="119" y="367"/>
                    </a:lnTo>
                    <a:lnTo>
                      <a:pt x="128" y="360"/>
                    </a:lnTo>
                    <a:lnTo>
                      <a:pt x="151" y="320"/>
                    </a:lnTo>
                    <a:lnTo>
                      <a:pt x="151" y="302"/>
                    </a:lnTo>
                    <a:lnTo>
                      <a:pt x="143" y="286"/>
                    </a:lnTo>
                    <a:lnTo>
                      <a:pt x="147" y="248"/>
                    </a:lnTo>
                    <a:lnTo>
                      <a:pt x="162" y="223"/>
                    </a:lnTo>
                    <a:lnTo>
                      <a:pt x="162" y="220"/>
                    </a:lnTo>
                    <a:lnTo>
                      <a:pt x="172" y="214"/>
                    </a:lnTo>
                    <a:lnTo>
                      <a:pt x="170" y="215"/>
                    </a:lnTo>
                    <a:lnTo>
                      <a:pt x="178" y="196"/>
                    </a:lnTo>
                    <a:lnTo>
                      <a:pt x="177" y="186"/>
                    </a:lnTo>
                    <a:lnTo>
                      <a:pt x="211" y="146"/>
                    </a:lnTo>
                    <a:lnTo>
                      <a:pt x="280" y="111"/>
                    </a:lnTo>
                    <a:lnTo>
                      <a:pt x="290" y="99"/>
                    </a:lnTo>
                    <a:lnTo>
                      <a:pt x="295" y="86"/>
                    </a:lnTo>
                    <a:lnTo>
                      <a:pt x="304" y="73"/>
                    </a:lnTo>
                    <a:lnTo>
                      <a:pt x="327" y="8"/>
                    </a:lnTo>
                    <a:lnTo>
                      <a:pt x="332" y="5"/>
                    </a:lnTo>
                    <a:lnTo>
                      <a:pt x="350" y="0"/>
                    </a:lnTo>
                    <a:lnTo>
                      <a:pt x="357" y="15"/>
                    </a:lnTo>
                    <a:lnTo>
                      <a:pt x="387" y="39"/>
                    </a:lnTo>
                    <a:lnTo>
                      <a:pt x="395" y="41"/>
                    </a:lnTo>
                    <a:lnTo>
                      <a:pt x="416" y="35"/>
                    </a:lnTo>
                    <a:lnTo>
                      <a:pt x="451" y="35"/>
                    </a:lnTo>
                    <a:lnTo>
                      <a:pt x="457" y="33"/>
                    </a:lnTo>
                    <a:lnTo>
                      <a:pt x="470" y="41"/>
                    </a:lnTo>
                    <a:lnTo>
                      <a:pt x="479" y="45"/>
                    </a:lnTo>
                    <a:lnTo>
                      <a:pt x="488" y="44"/>
                    </a:lnTo>
                    <a:lnTo>
                      <a:pt x="503" y="46"/>
                    </a:lnTo>
                    <a:lnTo>
                      <a:pt x="502" y="51"/>
                    </a:lnTo>
                    <a:lnTo>
                      <a:pt x="505" y="54"/>
                    </a:lnTo>
                    <a:lnTo>
                      <a:pt x="509" y="58"/>
                    </a:lnTo>
                    <a:lnTo>
                      <a:pt x="512" y="61"/>
                    </a:lnTo>
                    <a:lnTo>
                      <a:pt x="515" y="64"/>
                    </a:lnTo>
                    <a:lnTo>
                      <a:pt x="518" y="66"/>
                    </a:lnTo>
                    <a:lnTo>
                      <a:pt x="520" y="68"/>
                    </a:lnTo>
                    <a:lnTo>
                      <a:pt x="519" y="70"/>
                    </a:lnTo>
                    <a:lnTo>
                      <a:pt x="518" y="71"/>
                    </a:lnTo>
                    <a:lnTo>
                      <a:pt x="517" y="72"/>
                    </a:lnTo>
                    <a:lnTo>
                      <a:pt x="521" y="81"/>
                    </a:lnTo>
                    <a:lnTo>
                      <a:pt x="519" y="86"/>
                    </a:lnTo>
                    <a:lnTo>
                      <a:pt x="523" y="102"/>
                    </a:lnTo>
                    <a:lnTo>
                      <a:pt x="522" y="117"/>
                    </a:lnTo>
                    <a:lnTo>
                      <a:pt x="520" y="120"/>
                    </a:lnTo>
                    <a:lnTo>
                      <a:pt x="525" y="126"/>
                    </a:lnTo>
                    <a:lnTo>
                      <a:pt x="526" y="134"/>
                    </a:lnTo>
                    <a:lnTo>
                      <a:pt x="525" y="138"/>
                    </a:lnTo>
                    <a:lnTo>
                      <a:pt x="524" y="143"/>
                    </a:lnTo>
                    <a:lnTo>
                      <a:pt x="528" y="155"/>
                    </a:lnTo>
                    <a:lnTo>
                      <a:pt x="528" y="160"/>
                    </a:lnTo>
                    <a:lnTo>
                      <a:pt x="533" y="171"/>
                    </a:lnTo>
                    <a:lnTo>
                      <a:pt x="548" y="184"/>
                    </a:lnTo>
                    <a:lnTo>
                      <a:pt x="548" y="185"/>
                    </a:lnTo>
                    <a:lnTo>
                      <a:pt x="544" y="186"/>
                    </a:lnTo>
                    <a:lnTo>
                      <a:pt x="539" y="192"/>
                    </a:lnTo>
                    <a:lnTo>
                      <a:pt x="539" y="198"/>
                    </a:lnTo>
                    <a:lnTo>
                      <a:pt x="541" y="202"/>
                    </a:lnTo>
                    <a:lnTo>
                      <a:pt x="541" y="205"/>
                    </a:lnTo>
                    <a:lnTo>
                      <a:pt x="538" y="205"/>
                    </a:lnTo>
                    <a:lnTo>
                      <a:pt x="533" y="202"/>
                    </a:lnTo>
                    <a:lnTo>
                      <a:pt x="514" y="200"/>
                    </a:lnTo>
                    <a:lnTo>
                      <a:pt x="509" y="202"/>
                    </a:lnTo>
                    <a:lnTo>
                      <a:pt x="475" y="205"/>
                    </a:lnTo>
                    <a:lnTo>
                      <a:pt x="472" y="207"/>
                    </a:lnTo>
                    <a:lnTo>
                      <a:pt x="469" y="208"/>
                    </a:lnTo>
                    <a:lnTo>
                      <a:pt x="463" y="206"/>
                    </a:lnTo>
                    <a:lnTo>
                      <a:pt x="461" y="206"/>
                    </a:lnTo>
                    <a:lnTo>
                      <a:pt x="459" y="210"/>
                    </a:lnTo>
                    <a:lnTo>
                      <a:pt x="460" y="215"/>
                    </a:lnTo>
                    <a:lnTo>
                      <a:pt x="459" y="220"/>
                    </a:lnTo>
                    <a:lnTo>
                      <a:pt x="458" y="222"/>
                    </a:lnTo>
                    <a:lnTo>
                      <a:pt x="433" y="229"/>
                    </a:lnTo>
                    <a:lnTo>
                      <a:pt x="428" y="227"/>
                    </a:lnTo>
                    <a:lnTo>
                      <a:pt x="423" y="227"/>
                    </a:lnTo>
                    <a:lnTo>
                      <a:pt x="420" y="230"/>
                    </a:lnTo>
                    <a:lnTo>
                      <a:pt x="418" y="234"/>
                    </a:lnTo>
                    <a:lnTo>
                      <a:pt x="418" y="241"/>
                    </a:lnTo>
                    <a:lnTo>
                      <a:pt x="419" y="243"/>
                    </a:lnTo>
                    <a:lnTo>
                      <a:pt x="423" y="243"/>
                    </a:lnTo>
                    <a:lnTo>
                      <a:pt x="424" y="245"/>
                    </a:lnTo>
                    <a:lnTo>
                      <a:pt x="420" y="249"/>
                    </a:lnTo>
                    <a:lnTo>
                      <a:pt x="419" y="257"/>
                    </a:lnTo>
                    <a:lnTo>
                      <a:pt x="421" y="258"/>
                    </a:lnTo>
                    <a:lnTo>
                      <a:pt x="422" y="256"/>
                    </a:lnTo>
                    <a:lnTo>
                      <a:pt x="424" y="257"/>
                    </a:lnTo>
                    <a:lnTo>
                      <a:pt x="425" y="259"/>
                    </a:lnTo>
                    <a:lnTo>
                      <a:pt x="429" y="262"/>
                    </a:lnTo>
                    <a:lnTo>
                      <a:pt x="430" y="264"/>
                    </a:lnTo>
                    <a:lnTo>
                      <a:pt x="428" y="267"/>
                    </a:lnTo>
                    <a:lnTo>
                      <a:pt x="410" y="272"/>
                    </a:lnTo>
                    <a:lnTo>
                      <a:pt x="389" y="285"/>
                    </a:lnTo>
                    <a:lnTo>
                      <a:pt x="384" y="285"/>
                    </a:lnTo>
                    <a:lnTo>
                      <a:pt x="372" y="290"/>
                    </a:lnTo>
                    <a:lnTo>
                      <a:pt x="364" y="296"/>
                    </a:lnTo>
                    <a:lnTo>
                      <a:pt x="361" y="303"/>
                    </a:lnTo>
                    <a:lnTo>
                      <a:pt x="361" y="306"/>
                    </a:lnTo>
                    <a:lnTo>
                      <a:pt x="358" y="310"/>
                    </a:lnTo>
                    <a:lnTo>
                      <a:pt x="348" y="318"/>
                    </a:lnTo>
                    <a:lnTo>
                      <a:pt x="321" y="326"/>
                    </a:lnTo>
                    <a:lnTo>
                      <a:pt x="313" y="326"/>
                    </a:lnTo>
                    <a:lnTo>
                      <a:pt x="309" y="328"/>
                    </a:lnTo>
                    <a:lnTo>
                      <a:pt x="295" y="327"/>
                    </a:lnTo>
                    <a:lnTo>
                      <a:pt x="294" y="330"/>
                    </a:lnTo>
                    <a:lnTo>
                      <a:pt x="294" y="338"/>
                    </a:lnTo>
                    <a:lnTo>
                      <a:pt x="292" y="339"/>
                    </a:lnTo>
                    <a:lnTo>
                      <a:pt x="284" y="339"/>
                    </a:lnTo>
                    <a:lnTo>
                      <a:pt x="280" y="337"/>
                    </a:lnTo>
                    <a:lnTo>
                      <a:pt x="275" y="338"/>
                    </a:lnTo>
                    <a:lnTo>
                      <a:pt x="269" y="337"/>
                    </a:lnTo>
                    <a:lnTo>
                      <a:pt x="265" y="340"/>
                    </a:lnTo>
                    <a:lnTo>
                      <a:pt x="261" y="345"/>
                    </a:lnTo>
                    <a:lnTo>
                      <a:pt x="255" y="348"/>
                    </a:lnTo>
                    <a:lnTo>
                      <a:pt x="248" y="352"/>
                    </a:lnTo>
                    <a:lnTo>
                      <a:pt x="238" y="353"/>
                    </a:lnTo>
                    <a:lnTo>
                      <a:pt x="200" y="381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2" name="Freeform 212"/>
              <p:cNvSpPr>
                <a:spLocks/>
              </p:cNvSpPr>
              <p:nvPr/>
            </p:nvSpPr>
            <p:spPr bwMode="auto">
              <a:xfrm>
                <a:off x="4550" y="832"/>
                <a:ext cx="226" cy="180"/>
              </a:xfrm>
              <a:custGeom>
                <a:avLst/>
                <a:gdLst>
                  <a:gd name="T0" fmla="*/ 27 w 383"/>
                  <a:gd name="T1" fmla="*/ 38 h 334"/>
                  <a:gd name="T2" fmla="*/ 2 w 383"/>
                  <a:gd name="T3" fmla="*/ 38 h 334"/>
                  <a:gd name="T4" fmla="*/ 2 w 383"/>
                  <a:gd name="T5" fmla="*/ 39 h 334"/>
                  <a:gd name="T6" fmla="*/ 1 w 383"/>
                  <a:gd name="T7" fmla="*/ 40 h 334"/>
                  <a:gd name="T8" fmla="*/ 1 w 383"/>
                  <a:gd name="T9" fmla="*/ 40 h 334"/>
                  <a:gd name="T10" fmla="*/ 0 w 383"/>
                  <a:gd name="T11" fmla="*/ 40 h 334"/>
                  <a:gd name="T12" fmla="*/ 1 w 383"/>
                  <a:gd name="T13" fmla="*/ 36 h 334"/>
                  <a:gd name="T14" fmla="*/ 2 w 383"/>
                  <a:gd name="T15" fmla="*/ 33 h 334"/>
                  <a:gd name="T16" fmla="*/ 4 w 383"/>
                  <a:gd name="T17" fmla="*/ 33 h 334"/>
                  <a:gd name="T18" fmla="*/ 6 w 383"/>
                  <a:gd name="T19" fmla="*/ 29 h 334"/>
                  <a:gd name="T20" fmla="*/ 6 w 383"/>
                  <a:gd name="T21" fmla="*/ 28 h 334"/>
                  <a:gd name="T22" fmla="*/ 9 w 383"/>
                  <a:gd name="T23" fmla="*/ 24 h 334"/>
                  <a:gd name="T24" fmla="*/ 10 w 383"/>
                  <a:gd name="T25" fmla="*/ 23 h 334"/>
                  <a:gd name="T26" fmla="*/ 17 w 383"/>
                  <a:gd name="T27" fmla="*/ 17 h 334"/>
                  <a:gd name="T28" fmla="*/ 19 w 383"/>
                  <a:gd name="T29" fmla="*/ 10 h 334"/>
                  <a:gd name="T30" fmla="*/ 21 w 383"/>
                  <a:gd name="T31" fmla="*/ 8 h 334"/>
                  <a:gd name="T32" fmla="*/ 27 w 383"/>
                  <a:gd name="T33" fmla="*/ 5 h 334"/>
                  <a:gd name="T34" fmla="*/ 30 w 383"/>
                  <a:gd name="T35" fmla="*/ 1 h 334"/>
                  <a:gd name="T36" fmla="*/ 31 w 383"/>
                  <a:gd name="T37" fmla="*/ 0 h 334"/>
                  <a:gd name="T38" fmla="*/ 64 w 383"/>
                  <a:gd name="T39" fmla="*/ 0 h 334"/>
                  <a:gd name="T40" fmla="*/ 64 w 383"/>
                  <a:gd name="T41" fmla="*/ 10 h 334"/>
                  <a:gd name="T42" fmla="*/ 40 w 383"/>
                  <a:gd name="T43" fmla="*/ 10 h 334"/>
                  <a:gd name="T44" fmla="*/ 40 w 383"/>
                  <a:gd name="T45" fmla="*/ 25 h 334"/>
                  <a:gd name="T46" fmla="*/ 32 w 383"/>
                  <a:gd name="T47" fmla="*/ 27 h 334"/>
                  <a:gd name="T48" fmla="*/ 31 w 383"/>
                  <a:gd name="T49" fmla="*/ 27 h 334"/>
                  <a:gd name="T50" fmla="*/ 30 w 383"/>
                  <a:gd name="T51" fmla="*/ 29 h 334"/>
                  <a:gd name="T52" fmla="*/ 31 w 383"/>
                  <a:gd name="T53" fmla="*/ 38 h 334"/>
                  <a:gd name="T54" fmla="*/ 27 w 383"/>
                  <a:gd name="T55" fmla="*/ 38 h 3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83"/>
                  <a:gd name="T85" fmla="*/ 0 h 334"/>
                  <a:gd name="T86" fmla="*/ 383 w 383"/>
                  <a:gd name="T87" fmla="*/ 334 h 33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83" h="334">
                    <a:moveTo>
                      <a:pt x="164" y="315"/>
                    </a:moveTo>
                    <a:lnTo>
                      <a:pt x="13" y="315"/>
                    </a:lnTo>
                    <a:lnTo>
                      <a:pt x="11" y="321"/>
                    </a:lnTo>
                    <a:lnTo>
                      <a:pt x="1" y="331"/>
                    </a:lnTo>
                    <a:lnTo>
                      <a:pt x="3" y="330"/>
                    </a:lnTo>
                    <a:lnTo>
                      <a:pt x="0" y="334"/>
                    </a:lnTo>
                    <a:lnTo>
                      <a:pt x="3" y="296"/>
                    </a:lnTo>
                    <a:lnTo>
                      <a:pt x="12" y="274"/>
                    </a:lnTo>
                    <a:lnTo>
                      <a:pt x="23" y="269"/>
                    </a:lnTo>
                    <a:lnTo>
                      <a:pt x="40" y="236"/>
                    </a:lnTo>
                    <a:lnTo>
                      <a:pt x="38" y="229"/>
                    </a:lnTo>
                    <a:lnTo>
                      <a:pt x="57" y="199"/>
                    </a:lnTo>
                    <a:lnTo>
                      <a:pt x="60" y="190"/>
                    </a:lnTo>
                    <a:lnTo>
                      <a:pt x="100" y="135"/>
                    </a:lnTo>
                    <a:lnTo>
                      <a:pt x="116" y="83"/>
                    </a:lnTo>
                    <a:lnTo>
                      <a:pt x="128" y="66"/>
                    </a:lnTo>
                    <a:lnTo>
                      <a:pt x="159" y="46"/>
                    </a:lnTo>
                    <a:lnTo>
                      <a:pt x="178" y="4"/>
                    </a:lnTo>
                    <a:lnTo>
                      <a:pt x="183" y="0"/>
                    </a:lnTo>
                    <a:lnTo>
                      <a:pt x="383" y="0"/>
                    </a:lnTo>
                    <a:lnTo>
                      <a:pt x="383" y="84"/>
                    </a:lnTo>
                    <a:lnTo>
                      <a:pt x="235" y="84"/>
                    </a:lnTo>
                    <a:lnTo>
                      <a:pt x="235" y="211"/>
                    </a:lnTo>
                    <a:lnTo>
                      <a:pt x="191" y="223"/>
                    </a:lnTo>
                    <a:lnTo>
                      <a:pt x="187" y="226"/>
                    </a:lnTo>
                    <a:lnTo>
                      <a:pt x="179" y="239"/>
                    </a:lnTo>
                    <a:lnTo>
                      <a:pt x="185" y="315"/>
                    </a:lnTo>
                    <a:lnTo>
                      <a:pt x="164" y="315"/>
                    </a:lnTo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304" name="Freeform 213"/>
            <p:cNvSpPr>
              <a:spLocks/>
            </p:cNvSpPr>
            <p:nvPr/>
          </p:nvSpPr>
          <p:spPr bwMode="auto">
            <a:xfrm>
              <a:off x="4354144" y="4009897"/>
              <a:ext cx="521971" cy="443432"/>
            </a:xfrm>
            <a:custGeom>
              <a:avLst/>
              <a:gdLst>
                <a:gd name="T0" fmla="*/ 0 w 434"/>
                <a:gd name="T1" fmla="*/ 41 h 447"/>
                <a:gd name="T2" fmla="*/ 0 w 434"/>
                <a:gd name="T3" fmla="*/ 24 h 447"/>
                <a:gd name="T4" fmla="*/ 8 w 434"/>
                <a:gd name="T5" fmla="*/ 24 h 447"/>
                <a:gd name="T6" fmla="*/ 8 w 434"/>
                <a:gd name="T7" fmla="*/ 4 h 447"/>
                <a:gd name="T8" fmla="*/ 9 w 434"/>
                <a:gd name="T9" fmla="*/ 3 h 447"/>
                <a:gd name="T10" fmla="*/ 25 w 434"/>
                <a:gd name="T11" fmla="*/ 2 h 447"/>
                <a:gd name="T12" fmla="*/ 27 w 434"/>
                <a:gd name="T13" fmla="*/ 2 h 447"/>
                <a:gd name="T14" fmla="*/ 28 w 434"/>
                <a:gd name="T15" fmla="*/ 3 h 447"/>
                <a:gd name="T16" fmla="*/ 28 w 434"/>
                <a:gd name="T17" fmla="*/ 5 h 447"/>
                <a:gd name="T18" fmla="*/ 31 w 434"/>
                <a:gd name="T19" fmla="*/ 3 h 447"/>
                <a:gd name="T20" fmla="*/ 33 w 434"/>
                <a:gd name="T21" fmla="*/ 2 h 447"/>
                <a:gd name="T22" fmla="*/ 37 w 434"/>
                <a:gd name="T23" fmla="*/ 2 h 447"/>
                <a:gd name="T24" fmla="*/ 37 w 434"/>
                <a:gd name="T25" fmla="*/ 1 h 447"/>
                <a:gd name="T26" fmla="*/ 38 w 434"/>
                <a:gd name="T27" fmla="*/ 1 h 447"/>
                <a:gd name="T28" fmla="*/ 40 w 434"/>
                <a:gd name="T29" fmla="*/ 0 h 447"/>
                <a:gd name="T30" fmla="*/ 41 w 434"/>
                <a:gd name="T31" fmla="*/ 1 h 447"/>
                <a:gd name="T32" fmla="*/ 41 w 434"/>
                <a:gd name="T33" fmla="*/ 1 h 447"/>
                <a:gd name="T34" fmla="*/ 43 w 434"/>
                <a:gd name="T35" fmla="*/ 4 h 447"/>
                <a:gd name="T36" fmla="*/ 45 w 434"/>
                <a:gd name="T37" fmla="*/ 5 h 447"/>
                <a:gd name="T38" fmla="*/ 46 w 434"/>
                <a:gd name="T39" fmla="*/ 7 h 447"/>
                <a:gd name="T40" fmla="*/ 52 w 434"/>
                <a:gd name="T41" fmla="*/ 12 h 447"/>
                <a:gd name="T42" fmla="*/ 54 w 434"/>
                <a:gd name="T43" fmla="*/ 13 h 447"/>
                <a:gd name="T44" fmla="*/ 56 w 434"/>
                <a:gd name="T45" fmla="*/ 14 h 447"/>
                <a:gd name="T46" fmla="*/ 58 w 434"/>
                <a:gd name="T47" fmla="*/ 15 h 447"/>
                <a:gd name="T48" fmla="*/ 59 w 434"/>
                <a:gd name="T49" fmla="*/ 16 h 447"/>
                <a:gd name="T50" fmla="*/ 61 w 434"/>
                <a:gd name="T51" fmla="*/ 17 h 447"/>
                <a:gd name="T52" fmla="*/ 62 w 434"/>
                <a:gd name="T53" fmla="*/ 20 h 447"/>
                <a:gd name="T54" fmla="*/ 62 w 434"/>
                <a:gd name="T55" fmla="*/ 22 h 447"/>
                <a:gd name="T56" fmla="*/ 64 w 434"/>
                <a:gd name="T57" fmla="*/ 22 h 447"/>
                <a:gd name="T58" fmla="*/ 65 w 434"/>
                <a:gd name="T59" fmla="*/ 23 h 447"/>
                <a:gd name="T60" fmla="*/ 68 w 434"/>
                <a:gd name="T61" fmla="*/ 23 h 447"/>
                <a:gd name="T62" fmla="*/ 73 w 434"/>
                <a:gd name="T63" fmla="*/ 25 h 447"/>
                <a:gd name="T64" fmla="*/ 73 w 434"/>
                <a:gd name="T65" fmla="*/ 26 h 447"/>
                <a:gd name="T66" fmla="*/ 64 w 434"/>
                <a:gd name="T67" fmla="*/ 28 h 447"/>
                <a:gd name="T68" fmla="*/ 47 w 434"/>
                <a:gd name="T69" fmla="*/ 41 h 447"/>
                <a:gd name="T70" fmla="*/ 44 w 434"/>
                <a:gd name="T71" fmla="*/ 44 h 447"/>
                <a:gd name="T72" fmla="*/ 43 w 434"/>
                <a:gd name="T73" fmla="*/ 45 h 447"/>
                <a:gd name="T74" fmla="*/ 37 w 434"/>
                <a:gd name="T75" fmla="*/ 46 h 447"/>
                <a:gd name="T76" fmla="*/ 36 w 434"/>
                <a:gd name="T77" fmla="*/ 46 h 447"/>
                <a:gd name="T78" fmla="*/ 31 w 434"/>
                <a:gd name="T79" fmla="*/ 44 h 447"/>
                <a:gd name="T80" fmla="*/ 28 w 434"/>
                <a:gd name="T81" fmla="*/ 44 h 447"/>
                <a:gd name="T82" fmla="*/ 27 w 434"/>
                <a:gd name="T83" fmla="*/ 44 h 447"/>
                <a:gd name="T84" fmla="*/ 23 w 434"/>
                <a:gd name="T85" fmla="*/ 48 h 447"/>
                <a:gd name="T86" fmla="*/ 23 w 434"/>
                <a:gd name="T87" fmla="*/ 48 h 447"/>
                <a:gd name="T88" fmla="*/ 22 w 434"/>
                <a:gd name="T89" fmla="*/ 49 h 447"/>
                <a:gd name="T90" fmla="*/ 20 w 434"/>
                <a:gd name="T91" fmla="*/ 50 h 447"/>
                <a:gd name="T92" fmla="*/ 18 w 434"/>
                <a:gd name="T93" fmla="*/ 52 h 447"/>
                <a:gd name="T94" fmla="*/ 13 w 434"/>
                <a:gd name="T95" fmla="*/ 53 h 447"/>
                <a:gd name="T96" fmla="*/ 7 w 434"/>
                <a:gd name="T97" fmla="*/ 52 h 447"/>
                <a:gd name="T98" fmla="*/ 6 w 434"/>
                <a:gd name="T99" fmla="*/ 51 h 447"/>
                <a:gd name="T100" fmla="*/ 8 w 434"/>
                <a:gd name="T101" fmla="*/ 48 h 447"/>
                <a:gd name="T102" fmla="*/ 7 w 434"/>
                <a:gd name="T103" fmla="*/ 46 h 447"/>
                <a:gd name="T104" fmla="*/ 6 w 434"/>
                <a:gd name="T105" fmla="*/ 44 h 447"/>
                <a:gd name="T106" fmla="*/ 4 w 434"/>
                <a:gd name="T107" fmla="*/ 43 h 447"/>
                <a:gd name="T108" fmla="*/ 4 w 434"/>
                <a:gd name="T109" fmla="*/ 43 h 447"/>
                <a:gd name="T110" fmla="*/ 2 w 434"/>
                <a:gd name="T111" fmla="*/ 42 h 447"/>
                <a:gd name="T112" fmla="*/ 2 w 434"/>
                <a:gd name="T113" fmla="*/ 41 h 447"/>
                <a:gd name="T114" fmla="*/ 1 w 434"/>
                <a:gd name="T115" fmla="*/ 41 h 447"/>
                <a:gd name="T116" fmla="*/ 0 w 434"/>
                <a:gd name="T117" fmla="*/ 41 h 44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4"/>
                <a:gd name="T178" fmla="*/ 0 h 447"/>
                <a:gd name="T179" fmla="*/ 434 w 434"/>
                <a:gd name="T180" fmla="*/ 447 h 44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4" h="447">
                  <a:moveTo>
                    <a:pt x="0" y="342"/>
                  </a:moveTo>
                  <a:lnTo>
                    <a:pt x="0" y="205"/>
                  </a:lnTo>
                  <a:lnTo>
                    <a:pt x="47" y="205"/>
                  </a:lnTo>
                  <a:lnTo>
                    <a:pt x="47" y="34"/>
                  </a:lnTo>
                  <a:lnTo>
                    <a:pt x="51" y="30"/>
                  </a:lnTo>
                  <a:lnTo>
                    <a:pt x="152" y="17"/>
                  </a:lnTo>
                  <a:lnTo>
                    <a:pt x="161" y="20"/>
                  </a:lnTo>
                  <a:lnTo>
                    <a:pt x="166" y="29"/>
                  </a:lnTo>
                  <a:lnTo>
                    <a:pt x="168" y="42"/>
                  </a:lnTo>
                  <a:lnTo>
                    <a:pt x="182" y="26"/>
                  </a:lnTo>
                  <a:lnTo>
                    <a:pt x="195" y="17"/>
                  </a:lnTo>
                  <a:lnTo>
                    <a:pt x="218" y="11"/>
                  </a:lnTo>
                  <a:lnTo>
                    <a:pt x="222" y="5"/>
                  </a:lnTo>
                  <a:lnTo>
                    <a:pt x="228" y="1"/>
                  </a:lnTo>
                  <a:lnTo>
                    <a:pt x="238" y="0"/>
                  </a:lnTo>
                  <a:lnTo>
                    <a:pt x="243" y="2"/>
                  </a:lnTo>
                  <a:lnTo>
                    <a:pt x="244" y="10"/>
                  </a:lnTo>
                  <a:lnTo>
                    <a:pt x="256" y="33"/>
                  </a:lnTo>
                  <a:lnTo>
                    <a:pt x="265" y="42"/>
                  </a:lnTo>
                  <a:lnTo>
                    <a:pt x="273" y="62"/>
                  </a:lnTo>
                  <a:lnTo>
                    <a:pt x="308" y="105"/>
                  </a:lnTo>
                  <a:lnTo>
                    <a:pt x="322" y="108"/>
                  </a:lnTo>
                  <a:lnTo>
                    <a:pt x="333" y="115"/>
                  </a:lnTo>
                  <a:lnTo>
                    <a:pt x="341" y="126"/>
                  </a:lnTo>
                  <a:lnTo>
                    <a:pt x="351" y="130"/>
                  </a:lnTo>
                  <a:lnTo>
                    <a:pt x="359" y="139"/>
                  </a:lnTo>
                  <a:lnTo>
                    <a:pt x="363" y="173"/>
                  </a:lnTo>
                  <a:lnTo>
                    <a:pt x="369" y="183"/>
                  </a:lnTo>
                  <a:lnTo>
                    <a:pt x="376" y="190"/>
                  </a:lnTo>
                  <a:lnTo>
                    <a:pt x="383" y="194"/>
                  </a:lnTo>
                  <a:lnTo>
                    <a:pt x="405" y="196"/>
                  </a:lnTo>
                  <a:lnTo>
                    <a:pt x="434" y="212"/>
                  </a:lnTo>
                  <a:lnTo>
                    <a:pt x="432" y="215"/>
                  </a:lnTo>
                  <a:lnTo>
                    <a:pt x="379" y="242"/>
                  </a:lnTo>
                  <a:lnTo>
                    <a:pt x="275" y="348"/>
                  </a:lnTo>
                  <a:lnTo>
                    <a:pt x="262" y="376"/>
                  </a:lnTo>
                  <a:lnTo>
                    <a:pt x="258" y="381"/>
                  </a:lnTo>
                  <a:lnTo>
                    <a:pt x="222" y="390"/>
                  </a:lnTo>
                  <a:lnTo>
                    <a:pt x="210" y="389"/>
                  </a:lnTo>
                  <a:lnTo>
                    <a:pt x="180" y="375"/>
                  </a:lnTo>
                  <a:lnTo>
                    <a:pt x="167" y="373"/>
                  </a:lnTo>
                  <a:lnTo>
                    <a:pt x="158" y="377"/>
                  </a:lnTo>
                  <a:lnTo>
                    <a:pt x="136" y="400"/>
                  </a:lnTo>
                  <a:lnTo>
                    <a:pt x="134" y="406"/>
                  </a:lnTo>
                  <a:lnTo>
                    <a:pt x="127" y="415"/>
                  </a:lnTo>
                  <a:lnTo>
                    <a:pt x="117" y="421"/>
                  </a:lnTo>
                  <a:lnTo>
                    <a:pt x="104" y="440"/>
                  </a:lnTo>
                  <a:lnTo>
                    <a:pt x="76" y="447"/>
                  </a:lnTo>
                  <a:lnTo>
                    <a:pt x="39" y="442"/>
                  </a:lnTo>
                  <a:lnTo>
                    <a:pt x="36" y="435"/>
                  </a:lnTo>
                  <a:lnTo>
                    <a:pt x="45" y="406"/>
                  </a:lnTo>
                  <a:lnTo>
                    <a:pt x="43" y="386"/>
                  </a:lnTo>
                  <a:lnTo>
                    <a:pt x="36" y="377"/>
                  </a:lnTo>
                  <a:lnTo>
                    <a:pt x="26" y="367"/>
                  </a:lnTo>
                  <a:lnTo>
                    <a:pt x="22" y="361"/>
                  </a:lnTo>
                  <a:lnTo>
                    <a:pt x="12" y="351"/>
                  </a:lnTo>
                  <a:lnTo>
                    <a:pt x="10" y="347"/>
                  </a:lnTo>
                  <a:lnTo>
                    <a:pt x="4" y="342"/>
                  </a:lnTo>
                  <a:lnTo>
                    <a:pt x="0" y="34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5" name="Freeform 214"/>
            <p:cNvSpPr>
              <a:spLocks/>
            </p:cNvSpPr>
            <p:nvPr/>
          </p:nvSpPr>
          <p:spPr bwMode="auto">
            <a:xfrm>
              <a:off x="4354144" y="4009897"/>
              <a:ext cx="521971" cy="443432"/>
            </a:xfrm>
            <a:custGeom>
              <a:avLst/>
              <a:gdLst>
                <a:gd name="T0" fmla="*/ 0 w 434"/>
                <a:gd name="T1" fmla="*/ 41 h 447"/>
                <a:gd name="T2" fmla="*/ 0 w 434"/>
                <a:gd name="T3" fmla="*/ 24 h 447"/>
                <a:gd name="T4" fmla="*/ 8 w 434"/>
                <a:gd name="T5" fmla="*/ 24 h 447"/>
                <a:gd name="T6" fmla="*/ 8 w 434"/>
                <a:gd name="T7" fmla="*/ 4 h 447"/>
                <a:gd name="T8" fmla="*/ 9 w 434"/>
                <a:gd name="T9" fmla="*/ 3 h 447"/>
                <a:gd name="T10" fmla="*/ 25 w 434"/>
                <a:gd name="T11" fmla="*/ 2 h 447"/>
                <a:gd name="T12" fmla="*/ 27 w 434"/>
                <a:gd name="T13" fmla="*/ 2 h 447"/>
                <a:gd name="T14" fmla="*/ 28 w 434"/>
                <a:gd name="T15" fmla="*/ 3 h 447"/>
                <a:gd name="T16" fmla="*/ 28 w 434"/>
                <a:gd name="T17" fmla="*/ 5 h 447"/>
                <a:gd name="T18" fmla="*/ 31 w 434"/>
                <a:gd name="T19" fmla="*/ 3 h 447"/>
                <a:gd name="T20" fmla="*/ 33 w 434"/>
                <a:gd name="T21" fmla="*/ 2 h 447"/>
                <a:gd name="T22" fmla="*/ 37 w 434"/>
                <a:gd name="T23" fmla="*/ 2 h 447"/>
                <a:gd name="T24" fmla="*/ 37 w 434"/>
                <a:gd name="T25" fmla="*/ 1 h 447"/>
                <a:gd name="T26" fmla="*/ 38 w 434"/>
                <a:gd name="T27" fmla="*/ 1 h 447"/>
                <a:gd name="T28" fmla="*/ 40 w 434"/>
                <a:gd name="T29" fmla="*/ 0 h 447"/>
                <a:gd name="T30" fmla="*/ 41 w 434"/>
                <a:gd name="T31" fmla="*/ 1 h 447"/>
                <a:gd name="T32" fmla="*/ 41 w 434"/>
                <a:gd name="T33" fmla="*/ 1 h 447"/>
                <a:gd name="T34" fmla="*/ 43 w 434"/>
                <a:gd name="T35" fmla="*/ 4 h 447"/>
                <a:gd name="T36" fmla="*/ 45 w 434"/>
                <a:gd name="T37" fmla="*/ 5 h 447"/>
                <a:gd name="T38" fmla="*/ 46 w 434"/>
                <a:gd name="T39" fmla="*/ 7 h 447"/>
                <a:gd name="T40" fmla="*/ 52 w 434"/>
                <a:gd name="T41" fmla="*/ 12 h 447"/>
                <a:gd name="T42" fmla="*/ 54 w 434"/>
                <a:gd name="T43" fmla="*/ 13 h 447"/>
                <a:gd name="T44" fmla="*/ 56 w 434"/>
                <a:gd name="T45" fmla="*/ 14 h 447"/>
                <a:gd name="T46" fmla="*/ 58 w 434"/>
                <a:gd name="T47" fmla="*/ 15 h 447"/>
                <a:gd name="T48" fmla="*/ 59 w 434"/>
                <a:gd name="T49" fmla="*/ 16 h 447"/>
                <a:gd name="T50" fmla="*/ 61 w 434"/>
                <a:gd name="T51" fmla="*/ 17 h 447"/>
                <a:gd name="T52" fmla="*/ 62 w 434"/>
                <a:gd name="T53" fmla="*/ 20 h 447"/>
                <a:gd name="T54" fmla="*/ 62 w 434"/>
                <a:gd name="T55" fmla="*/ 22 h 447"/>
                <a:gd name="T56" fmla="*/ 64 w 434"/>
                <a:gd name="T57" fmla="*/ 22 h 447"/>
                <a:gd name="T58" fmla="*/ 65 w 434"/>
                <a:gd name="T59" fmla="*/ 23 h 447"/>
                <a:gd name="T60" fmla="*/ 68 w 434"/>
                <a:gd name="T61" fmla="*/ 23 h 447"/>
                <a:gd name="T62" fmla="*/ 73 w 434"/>
                <a:gd name="T63" fmla="*/ 25 h 447"/>
                <a:gd name="T64" fmla="*/ 73 w 434"/>
                <a:gd name="T65" fmla="*/ 26 h 447"/>
                <a:gd name="T66" fmla="*/ 64 w 434"/>
                <a:gd name="T67" fmla="*/ 28 h 447"/>
                <a:gd name="T68" fmla="*/ 47 w 434"/>
                <a:gd name="T69" fmla="*/ 41 h 447"/>
                <a:gd name="T70" fmla="*/ 44 w 434"/>
                <a:gd name="T71" fmla="*/ 44 h 447"/>
                <a:gd name="T72" fmla="*/ 43 w 434"/>
                <a:gd name="T73" fmla="*/ 45 h 447"/>
                <a:gd name="T74" fmla="*/ 37 w 434"/>
                <a:gd name="T75" fmla="*/ 46 h 447"/>
                <a:gd name="T76" fmla="*/ 36 w 434"/>
                <a:gd name="T77" fmla="*/ 46 h 447"/>
                <a:gd name="T78" fmla="*/ 31 w 434"/>
                <a:gd name="T79" fmla="*/ 44 h 447"/>
                <a:gd name="T80" fmla="*/ 28 w 434"/>
                <a:gd name="T81" fmla="*/ 44 h 447"/>
                <a:gd name="T82" fmla="*/ 27 w 434"/>
                <a:gd name="T83" fmla="*/ 44 h 447"/>
                <a:gd name="T84" fmla="*/ 23 w 434"/>
                <a:gd name="T85" fmla="*/ 48 h 447"/>
                <a:gd name="T86" fmla="*/ 23 w 434"/>
                <a:gd name="T87" fmla="*/ 48 h 447"/>
                <a:gd name="T88" fmla="*/ 22 w 434"/>
                <a:gd name="T89" fmla="*/ 49 h 447"/>
                <a:gd name="T90" fmla="*/ 20 w 434"/>
                <a:gd name="T91" fmla="*/ 50 h 447"/>
                <a:gd name="T92" fmla="*/ 18 w 434"/>
                <a:gd name="T93" fmla="*/ 52 h 447"/>
                <a:gd name="T94" fmla="*/ 13 w 434"/>
                <a:gd name="T95" fmla="*/ 53 h 447"/>
                <a:gd name="T96" fmla="*/ 7 w 434"/>
                <a:gd name="T97" fmla="*/ 52 h 447"/>
                <a:gd name="T98" fmla="*/ 6 w 434"/>
                <a:gd name="T99" fmla="*/ 51 h 447"/>
                <a:gd name="T100" fmla="*/ 8 w 434"/>
                <a:gd name="T101" fmla="*/ 48 h 447"/>
                <a:gd name="T102" fmla="*/ 7 w 434"/>
                <a:gd name="T103" fmla="*/ 46 h 447"/>
                <a:gd name="T104" fmla="*/ 6 w 434"/>
                <a:gd name="T105" fmla="*/ 44 h 447"/>
                <a:gd name="T106" fmla="*/ 4 w 434"/>
                <a:gd name="T107" fmla="*/ 43 h 447"/>
                <a:gd name="T108" fmla="*/ 4 w 434"/>
                <a:gd name="T109" fmla="*/ 43 h 447"/>
                <a:gd name="T110" fmla="*/ 2 w 434"/>
                <a:gd name="T111" fmla="*/ 42 h 447"/>
                <a:gd name="T112" fmla="*/ 2 w 434"/>
                <a:gd name="T113" fmla="*/ 41 h 447"/>
                <a:gd name="T114" fmla="*/ 1 w 434"/>
                <a:gd name="T115" fmla="*/ 41 h 447"/>
                <a:gd name="T116" fmla="*/ 0 w 434"/>
                <a:gd name="T117" fmla="*/ 41 h 44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4"/>
                <a:gd name="T178" fmla="*/ 0 h 447"/>
                <a:gd name="T179" fmla="*/ 434 w 434"/>
                <a:gd name="T180" fmla="*/ 447 h 44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4" h="447">
                  <a:moveTo>
                    <a:pt x="0" y="342"/>
                  </a:moveTo>
                  <a:lnTo>
                    <a:pt x="0" y="205"/>
                  </a:lnTo>
                  <a:lnTo>
                    <a:pt x="47" y="205"/>
                  </a:lnTo>
                  <a:lnTo>
                    <a:pt x="47" y="34"/>
                  </a:lnTo>
                  <a:lnTo>
                    <a:pt x="51" y="30"/>
                  </a:lnTo>
                  <a:lnTo>
                    <a:pt x="152" y="17"/>
                  </a:lnTo>
                  <a:lnTo>
                    <a:pt x="161" y="20"/>
                  </a:lnTo>
                  <a:lnTo>
                    <a:pt x="166" y="29"/>
                  </a:lnTo>
                  <a:lnTo>
                    <a:pt x="168" y="42"/>
                  </a:lnTo>
                  <a:lnTo>
                    <a:pt x="182" y="26"/>
                  </a:lnTo>
                  <a:lnTo>
                    <a:pt x="195" y="17"/>
                  </a:lnTo>
                  <a:lnTo>
                    <a:pt x="218" y="11"/>
                  </a:lnTo>
                  <a:lnTo>
                    <a:pt x="222" y="5"/>
                  </a:lnTo>
                  <a:lnTo>
                    <a:pt x="228" y="1"/>
                  </a:lnTo>
                  <a:lnTo>
                    <a:pt x="238" y="0"/>
                  </a:lnTo>
                  <a:lnTo>
                    <a:pt x="243" y="2"/>
                  </a:lnTo>
                  <a:lnTo>
                    <a:pt x="244" y="10"/>
                  </a:lnTo>
                  <a:lnTo>
                    <a:pt x="256" y="33"/>
                  </a:lnTo>
                  <a:lnTo>
                    <a:pt x="265" y="42"/>
                  </a:lnTo>
                  <a:lnTo>
                    <a:pt x="273" y="62"/>
                  </a:lnTo>
                  <a:lnTo>
                    <a:pt x="308" y="105"/>
                  </a:lnTo>
                  <a:lnTo>
                    <a:pt x="322" y="108"/>
                  </a:lnTo>
                  <a:lnTo>
                    <a:pt x="333" y="115"/>
                  </a:lnTo>
                  <a:lnTo>
                    <a:pt x="341" y="126"/>
                  </a:lnTo>
                  <a:lnTo>
                    <a:pt x="351" y="130"/>
                  </a:lnTo>
                  <a:lnTo>
                    <a:pt x="359" y="139"/>
                  </a:lnTo>
                  <a:lnTo>
                    <a:pt x="363" y="173"/>
                  </a:lnTo>
                  <a:lnTo>
                    <a:pt x="369" y="183"/>
                  </a:lnTo>
                  <a:lnTo>
                    <a:pt x="376" y="190"/>
                  </a:lnTo>
                  <a:lnTo>
                    <a:pt x="383" y="194"/>
                  </a:lnTo>
                  <a:lnTo>
                    <a:pt x="405" y="196"/>
                  </a:lnTo>
                  <a:lnTo>
                    <a:pt x="434" y="212"/>
                  </a:lnTo>
                  <a:lnTo>
                    <a:pt x="432" y="215"/>
                  </a:lnTo>
                  <a:lnTo>
                    <a:pt x="379" y="242"/>
                  </a:lnTo>
                  <a:lnTo>
                    <a:pt x="275" y="348"/>
                  </a:lnTo>
                  <a:lnTo>
                    <a:pt x="262" y="376"/>
                  </a:lnTo>
                  <a:lnTo>
                    <a:pt x="258" y="381"/>
                  </a:lnTo>
                  <a:lnTo>
                    <a:pt x="222" y="390"/>
                  </a:lnTo>
                  <a:lnTo>
                    <a:pt x="210" y="389"/>
                  </a:lnTo>
                  <a:lnTo>
                    <a:pt x="180" y="375"/>
                  </a:lnTo>
                  <a:lnTo>
                    <a:pt x="167" y="373"/>
                  </a:lnTo>
                  <a:lnTo>
                    <a:pt x="158" y="377"/>
                  </a:lnTo>
                  <a:lnTo>
                    <a:pt x="136" y="400"/>
                  </a:lnTo>
                  <a:lnTo>
                    <a:pt x="134" y="406"/>
                  </a:lnTo>
                  <a:lnTo>
                    <a:pt x="127" y="415"/>
                  </a:lnTo>
                  <a:lnTo>
                    <a:pt x="117" y="421"/>
                  </a:lnTo>
                  <a:lnTo>
                    <a:pt x="104" y="440"/>
                  </a:lnTo>
                  <a:lnTo>
                    <a:pt x="76" y="447"/>
                  </a:lnTo>
                  <a:lnTo>
                    <a:pt x="39" y="442"/>
                  </a:lnTo>
                  <a:lnTo>
                    <a:pt x="36" y="435"/>
                  </a:lnTo>
                  <a:lnTo>
                    <a:pt x="45" y="406"/>
                  </a:lnTo>
                  <a:lnTo>
                    <a:pt x="43" y="386"/>
                  </a:lnTo>
                  <a:lnTo>
                    <a:pt x="36" y="377"/>
                  </a:lnTo>
                  <a:lnTo>
                    <a:pt x="26" y="367"/>
                  </a:lnTo>
                  <a:lnTo>
                    <a:pt x="22" y="361"/>
                  </a:lnTo>
                  <a:lnTo>
                    <a:pt x="12" y="351"/>
                  </a:lnTo>
                  <a:lnTo>
                    <a:pt x="10" y="347"/>
                  </a:lnTo>
                  <a:lnTo>
                    <a:pt x="4" y="342"/>
                  </a:lnTo>
                  <a:lnTo>
                    <a:pt x="0" y="34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6" name="Freeform 215"/>
            <p:cNvSpPr>
              <a:spLocks/>
            </p:cNvSpPr>
            <p:nvPr/>
          </p:nvSpPr>
          <p:spPr bwMode="auto">
            <a:xfrm>
              <a:off x="1876302" y="2399444"/>
              <a:ext cx="20310" cy="11132"/>
            </a:xfrm>
            <a:custGeom>
              <a:avLst/>
              <a:gdLst>
                <a:gd name="T0" fmla="*/ 2 w 17"/>
                <a:gd name="T1" fmla="*/ 0 h 11"/>
                <a:gd name="T2" fmla="*/ 0 w 17"/>
                <a:gd name="T3" fmla="*/ 1 h 11"/>
                <a:gd name="T4" fmla="*/ 1 w 17"/>
                <a:gd name="T5" fmla="*/ 1 h 11"/>
                <a:gd name="T6" fmla="*/ 1 w 17"/>
                <a:gd name="T7" fmla="*/ 2 h 11"/>
                <a:gd name="T8" fmla="*/ 2 w 17"/>
                <a:gd name="T9" fmla="*/ 1 h 11"/>
                <a:gd name="T10" fmla="*/ 3 w 17"/>
                <a:gd name="T11" fmla="*/ 1 h 11"/>
                <a:gd name="T12" fmla="*/ 3 w 17"/>
                <a:gd name="T13" fmla="*/ 1 h 11"/>
                <a:gd name="T14" fmla="*/ 2 w 17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5" y="0"/>
                  </a:moveTo>
                  <a:lnTo>
                    <a:pt x="0" y="1"/>
                  </a:lnTo>
                  <a:lnTo>
                    <a:pt x="1" y="9"/>
                  </a:lnTo>
                  <a:lnTo>
                    <a:pt x="3" y="11"/>
                  </a:lnTo>
                  <a:lnTo>
                    <a:pt x="10" y="8"/>
                  </a:lnTo>
                  <a:lnTo>
                    <a:pt x="16" y="5"/>
                  </a:lnTo>
                  <a:lnTo>
                    <a:pt x="17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7" name="Freeform 216"/>
            <p:cNvSpPr>
              <a:spLocks/>
            </p:cNvSpPr>
            <p:nvPr/>
          </p:nvSpPr>
          <p:spPr bwMode="auto">
            <a:xfrm>
              <a:off x="1876302" y="2399444"/>
              <a:ext cx="20310" cy="11132"/>
            </a:xfrm>
            <a:custGeom>
              <a:avLst/>
              <a:gdLst>
                <a:gd name="T0" fmla="*/ 2 w 17"/>
                <a:gd name="T1" fmla="*/ 0 h 11"/>
                <a:gd name="T2" fmla="*/ 0 w 17"/>
                <a:gd name="T3" fmla="*/ 1 h 11"/>
                <a:gd name="T4" fmla="*/ 1 w 17"/>
                <a:gd name="T5" fmla="*/ 1 h 11"/>
                <a:gd name="T6" fmla="*/ 1 w 17"/>
                <a:gd name="T7" fmla="*/ 2 h 11"/>
                <a:gd name="T8" fmla="*/ 2 w 17"/>
                <a:gd name="T9" fmla="*/ 1 h 11"/>
                <a:gd name="T10" fmla="*/ 3 w 17"/>
                <a:gd name="T11" fmla="*/ 1 h 11"/>
                <a:gd name="T12" fmla="*/ 3 w 17"/>
                <a:gd name="T13" fmla="*/ 1 h 11"/>
                <a:gd name="T14" fmla="*/ 2 w 17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5" y="0"/>
                  </a:moveTo>
                  <a:lnTo>
                    <a:pt x="0" y="1"/>
                  </a:lnTo>
                  <a:lnTo>
                    <a:pt x="1" y="9"/>
                  </a:lnTo>
                  <a:lnTo>
                    <a:pt x="3" y="11"/>
                  </a:lnTo>
                  <a:lnTo>
                    <a:pt x="10" y="8"/>
                  </a:lnTo>
                  <a:lnTo>
                    <a:pt x="16" y="5"/>
                  </a:lnTo>
                  <a:lnTo>
                    <a:pt x="17" y="2"/>
                  </a:lnTo>
                  <a:lnTo>
                    <a:pt x="1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8" name="Freeform 217"/>
            <p:cNvSpPr>
              <a:spLocks/>
            </p:cNvSpPr>
            <p:nvPr/>
          </p:nvSpPr>
          <p:spPr bwMode="auto">
            <a:xfrm>
              <a:off x="1929108" y="2421708"/>
              <a:ext cx="24372" cy="7422"/>
            </a:xfrm>
            <a:custGeom>
              <a:avLst/>
              <a:gdLst>
                <a:gd name="T0" fmla="*/ 4 w 19"/>
                <a:gd name="T1" fmla="*/ 1 h 7"/>
                <a:gd name="T2" fmla="*/ 4 w 19"/>
                <a:gd name="T3" fmla="*/ 1 h 7"/>
                <a:gd name="T4" fmla="*/ 1 w 19"/>
                <a:gd name="T5" fmla="*/ 0 h 7"/>
                <a:gd name="T6" fmla="*/ 0 w 19"/>
                <a:gd name="T7" fmla="*/ 1 h 7"/>
                <a:gd name="T8" fmla="*/ 1 w 19"/>
                <a:gd name="T9" fmla="*/ 1 h 7"/>
                <a:gd name="T10" fmla="*/ 1 w 19"/>
                <a:gd name="T11" fmla="*/ 1 h 7"/>
                <a:gd name="T12" fmla="*/ 4 w 19"/>
                <a:gd name="T13" fmla="*/ 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7"/>
                <a:gd name="T23" fmla="*/ 19 w 1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7">
                  <a:moveTo>
                    <a:pt x="19" y="3"/>
                  </a:moveTo>
                  <a:lnTo>
                    <a:pt x="17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4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9" name="Freeform 218"/>
            <p:cNvSpPr>
              <a:spLocks/>
            </p:cNvSpPr>
            <p:nvPr/>
          </p:nvSpPr>
          <p:spPr bwMode="auto">
            <a:xfrm>
              <a:off x="1929108" y="2421708"/>
              <a:ext cx="24372" cy="7422"/>
            </a:xfrm>
            <a:custGeom>
              <a:avLst/>
              <a:gdLst>
                <a:gd name="T0" fmla="*/ 4 w 19"/>
                <a:gd name="T1" fmla="*/ 1 h 7"/>
                <a:gd name="T2" fmla="*/ 4 w 19"/>
                <a:gd name="T3" fmla="*/ 1 h 7"/>
                <a:gd name="T4" fmla="*/ 1 w 19"/>
                <a:gd name="T5" fmla="*/ 0 h 7"/>
                <a:gd name="T6" fmla="*/ 0 w 19"/>
                <a:gd name="T7" fmla="*/ 1 h 7"/>
                <a:gd name="T8" fmla="*/ 1 w 19"/>
                <a:gd name="T9" fmla="*/ 1 h 7"/>
                <a:gd name="T10" fmla="*/ 1 w 19"/>
                <a:gd name="T11" fmla="*/ 1 h 7"/>
                <a:gd name="T12" fmla="*/ 4 w 19"/>
                <a:gd name="T13" fmla="*/ 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7"/>
                <a:gd name="T23" fmla="*/ 19 w 1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7">
                  <a:moveTo>
                    <a:pt x="19" y="3"/>
                  </a:moveTo>
                  <a:lnTo>
                    <a:pt x="17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4"/>
                  </a:lnTo>
                  <a:lnTo>
                    <a:pt x="19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0" name="Freeform 219"/>
            <p:cNvSpPr>
              <a:spLocks/>
            </p:cNvSpPr>
            <p:nvPr/>
          </p:nvSpPr>
          <p:spPr bwMode="auto">
            <a:xfrm>
              <a:off x="2004255" y="2410576"/>
              <a:ext cx="8124" cy="11132"/>
            </a:xfrm>
            <a:custGeom>
              <a:avLst/>
              <a:gdLst>
                <a:gd name="T0" fmla="*/ 1 w 6"/>
                <a:gd name="T1" fmla="*/ 0 h 11"/>
                <a:gd name="T2" fmla="*/ 0 w 6"/>
                <a:gd name="T3" fmla="*/ 2 h 11"/>
                <a:gd name="T4" fmla="*/ 1 w 6"/>
                <a:gd name="T5" fmla="*/ 2 h 11"/>
                <a:gd name="T6" fmla="*/ 1 w 6"/>
                <a:gd name="T7" fmla="*/ 1 h 11"/>
                <a:gd name="T8" fmla="*/ 1 w 6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0"/>
                  </a:moveTo>
                  <a:lnTo>
                    <a:pt x="0" y="11"/>
                  </a:lnTo>
                  <a:lnTo>
                    <a:pt x="5" y="11"/>
                  </a:lnTo>
                  <a:lnTo>
                    <a:pt x="6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1" name="Freeform 220"/>
            <p:cNvSpPr>
              <a:spLocks/>
            </p:cNvSpPr>
            <p:nvPr/>
          </p:nvSpPr>
          <p:spPr bwMode="auto">
            <a:xfrm>
              <a:off x="2004255" y="2410576"/>
              <a:ext cx="8124" cy="11132"/>
            </a:xfrm>
            <a:custGeom>
              <a:avLst/>
              <a:gdLst>
                <a:gd name="T0" fmla="*/ 1 w 6"/>
                <a:gd name="T1" fmla="*/ 0 h 11"/>
                <a:gd name="T2" fmla="*/ 0 w 6"/>
                <a:gd name="T3" fmla="*/ 2 h 11"/>
                <a:gd name="T4" fmla="*/ 1 w 6"/>
                <a:gd name="T5" fmla="*/ 2 h 11"/>
                <a:gd name="T6" fmla="*/ 1 w 6"/>
                <a:gd name="T7" fmla="*/ 1 h 11"/>
                <a:gd name="T8" fmla="*/ 1 w 6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0"/>
                  </a:moveTo>
                  <a:lnTo>
                    <a:pt x="0" y="11"/>
                  </a:lnTo>
                  <a:lnTo>
                    <a:pt x="5" y="11"/>
                  </a:lnTo>
                  <a:lnTo>
                    <a:pt x="6" y="4"/>
                  </a:lnTo>
                  <a:lnTo>
                    <a:pt x="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2" name="Freeform 221"/>
            <p:cNvSpPr>
              <a:spLocks/>
            </p:cNvSpPr>
            <p:nvPr/>
          </p:nvSpPr>
          <p:spPr bwMode="auto">
            <a:xfrm>
              <a:off x="2010349" y="2447683"/>
              <a:ext cx="14216" cy="9277"/>
            </a:xfrm>
            <a:custGeom>
              <a:avLst/>
              <a:gdLst>
                <a:gd name="T0" fmla="*/ 1 w 13"/>
                <a:gd name="T1" fmla="*/ 0 h 11"/>
                <a:gd name="T2" fmla="*/ 1 w 13"/>
                <a:gd name="T3" fmla="*/ 0 h 11"/>
                <a:gd name="T4" fmla="*/ 2 w 13"/>
                <a:gd name="T5" fmla="*/ 0 h 11"/>
                <a:gd name="T6" fmla="*/ 2 w 13"/>
                <a:gd name="T7" fmla="*/ 0 h 11"/>
                <a:gd name="T8" fmla="*/ 1 w 13"/>
                <a:gd name="T9" fmla="*/ 0 h 11"/>
                <a:gd name="T10" fmla="*/ 1 w 13"/>
                <a:gd name="T11" fmla="*/ 0 h 11"/>
                <a:gd name="T12" fmla="*/ 1 w 13"/>
                <a:gd name="T13" fmla="*/ 0 h 11"/>
                <a:gd name="T14" fmla="*/ 0 w 13"/>
                <a:gd name="T15" fmla="*/ 0 h 11"/>
                <a:gd name="T16" fmla="*/ 1 w 13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1"/>
                <a:gd name="T29" fmla="*/ 13 w 13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1">
                  <a:moveTo>
                    <a:pt x="3" y="1"/>
                  </a:moveTo>
                  <a:lnTo>
                    <a:pt x="9" y="0"/>
                  </a:lnTo>
                  <a:lnTo>
                    <a:pt x="12" y="2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5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3" name="Freeform 222"/>
            <p:cNvSpPr>
              <a:spLocks/>
            </p:cNvSpPr>
            <p:nvPr/>
          </p:nvSpPr>
          <p:spPr bwMode="auto">
            <a:xfrm>
              <a:off x="2010349" y="2447683"/>
              <a:ext cx="14216" cy="9277"/>
            </a:xfrm>
            <a:custGeom>
              <a:avLst/>
              <a:gdLst>
                <a:gd name="T0" fmla="*/ 1 w 13"/>
                <a:gd name="T1" fmla="*/ 0 h 11"/>
                <a:gd name="T2" fmla="*/ 1 w 13"/>
                <a:gd name="T3" fmla="*/ 0 h 11"/>
                <a:gd name="T4" fmla="*/ 2 w 13"/>
                <a:gd name="T5" fmla="*/ 0 h 11"/>
                <a:gd name="T6" fmla="*/ 2 w 13"/>
                <a:gd name="T7" fmla="*/ 0 h 11"/>
                <a:gd name="T8" fmla="*/ 1 w 13"/>
                <a:gd name="T9" fmla="*/ 0 h 11"/>
                <a:gd name="T10" fmla="*/ 1 w 13"/>
                <a:gd name="T11" fmla="*/ 0 h 11"/>
                <a:gd name="T12" fmla="*/ 1 w 13"/>
                <a:gd name="T13" fmla="*/ 0 h 11"/>
                <a:gd name="T14" fmla="*/ 0 w 13"/>
                <a:gd name="T15" fmla="*/ 0 h 11"/>
                <a:gd name="T16" fmla="*/ 1 w 13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1"/>
                <a:gd name="T29" fmla="*/ 13 w 13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1">
                  <a:moveTo>
                    <a:pt x="3" y="1"/>
                  </a:moveTo>
                  <a:lnTo>
                    <a:pt x="9" y="0"/>
                  </a:lnTo>
                  <a:lnTo>
                    <a:pt x="12" y="2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5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4" name="Freeform 223"/>
            <p:cNvSpPr>
              <a:spLocks/>
            </p:cNvSpPr>
            <p:nvPr/>
          </p:nvSpPr>
          <p:spPr bwMode="auto">
            <a:xfrm>
              <a:off x="1961605" y="2486646"/>
              <a:ext cx="20310" cy="20409"/>
            </a:xfrm>
            <a:custGeom>
              <a:avLst/>
              <a:gdLst>
                <a:gd name="T0" fmla="*/ 1 w 16"/>
                <a:gd name="T1" fmla="*/ 0 h 18"/>
                <a:gd name="T2" fmla="*/ 0 w 16"/>
                <a:gd name="T3" fmla="*/ 0 h 18"/>
                <a:gd name="T4" fmla="*/ 0 w 16"/>
                <a:gd name="T5" fmla="*/ 4 h 18"/>
                <a:gd name="T6" fmla="*/ 1 w 16"/>
                <a:gd name="T7" fmla="*/ 4 h 18"/>
                <a:gd name="T8" fmla="*/ 3 w 16"/>
                <a:gd name="T9" fmla="*/ 2 h 18"/>
                <a:gd name="T10" fmla="*/ 4 w 16"/>
                <a:gd name="T11" fmla="*/ 2 h 18"/>
                <a:gd name="T12" fmla="*/ 2 w 16"/>
                <a:gd name="T13" fmla="*/ 1 h 18"/>
                <a:gd name="T14" fmla="*/ 1 w 1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8"/>
                <a:gd name="T26" fmla="*/ 16 w 1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8">
                  <a:moveTo>
                    <a:pt x="1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18"/>
                  </a:lnTo>
                  <a:lnTo>
                    <a:pt x="14" y="15"/>
                  </a:lnTo>
                  <a:lnTo>
                    <a:pt x="16" y="11"/>
                  </a:lnTo>
                  <a:lnTo>
                    <a:pt x="7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5" name="Freeform 224"/>
            <p:cNvSpPr>
              <a:spLocks/>
            </p:cNvSpPr>
            <p:nvPr/>
          </p:nvSpPr>
          <p:spPr bwMode="auto">
            <a:xfrm>
              <a:off x="1961605" y="2486646"/>
              <a:ext cx="20310" cy="20409"/>
            </a:xfrm>
            <a:custGeom>
              <a:avLst/>
              <a:gdLst>
                <a:gd name="T0" fmla="*/ 1 w 16"/>
                <a:gd name="T1" fmla="*/ 0 h 18"/>
                <a:gd name="T2" fmla="*/ 0 w 16"/>
                <a:gd name="T3" fmla="*/ 0 h 18"/>
                <a:gd name="T4" fmla="*/ 0 w 16"/>
                <a:gd name="T5" fmla="*/ 4 h 18"/>
                <a:gd name="T6" fmla="*/ 1 w 16"/>
                <a:gd name="T7" fmla="*/ 4 h 18"/>
                <a:gd name="T8" fmla="*/ 3 w 16"/>
                <a:gd name="T9" fmla="*/ 2 h 18"/>
                <a:gd name="T10" fmla="*/ 4 w 16"/>
                <a:gd name="T11" fmla="*/ 2 h 18"/>
                <a:gd name="T12" fmla="*/ 2 w 16"/>
                <a:gd name="T13" fmla="*/ 1 h 18"/>
                <a:gd name="T14" fmla="*/ 1 w 1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8"/>
                <a:gd name="T26" fmla="*/ 16 w 1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8">
                  <a:moveTo>
                    <a:pt x="1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18"/>
                  </a:lnTo>
                  <a:lnTo>
                    <a:pt x="14" y="15"/>
                  </a:lnTo>
                  <a:lnTo>
                    <a:pt x="16" y="11"/>
                  </a:lnTo>
                  <a:lnTo>
                    <a:pt x="7" y="3"/>
                  </a:lnTo>
                  <a:lnTo>
                    <a:pt x="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6" name="Freeform 225"/>
            <p:cNvSpPr>
              <a:spLocks/>
            </p:cNvSpPr>
            <p:nvPr/>
          </p:nvSpPr>
          <p:spPr bwMode="auto">
            <a:xfrm>
              <a:off x="1920984" y="2503343"/>
              <a:ext cx="12186" cy="7422"/>
            </a:xfrm>
            <a:custGeom>
              <a:avLst/>
              <a:gdLst>
                <a:gd name="T0" fmla="*/ 1 w 10"/>
                <a:gd name="T1" fmla="*/ 0 h 8"/>
                <a:gd name="T2" fmla="*/ 1 w 10"/>
                <a:gd name="T3" fmla="*/ 0 h 8"/>
                <a:gd name="T4" fmla="*/ 0 w 10"/>
                <a:gd name="T5" fmla="*/ 1 h 8"/>
                <a:gd name="T6" fmla="*/ 1 w 10"/>
                <a:gd name="T7" fmla="*/ 1 h 8"/>
                <a:gd name="T8" fmla="*/ 1 w 10"/>
                <a:gd name="T9" fmla="*/ 1 h 8"/>
                <a:gd name="T10" fmla="*/ 2 w 10"/>
                <a:gd name="T11" fmla="*/ 1 h 8"/>
                <a:gd name="T12" fmla="*/ 1 w 10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5" y="0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5" y="8"/>
                  </a:lnTo>
                  <a:lnTo>
                    <a:pt x="1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7" name="Freeform 226"/>
            <p:cNvSpPr>
              <a:spLocks/>
            </p:cNvSpPr>
            <p:nvPr/>
          </p:nvSpPr>
          <p:spPr bwMode="auto">
            <a:xfrm>
              <a:off x="1920984" y="2503343"/>
              <a:ext cx="12186" cy="7422"/>
            </a:xfrm>
            <a:custGeom>
              <a:avLst/>
              <a:gdLst>
                <a:gd name="T0" fmla="*/ 1 w 10"/>
                <a:gd name="T1" fmla="*/ 0 h 8"/>
                <a:gd name="T2" fmla="*/ 1 w 10"/>
                <a:gd name="T3" fmla="*/ 0 h 8"/>
                <a:gd name="T4" fmla="*/ 0 w 10"/>
                <a:gd name="T5" fmla="*/ 1 h 8"/>
                <a:gd name="T6" fmla="*/ 1 w 10"/>
                <a:gd name="T7" fmla="*/ 1 h 8"/>
                <a:gd name="T8" fmla="*/ 1 w 10"/>
                <a:gd name="T9" fmla="*/ 1 h 8"/>
                <a:gd name="T10" fmla="*/ 2 w 10"/>
                <a:gd name="T11" fmla="*/ 1 h 8"/>
                <a:gd name="T12" fmla="*/ 1 w 10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5" y="0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5" y="8"/>
                  </a:lnTo>
                  <a:lnTo>
                    <a:pt x="10" y="5"/>
                  </a:lnTo>
                  <a:lnTo>
                    <a:pt x="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8" name="Freeform 227"/>
            <p:cNvSpPr>
              <a:spLocks/>
            </p:cNvSpPr>
            <p:nvPr/>
          </p:nvSpPr>
          <p:spPr bwMode="auto">
            <a:xfrm>
              <a:off x="4394764" y="1059873"/>
              <a:ext cx="132015" cy="90913"/>
            </a:xfrm>
            <a:custGeom>
              <a:avLst/>
              <a:gdLst>
                <a:gd name="T0" fmla="*/ 4 w 111"/>
                <a:gd name="T1" fmla="*/ 11 h 90"/>
                <a:gd name="T2" fmla="*/ 1 w 111"/>
                <a:gd name="T3" fmla="*/ 10 h 90"/>
                <a:gd name="T4" fmla="*/ 0 w 111"/>
                <a:gd name="T5" fmla="*/ 8 h 90"/>
                <a:gd name="T6" fmla="*/ 1 w 111"/>
                <a:gd name="T7" fmla="*/ 2 h 90"/>
                <a:gd name="T8" fmla="*/ 1 w 111"/>
                <a:gd name="T9" fmla="*/ 2 h 90"/>
                <a:gd name="T10" fmla="*/ 1 w 111"/>
                <a:gd name="T11" fmla="*/ 2 h 90"/>
                <a:gd name="T12" fmla="*/ 2 w 111"/>
                <a:gd name="T13" fmla="*/ 2 h 90"/>
                <a:gd name="T14" fmla="*/ 2 w 111"/>
                <a:gd name="T15" fmla="*/ 1 h 90"/>
                <a:gd name="T16" fmla="*/ 4 w 111"/>
                <a:gd name="T17" fmla="*/ 1 h 90"/>
                <a:gd name="T18" fmla="*/ 5 w 111"/>
                <a:gd name="T19" fmla="*/ 1 h 90"/>
                <a:gd name="T20" fmla="*/ 5 w 111"/>
                <a:gd name="T21" fmla="*/ 1 h 90"/>
                <a:gd name="T22" fmla="*/ 6 w 111"/>
                <a:gd name="T23" fmla="*/ 1 h 90"/>
                <a:gd name="T24" fmla="*/ 6 w 111"/>
                <a:gd name="T25" fmla="*/ 1 h 90"/>
                <a:gd name="T26" fmla="*/ 7 w 111"/>
                <a:gd name="T27" fmla="*/ 1 h 90"/>
                <a:gd name="T28" fmla="*/ 9 w 111"/>
                <a:gd name="T29" fmla="*/ 1 h 90"/>
                <a:gd name="T30" fmla="*/ 9 w 111"/>
                <a:gd name="T31" fmla="*/ 0 h 90"/>
                <a:gd name="T32" fmla="*/ 11 w 111"/>
                <a:gd name="T33" fmla="*/ 1 h 90"/>
                <a:gd name="T34" fmla="*/ 13 w 111"/>
                <a:gd name="T35" fmla="*/ 1 h 90"/>
                <a:gd name="T36" fmla="*/ 13 w 111"/>
                <a:gd name="T37" fmla="*/ 1 h 90"/>
                <a:gd name="T38" fmla="*/ 17 w 111"/>
                <a:gd name="T39" fmla="*/ 3 h 90"/>
                <a:gd name="T40" fmla="*/ 18 w 111"/>
                <a:gd name="T41" fmla="*/ 8 h 90"/>
                <a:gd name="T42" fmla="*/ 17 w 111"/>
                <a:gd name="T43" fmla="*/ 8 h 90"/>
                <a:gd name="T44" fmla="*/ 15 w 111"/>
                <a:gd name="T45" fmla="*/ 9 h 90"/>
                <a:gd name="T46" fmla="*/ 12 w 111"/>
                <a:gd name="T47" fmla="*/ 9 h 90"/>
                <a:gd name="T48" fmla="*/ 10 w 111"/>
                <a:gd name="T49" fmla="*/ 10 h 90"/>
                <a:gd name="T50" fmla="*/ 9 w 111"/>
                <a:gd name="T51" fmla="*/ 11 h 90"/>
                <a:gd name="T52" fmla="*/ 4 w 111"/>
                <a:gd name="T53" fmla="*/ 11 h 9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1"/>
                <a:gd name="T82" fmla="*/ 0 h 90"/>
                <a:gd name="T83" fmla="*/ 111 w 111"/>
                <a:gd name="T84" fmla="*/ 90 h 9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1" h="90">
                  <a:moveTo>
                    <a:pt x="22" y="90"/>
                  </a:moveTo>
                  <a:lnTo>
                    <a:pt x="7" y="76"/>
                  </a:lnTo>
                  <a:lnTo>
                    <a:pt x="0" y="60"/>
                  </a:lnTo>
                  <a:lnTo>
                    <a:pt x="3" y="16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3" y="8"/>
                  </a:lnTo>
                  <a:lnTo>
                    <a:pt x="26" y="2"/>
                  </a:lnTo>
                  <a:lnTo>
                    <a:pt x="29" y="3"/>
                  </a:lnTo>
                  <a:lnTo>
                    <a:pt x="34" y="10"/>
                  </a:lnTo>
                  <a:lnTo>
                    <a:pt x="36" y="9"/>
                  </a:lnTo>
                  <a:lnTo>
                    <a:pt x="36" y="6"/>
                  </a:lnTo>
                  <a:lnTo>
                    <a:pt x="44" y="1"/>
                  </a:lnTo>
                  <a:lnTo>
                    <a:pt x="56" y="4"/>
                  </a:lnTo>
                  <a:lnTo>
                    <a:pt x="59" y="0"/>
                  </a:lnTo>
                  <a:lnTo>
                    <a:pt x="71" y="3"/>
                  </a:lnTo>
                  <a:lnTo>
                    <a:pt x="81" y="1"/>
                  </a:lnTo>
                  <a:lnTo>
                    <a:pt x="86" y="4"/>
                  </a:lnTo>
                  <a:lnTo>
                    <a:pt x="105" y="20"/>
                  </a:lnTo>
                  <a:lnTo>
                    <a:pt x="111" y="59"/>
                  </a:lnTo>
                  <a:lnTo>
                    <a:pt x="105" y="60"/>
                  </a:lnTo>
                  <a:lnTo>
                    <a:pt x="93" y="72"/>
                  </a:lnTo>
                  <a:lnTo>
                    <a:pt x="76" y="72"/>
                  </a:lnTo>
                  <a:lnTo>
                    <a:pt x="61" y="78"/>
                  </a:lnTo>
                  <a:lnTo>
                    <a:pt x="52" y="86"/>
                  </a:lnTo>
                  <a:lnTo>
                    <a:pt x="22" y="90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9" name="Freeform 228"/>
            <p:cNvSpPr>
              <a:spLocks/>
            </p:cNvSpPr>
            <p:nvPr/>
          </p:nvSpPr>
          <p:spPr bwMode="auto">
            <a:xfrm>
              <a:off x="3941847" y="2948632"/>
              <a:ext cx="1045973" cy="849755"/>
            </a:xfrm>
            <a:custGeom>
              <a:avLst/>
              <a:gdLst>
                <a:gd name="T0" fmla="*/ 137 w 873"/>
                <a:gd name="T1" fmla="*/ 70 h 851"/>
                <a:gd name="T2" fmla="*/ 132 w 873"/>
                <a:gd name="T3" fmla="*/ 66 h 851"/>
                <a:gd name="T4" fmla="*/ 131 w 873"/>
                <a:gd name="T5" fmla="*/ 61 h 851"/>
                <a:gd name="T6" fmla="*/ 130 w 873"/>
                <a:gd name="T7" fmla="*/ 53 h 851"/>
                <a:gd name="T8" fmla="*/ 130 w 873"/>
                <a:gd name="T9" fmla="*/ 45 h 851"/>
                <a:gd name="T10" fmla="*/ 133 w 873"/>
                <a:gd name="T11" fmla="*/ 37 h 851"/>
                <a:gd name="T12" fmla="*/ 142 w 873"/>
                <a:gd name="T13" fmla="*/ 20 h 851"/>
                <a:gd name="T14" fmla="*/ 146 w 873"/>
                <a:gd name="T15" fmla="*/ 18 h 851"/>
                <a:gd name="T16" fmla="*/ 144 w 873"/>
                <a:gd name="T17" fmla="*/ 16 h 851"/>
                <a:gd name="T18" fmla="*/ 143 w 873"/>
                <a:gd name="T19" fmla="*/ 10 h 851"/>
                <a:gd name="T20" fmla="*/ 142 w 873"/>
                <a:gd name="T21" fmla="*/ 9 h 851"/>
                <a:gd name="T22" fmla="*/ 130 w 873"/>
                <a:gd name="T23" fmla="*/ 5 h 851"/>
                <a:gd name="T24" fmla="*/ 124 w 873"/>
                <a:gd name="T25" fmla="*/ 5 h 851"/>
                <a:gd name="T26" fmla="*/ 118 w 873"/>
                <a:gd name="T27" fmla="*/ 2 h 851"/>
                <a:gd name="T28" fmla="*/ 112 w 873"/>
                <a:gd name="T29" fmla="*/ 2 h 851"/>
                <a:gd name="T30" fmla="*/ 107 w 873"/>
                <a:gd name="T31" fmla="*/ 0 h 851"/>
                <a:gd name="T32" fmla="*/ 99 w 873"/>
                <a:gd name="T33" fmla="*/ 2 h 851"/>
                <a:gd name="T34" fmla="*/ 95 w 873"/>
                <a:gd name="T35" fmla="*/ 2 h 851"/>
                <a:gd name="T36" fmla="*/ 94 w 873"/>
                <a:gd name="T37" fmla="*/ 1 h 851"/>
                <a:gd name="T38" fmla="*/ 81 w 873"/>
                <a:gd name="T39" fmla="*/ 3 h 851"/>
                <a:gd name="T40" fmla="*/ 78 w 873"/>
                <a:gd name="T41" fmla="*/ 5 h 851"/>
                <a:gd name="T42" fmla="*/ 65 w 873"/>
                <a:gd name="T43" fmla="*/ 4 h 851"/>
                <a:gd name="T44" fmla="*/ 61 w 873"/>
                <a:gd name="T45" fmla="*/ 3 h 851"/>
                <a:gd name="T46" fmla="*/ 55 w 873"/>
                <a:gd name="T47" fmla="*/ 1 h 851"/>
                <a:gd name="T48" fmla="*/ 51 w 873"/>
                <a:gd name="T49" fmla="*/ 4 h 851"/>
                <a:gd name="T50" fmla="*/ 49 w 873"/>
                <a:gd name="T51" fmla="*/ 9 h 851"/>
                <a:gd name="T52" fmla="*/ 41 w 873"/>
                <a:gd name="T53" fmla="*/ 33 h 851"/>
                <a:gd name="T54" fmla="*/ 29 w 873"/>
                <a:gd name="T55" fmla="*/ 48 h 851"/>
                <a:gd name="T56" fmla="*/ 17 w 873"/>
                <a:gd name="T57" fmla="*/ 56 h 851"/>
                <a:gd name="T58" fmla="*/ 15 w 873"/>
                <a:gd name="T59" fmla="*/ 54 h 851"/>
                <a:gd name="T60" fmla="*/ 9 w 873"/>
                <a:gd name="T61" fmla="*/ 56 h 851"/>
                <a:gd name="T62" fmla="*/ 5 w 873"/>
                <a:gd name="T63" fmla="*/ 55 h 851"/>
                <a:gd name="T64" fmla="*/ 0 w 873"/>
                <a:gd name="T65" fmla="*/ 62 h 851"/>
                <a:gd name="T66" fmla="*/ 1 w 873"/>
                <a:gd name="T67" fmla="*/ 64 h 851"/>
                <a:gd name="T68" fmla="*/ 16 w 873"/>
                <a:gd name="T69" fmla="*/ 62 h 851"/>
                <a:gd name="T70" fmla="*/ 31 w 873"/>
                <a:gd name="T71" fmla="*/ 62 h 851"/>
                <a:gd name="T72" fmla="*/ 32 w 873"/>
                <a:gd name="T73" fmla="*/ 62 h 851"/>
                <a:gd name="T74" fmla="*/ 42 w 873"/>
                <a:gd name="T75" fmla="*/ 74 h 851"/>
                <a:gd name="T76" fmla="*/ 54 w 873"/>
                <a:gd name="T77" fmla="*/ 74 h 851"/>
                <a:gd name="T78" fmla="*/ 55 w 873"/>
                <a:gd name="T79" fmla="*/ 68 h 851"/>
                <a:gd name="T80" fmla="*/ 65 w 873"/>
                <a:gd name="T81" fmla="*/ 67 h 851"/>
                <a:gd name="T82" fmla="*/ 73 w 873"/>
                <a:gd name="T83" fmla="*/ 71 h 851"/>
                <a:gd name="T84" fmla="*/ 73 w 873"/>
                <a:gd name="T85" fmla="*/ 83 h 851"/>
                <a:gd name="T86" fmla="*/ 74 w 873"/>
                <a:gd name="T87" fmla="*/ 90 h 851"/>
                <a:gd name="T88" fmla="*/ 74 w 873"/>
                <a:gd name="T89" fmla="*/ 91 h 851"/>
                <a:gd name="T90" fmla="*/ 77 w 873"/>
                <a:gd name="T91" fmla="*/ 93 h 851"/>
                <a:gd name="T92" fmla="*/ 78 w 873"/>
                <a:gd name="T93" fmla="*/ 90 h 851"/>
                <a:gd name="T94" fmla="*/ 88 w 873"/>
                <a:gd name="T95" fmla="*/ 90 h 851"/>
                <a:gd name="T96" fmla="*/ 90 w 873"/>
                <a:gd name="T97" fmla="*/ 89 h 851"/>
                <a:gd name="T98" fmla="*/ 93 w 873"/>
                <a:gd name="T99" fmla="*/ 90 h 851"/>
                <a:gd name="T100" fmla="*/ 94 w 873"/>
                <a:gd name="T101" fmla="*/ 93 h 851"/>
                <a:gd name="T102" fmla="*/ 99 w 873"/>
                <a:gd name="T103" fmla="*/ 91 h 851"/>
                <a:gd name="T104" fmla="*/ 100 w 873"/>
                <a:gd name="T105" fmla="*/ 93 h 851"/>
                <a:gd name="T106" fmla="*/ 113 w 873"/>
                <a:gd name="T107" fmla="*/ 95 h 851"/>
                <a:gd name="T108" fmla="*/ 120 w 873"/>
                <a:gd name="T109" fmla="*/ 97 h 851"/>
                <a:gd name="T110" fmla="*/ 123 w 873"/>
                <a:gd name="T111" fmla="*/ 101 h 851"/>
                <a:gd name="T112" fmla="*/ 130 w 873"/>
                <a:gd name="T113" fmla="*/ 103 h 851"/>
                <a:gd name="T114" fmla="*/ 133 w 873"/>
                <a:gd name="T115" fmla="*/ 103 h 851"/>
                <a:gd name="T116" fmla="*/ 134 w 873"/>
                <a:gd name="T117" fmla="*/ 103 h 851"/>
                <a:gd name="T118" fmla="*/ 132 w 873"/>
                <a:gd name="T119" fmla="*/ 97 h 851"/>
                <a:gd name="T120" fmla="*/ 127 w 873"/>
                <a:gd name="T121" fmla="*/ 97 h 851"/>
                <a:gd name="T122" fmla="*/ 127 w 873"/>
                <a:gd name="T123" fmla="*/ 85 h 851"/>
                <a:gd name="T124" fmla="*/ 129 w 873"/>
                <a:gd name="T125" fmla="*/ 76 h 85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3"/>
                <a:gd name="T190" fmla="*/ 0 h 851"/>
                <a:gd name="T191" fmla="*/ 873 w 873"/>
                <a:gd name="T192" fmla="*/ 851 h 85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3" h="851">
                  <a:moveTo>
                    <a:pt x="838" y="614"/>
                  </a:moveTo>
                  <a:lnTo>
                    <a:pt x="831" y="585"/>
                  </a:lnTo>
                  <a:lnTo>
                    <a:pt x="823" y="575"/>
                  </a:lnTo>
                  <a:lnTo>
                    <a:pt x="813" y="571"/>
                  </a:lnTo>
                  <a:lnTo>
                    <a:pt x="795" y="553"/>
                  </a:lnTo>
                  <a:lnTo>
                    <a:pt x="790" y="540"/>
                  </a:lnTo>
                  <a:lnTo>
                    <a:pt x="785" y="534"/>
                  </a:lnTo>
                  <a:lnTo>
                    <a:pt x="782" y="520"/>
                  </a:lnTo>
                  <a:lnTo>
                    <a:pt x="785" y="500"/>
                  </a:lnTo>
                  <a:lnTo>
                    <a:pt x="773" y="473"/>
                  </a:lnTo>
                  <a:lnTo>
                    <a:pt x="780" y="441"/>
                  </a:lnTo>
                  <a:lnTo>
                    <a:pt x="779" y="433"/>
                  </a:lnTo>
                  <a:lnTo>
                    <a:pt x="774" y="435"/>
                  </a:lnTo>
                  <a:lnTo>
                    <a:pt x="783" y="394"/>
                  </a:lnTo>
                  <a:lnTo>
                    <a:pt x="782" y="374"/>
                  </a:lnTo>
                  <a:lnTo>
                    <a:pt x="769" y="357"/>
                  </a:lnTo>
                  <a:lnTo>
                    <a:pt x="769" y="349"/>
                  </a:lnTo>
                  <a:lnTo>
                    <a:pt x="798" y="301"/>
                  </a:lnTo>
                  <a:lnTo>
                    <a:pt x="801" y="300"/>
                  </a:lnTo>
                  <a:lnTo>
                    <a:pt x="811" y="221"/>
                  </a:lnTo>
                  <a:lnTo>
                    <a:pt x="848" y="169"/>
                  </a:lnTo>
                  <a:lnTo>
                    <a:pt x="862" y="160"/>
                  </a:lnTo>
                  <a:lnTo>
                    <a:pt x="868" y="153"/>
                  </a:lnTo>
                  <a:lnTo>
                    <a:pt x="873" y="146"/>
                  </a:lnTo>
                  <a:lnTo>
                    <a:pt x="871" y="140"/>
                  </a:lnTo>
                  <a:lnTo>
                    <a:pt x="869" y="135"/>
                  </a:lnTo>
                  <a:lnTo>
                    <a:pt x="863" y="133"/>
                  </a:lnTo>
                  <a:lnTo>
                    <a:pt x="854" y="127"/>
                  </a:lnTo>
                  <a:lnTo>
                    <a:pt x="852" y="119"/>
                  </a:lnTo>
                  <a:lnTo>
                    <a:pt x="854" y="86"/>
                  </a:lnTo>
                  <a:lnTo>
                    <a:pt x="857" y="79"/>
                  </a:lnTo>
                  <a:lnTo>
                    <a:pt x="856" y="75"/>
                  </a:lnTo>
                  <a:lnTo>
                    <a:pt x="851" y="76"/>
                  </a:lnTo>
                  <a:lnTo>
                    <a:pt x="798" y="29"/>
                  </a:lnTo>
                  <a:lnTo>
                    <a:pt x="787" y="38"/>
                  </a:lnTo>
                  <a:lnTo>
                    <a:pt x="778" y="39"/>
                  </a:lnTo>
                  <a:lnTo>
                    <a:pt x="756" y="34"/>
                  </a:lnTo>
                  <a:lnTo>
                    <a:pt x="751" y="42"/>
                  </a:lnTo>
                  <a:lnTo>
                    <a:pt x="745" y="44"/>
                  </a:lnTo>
                  <a:lnTo>
                    <a:pt x="726" y="36"/>
                  </a:lnTo>
                  <a:lnTo>
                    <a:pt x="717" y="21"/>
                  </a:lnTo>
                  <a:lnTo>
                    <a:pt x="706" y="14"/>
                  </a:lnTo>
                  <a:lnTo>
                    <a:pt x="701" y="4"/>
                  </a:lnTo>
                  <a:lnTo>
                    <a:pt x="677" y="4"/>
                  </a:lnTo>
                  <a:lnTo>
                    <a:pt x="671" y="13"/>
                  </a:lnTo>
                  <a:lnTo>
                    <a:pt x="661" y="6"/>
                  </a:lnTo>
                  <a:lnTo>
                    <a:pt x="655" y="13"/>
                  </a:lnTo>
                  <a:lnTo>
                    <a:pt x="643" y="0"/>
                  </a:lnTo>
                  <a:lnTo>
                    <a:pt x="612" y="6"/>
                  </a:lnTo>
                  <a:lnTo>
                    <a:pt x="595" y="2"/>
                  </a:lnTo>
                  <a:lnTo>
                    <a:pt x="593" y="13"/>
                  </a:lnTo>
                  <a:lnTo>
                    <a:pt x="583" y="13"/>
                  </a:lnTo>
                  <a:lnTo>
                    <a:pt x="576" y="16"/>
                  </a:lnTo>
                  <a:lnTo>
                    <a:pt x="569" y="13"/>
                  </a:lnTo>
                  <a:lnTo>
                    <a:pt x="571" y="13"/>
                  </a:lnTo>
                  <a:lnTo>
                    <a:pt x="569" y="9"/>
                  </a:lnTo>
                  <a:lnTo>
                    <a:pt x="565" y="9"/>
                  </a:lnTo>
                  <a:lnTo>
                    <a:pt x="509" y="27"/>
                  </a:lnTo>
                  <a:lnTo>
                    <a:pt x="502" y="22"/>
                  </a:lnTo>
                  <a:lnTo>
                    <a:pt x="487" y="20"/>
                  </a:lnTo>
                  <a:lnTo>
                    <a:pt x="475" y="27"/>
                  </a:lnTo>
                  <a:lnTo>
                    <a:pt x="474" y="42"/>
                  </a:lnTo>
                  <a:lnTo>
                    <a:pt x="467" y="44"/>
                  </a:lnTo>
                  <a:lnTo>
                    <a:pt x="425" y="44"/>
                  </a:lnTo>
                  <a:lnTo>
                    <a:pt x="406" y="38"/>
                  </a:lnTo>
                  <a:lnTo>
                    <a:pt x="394" y="31"/>
                  </a:lnTo>
                  <a:lnTo>
                    <a:pt x="387" y="37"/>
                  </a:lnTo>
                  <a:lnTo>
                    <a:pt x="381" y="36"/>
                  </a:lnTo>
                  <a:lnTo>
                    <a:pt x="365" y="21"/>
                  </a:lnTo>
                  <a:lnTo>
                    <a:pt x="363" y="13"/>
                  </a:lnTo>
                  <a:lnTo>
                    <a:pt x="355" y="5"/>
                  </a:lnTo>
                  <a:lnTo>
                    <a:pt x="332" y="4"/>
                  </a:lnTo>
                  <a:lnTo>
                    <a:pt x="315" y="18"/>
                  </a:lnTo>
                  <a:lnTo>
                    <a:pt x="309" y="31"/>
                  </a:lnTo>
                  <a:lnTo>
                    <a:pt x="303" y="35"/>
                  </a:lnTo>
                  <a:lnTo>
                    <a:pt x="300" y="63"/>
                  </a:lnTo>
                  <a:lnTo>
                    <a:pt x="302" y="69"/>
                  </a:lnTo>
                  <a:lnTo>
                    <a:pt x="291" y="71"/>
                  </a:lnTo>
                  <a:lnTo>
                    <a:pt x="294" y="86"/>
                  </a:lnTo>
                  <a:lnTo>
                    <a:pt x="264" y="153"/>
                  </a:lnTo>
                  <a:lnTo>
                    <a:pt x="248" y="274"/>
                  </a:lnTo>
                  <a:lnTo>
                    <a:pt x="220" y="293"/>
                  </a:lnTo>
                  <a:lnTo>
                    <a:pt x="186" y="336"/>
                  </a:lnTo>
                  <a:lnTo>
                    <a:pt x="175" y="401"/>
                  </a:lnTo>
                  <a:lnTo>
                    <a:pt x="151" y="432"/>
                  </a:lnTo>
                  <a:lnTo>
                    <a:pt x="120" y="454"/>
                  </a:lnTo>
                  <a:lnTo>
                    <a:pt x="104" y="462"/>
                  </a:lnTo>
                  <a:lnTo>
                    <a:pt x="94" y="459"/>
                  </a:lnTo>
                  <a:lnTo>
                    <a:pt x="93" y="443"/>
                  </a:lnTo>
                  <a:lnTo>
                    <a:pt x="91" y="440"/>
                  </a:lnTo>
                  <a:lnTo>
                    <a:pt x="69" y="445"/>
                  </a:lnTo>
                  <a:lnTo>
                    <a:pt x="62" y="450"/>
                  </a:lnTo>
                  <a:lnTo>
                    <a:pt x="56" y="460"/>
                  </a:lnTo>
                  <a:lnTo>
                    <a:pt x="46" y="463"/>
                  </a:lnTo>
                  <a:lnTo>
                    <a:pt x="32" y="454"/>
                  </a:lnTo>
                  <a:lnTo>
                    <a:pt x="29" y="455"/>
                  </a:lnTo>
                  <a:lnTo>
                    <a:pt x="15" y="469"/>
                  </a:lnTo>
                  <a:lnTo>
                    <a:pt x="9" y="504"/>
                  </a:lnTo>
                  <a:lnTo>
                    <a:pt x="0" y="508"/>
                  </a:lnTo>
                  <a:lnTo>
                    <a:pt x="3" y="517"/>
                  </a:lnTo>
                  <a:lnTo>
                    <a:pt x="0" y="523"/>
                  </a:lnTo>
                  <a:lnTo>
                    <a:pt x="2" y="527"/>
                  </a:lnTo>
                  <a:lnTo>
                    <a:pt x="3" y="524"/>
                  </a:lnTo>
                  <a:lnTo>
                    <a:pt x="46" y="507"/>
                  </a:lnTo>
                  <a:lnTo>
                    <a:pt x="96" y="506"/>
                  </a:lnTo>
                  <a:lnTo>
                    <a:pt x="103" y="507"/>
                  </a:lnTo>
                  <a:lnTo>
                    <a:pt x="181" y="506"/>
                  </a:lnTo>
                  <a:lnTo>
                    <a:pt x="183" y="507"/>
                  </a:lnTo>
                  <a:lnTo>
                    <a:pt x="187" y="513"/>
                  </a:lnTo>
                  <a:lnTo>
                    <a:pt x="190" y="513"/>
                  </a:lnTo>
                  <a:lnTo>
                    <a:pt x="194" y="512"/>
                  </a:lnTo>
                  <a:lnTo>
                    <a:pt x="213" y="574"/>
                  </a:lnTo>
                  <a:lnTo>
                    <a:pt x="241" y="608"/>
                  </a:lnTo>
                  <a:lnTo>
                    <a:pt x="252" y="612"/>
                  </a:lnTo>
                  <a:lnTo>
                    <a:pt x="263" y="612"/>
                  </a:lnTo>
                  <a:lnTo>
                    <a:pt x="291" y="604"/>
                  </a:lnTo>
                  <a:lnTo>
                    <a:pt x="321" y="605"/>
                  </a:lnTo>
                  <a:lnTo>
                    <a:pt x="325" y="587"/>
                  </a:lnTo>
                  <a:lnTo>
                    <a:pt x="328" y="583"/>
                  </a:lnTo>
                  <a:lnTo>
                    <a:pt x="333" y="560"/>
                  </a:lnTo>
                  <a:lnTo>
                    <a:pt x="369" y="560"/>
                  </a:lnTo>
                  <a:lnTo>
                    <a:pt x="370" y="555"/>
                  </a:lnTo>
                  <a:lnTo>
                    <a:pt x="390" y="555"/>
                  </a:lnTo>
                  <a:lnTo>
                    <a:pt x="389" y="573"/>
                  </a:lnTo>
                  <a:lnTo>
                    <a:pt x="430" y="574"/>
                  </a:lnTo>
                  <a:lnTo>
                    <a:pt x="434" y="584"/>
                  </a:lnTo>
                  <a:lnTo>
                    <a:pt x="440" y="648"/>
                  </a:lnTo>
                  <a:lnTo>
                    <a:pt x="437" y="662"/>
                  </a:lnTo>
                  <a:lnTo>
                    <a:pt x="439" y="680"/>
                  </a:lnTo>
                  <a:lnTo>
                    <a:pt x="458" y="724"/>
                  </a:lnTo>
                  <a:lnTo>
                    <a:pt x="457" y="730"/>
                  </a:lnTo>
                  <a:lnTo>
                    <a:pt x="443" y="745"/>
                  </a:lnTo>
                  <a:lnTo>
                    <a:pt x="443" y="748"/>
                  </a:lnTo>
                  <a:lnTo>
                    <a:pt x="444" y="750"/>
                  </a:lnTo>
                  <a:lnTo>
                    <a:pt x="445" y="751"/>
                  </a:lnTo>
                  <a:lnTo>
                    <a:pt x="449" y="752"/>
                  </a:lnTo>
                  <a:lnTo>
                    <a:pt x="454" y="758"/>
                  </a:lnTo>
                  <a:lnTo>
                    <a:pt x="459" y="759"/>
                  </a:lnTo>
                  <a:lnTo>
                    <a:pt x="461" y="758"/>
                  </a:lnTo>
                  <a:lnTo>
                    <a:pt x="465" y="746"/>
                  </a:lnTo>
                  <a:lnTo>
                    <a:pt x="469" y="744"/>
                  </a:lnTo>
                  <a:lnTo>
                    <a:pt x="511" y="744"/>
                  </a:lnTo>
                  <a:lnTo>
                    <a:pt x="521" y="741"/>
                  </a:lnTo>
                  <a:lnTo>
                    <a:pt x="527" y="743"/>
                  </a:lnTo>
                  <a:lnTo>
                    <a:pt x="530" y="743"/>
                  </a:lnTo>
                  <a:lnTo>
                    <a:pt x="537" y="737"/>
                  </a:lnTo>
                  <a:lnTo>
                    <a:pt x="539" y="737"/>
                  </a:lnTo>
                  <a:lnTo>
                    <a:pt x="551" y="735"/>
                  </a:lnTo>
                  <a:lnTo>
                    <a:pt x="552" y="735"/>
                  </a:lnTo>
                  <a:lnTo>
                    <a:pt x="558" y="744"/>
                  </a:lnTo>
                  <a:lnTo>
                    <a:pt x="557" y="755"/>
                  </a:lnTo>
                  <a:lnTo>
                    <a:pt x="559" y="758"/>
                  </a:lnTo>
                  <a:lnTo>
                    <a:pt x="561" y="759"/>
                  </a:lnTo>
                  <a:lnTo>
                    <a:pt x="577" y="753"/>
                  </a:lnTo>
                  <a:lnTo>
                    <a:pt x="583" y="753"/>
                  </a:lnTo>
                  <a:lnTo>
                    <a:pt x="592" y="749"/>
                  </a:lnTo>
                  <a:lnTo>
                    <a:pt x="597" y="756"/>
                  </a:lnTo>
                  <a:lnTo>
                    <a:pt x="599" y="763"/>
                  </a:lnTo>
                  <a:lnTo>
                    <a:pt x="603" y="768"/>
                  </a:lnTo>
                  <a:lnTo>
                    <a:pt x="640" y="786"/>
                  </a:lnTo>
                  <a:lnTo>
                    <a:pt x="651" y="786"/>
                  </a:lnTo>
                  <a:lnTo>
                    <a:pt x="675" y="778"/>
                  </a:lnTo>
                  <a:lnTo>
                    <a:pt x="680" y="778"/>
                  </a:lnTo>
                  <a:lnTo>
                    <a:pt x="695" y="794"/>
                  </a:lnTo>
                  <a:lnTo>
                    <a:pt x="717" y="803"/>
                  </a:lnTo>
                  <a:lnTo>
                    <a:pt x="726" y="803"/>
                  </a:lnTo>
                  <a:lnTo>
                    <a:pt x="731" y="809"/>
                  </a:lnTo>
                  <a:lnTo>
                    <a:pt x="738" y="825"/>
                  </a:lnTo>
                  <a:lnTo>
                    <a:pt x="762" y="841"/>
                  </a:lnTo>
                  <a:lnTo>
                    <a:pt x="778" y="847"/>
                  </a:lnTo>
                  <a:lnTo>
                    <a:pt x="781" y="847"/>
                  </a:lnTo>
                  <a:lnTo>
                    <a:pt x="786" y="844"/>
                  </a:lnTo>
                  <a:lnTo>
                    <a:pt x="790" y="844"/>
                  </a:lnTo>
                  <a:lnTo>
                    <a:pt x="794" y="850"/>
                  </a:lnTo>
                  <a:lnTo>
                    <a:pt x="797" y="851"/>
                  </a:lnTo>
                  <a:lnTo>
                    <a:pt x="800" y="851"/>
                  </a:lnTo>
                  <a:lnTo>
                    <a:pt x="802" y="849"/>
                  </a:lnTo>
                  <a:lnTo>
                    <a:pt x="800" y="807"/>
                  </a:lnTo>
                  <a:lnTo>
                    <a:pt x="798" y="801"/>
                  </a:lnTo>
                  <a:lnTo>
                    <a:pt x="793" y="800"/>
                  </a:lnTo>
                  <a:lnTo>
                    <a:pt x="786" y="804"/>
                  </a:lnTo>
                  <a:lnTo>
                    <a:pt x="766" y="802"/>
                  </a:lnTo>
                  <a:lnTo>
                    <a:pt x="760" y="798"/>
                  </a:lnTo>
                  <a:lnTo>
                    <a:pt x="746" y="780"/>
                  </a:lnTo>
                  <a:lnTo>
                    <a:pt x="746" y="772"/>
                  </a:lnTo>
                  <a:lnTo>
                    <a:pt x="763" y="697"/>
                  </a:lnTo>
                  <a:lnTo>
                    <a:pt x="756" y="661"/>
                  </a:lnTo>
                  <a:lnTo>
                    <a:pt x="771" y="631"/>
                  </a:lnTo>
                  <a:lnTo>
                    <a:pt x="776" y="629"/>
                  </a:lnTo>
                  <a:lnTo>
                    <a:pt x="838" y="6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0" name="Freeform 229"/>
            <p:cNvSpPr>
              <a:spLocks/>
            </p:cNvSpPr>
            <p:nvPr/>
          </p:nvSpPr>
          <p:spPr bwMode="auto">
            <a:xfrm>
              <a:off x="3941847" y="2948632"/>
              <a:ext cx="1045973" cy="849755"/>
            </a:xfrm>
            <a:custGeom>
              <a:avLst/>
              <a:gdLst>
                <a:gd name="T0" fmla="*/ 137 w 873"/>
                <a:gd name="T1" fmla="*/ 70 h 851"/>
                <a:gd name="T2" fmla="*/ 132 w 873"/>
                <a:gd name="T3" fmla="*/ 66 h 851"/>
                <a:gd name="T4" fmla="*/ 131 w 873"/>
                <a:gd name="T5" fmla="*/ 61 h 851"/>
                <a:gd name="T6" fmla="*/ 130 w 873"/>
                <a:gd name="T7" fmla="*/ 53 h 851"/>
                <a:gd name="T8" fmla="*/ 130 w 873"/>
                <a:gd name="T9" fmla="*/ 45 h 851"/>
                <a:gd name="T10" fmla="*/ 133 w 873"/>
                <a:gd name="T11" fmla="*/ 37 h 851"/>
                <a:gd name="T12" fmla="*/ 142 w 873"/>
                <a:gd name="T13" fmla="*/ 20 h 851"/>
                <a:gd name="T14" fmla="*/ 146 w 873"/>
                <a:gd name="T15" fmla="*/ 18 h 851"/>
                <a:gd name="T16" fmla="*/ 144 w 873"/>
                <a:gd name="T17" fmla="*/ 16 h 851"/>
                <a:gd name="T18" fmla="*/ 143 w 873"/>
                <a:gd name="T19" fmla="*/ 10 h 851"/>
                <a:gd name="T20" fmla="*/ 142 w 873"/>
                <a:gd name="T21" fmla="*/ 9 h 851"/>
                <a:gd name="T22" fmla="*/ 130 w 873"/>
                <a:gd name="T23" fmla="*/ 5 h 851"/>
                <a:gd name="T24" fmla="*/ 124 w 873"/>
                <a:gd name="T25" fmla="*/ 5 h 851"/>
                <a:gd name="T26" fmla="*/ 118 w 873"/>
                <a:gd name="T27" fmla="*/ 2 h 851"/>
                <a:gd name="T28" fmla="*/ 112 w 873"/>
                <a:gd name="T29" fmla="*/ 2 h 851"/>
                <a:gd name="T30" fmla="*/ 107 w 873"/>
                <a:gd name="T31" fmla="*/ 0 h 851"/>
                <a:gd name="T32" fmla="*/ 99 w 873"/>
                <a:gd name="T33" fmla="*/ 2 h 851"/>
                <a:gd name="T34" fmla="*/ 95 w 873"/>
                <a:gd name="T35" fmla="*/ 2 h 851"/>
                <a:gd name="T36" fmla="*/ 94 w 873"/>
                <a:gd name="T37" fmla="*/ 1 h 851"/>
                <a:gd name="T38" fmla="*/ 81 w 873"/>
                <a:gd name="T39" fmla="*/ 3 h 851"/>
                <a:gd name="T40" fmla="*/ 78 w 873"/>
                <a:gd name="T41" fmla="*/ 5 h 851"/>
                <a:gd name="T42" fmla="*/ 65 w 873"/>
                <a:gd name="T43" fmla="*/ 4 h 851"/>
                <a:gd name="T44" fmla="*/ 61 w 873"/>
                <a:gd name="T45" fmla="*/ 3 h 851"/>
                <a:gd name="T46" fmla="*/ 55 w 873"/>
                <a:gd name="T47" fmla="*/ 1 h 851"/>
                <a:gd name="T48" fmla="*/ 51 w 873"/>
                <a:gd name="T49" fmla="*/ 4 h 851"/>
                <a:gd name="T50" fmla="*/ 49 w 873"/>
                <a:gd name="T51" fmla="*/ 9 h 851"/>
                <a:gd name="T52" fmla="*/ 41 w 873"/>
                <a:gd name="T53" fmla="*/ 33 h 851"/>
                <a:gd name="T54" fmla="*/ 29 w 873"/>
                <a:gd name="T55" fmla="*/ 48 h 851"/>
                <a:gd name="T56" fmla="*/ 17 w 873"/>
                <a:gd name="T57" fmla="*/ 56 h 851"/>
                <a:gd name="T58" fmla="*/ 15 w 873"/>
                <a:gd name="T59" fmla="*/ 54 h 851"/>
                <a:gd name="T60" fmla="*/ 9 w 873"/>
                <a:gd name="T61" fmla="*/ 56 h 851"/>
                <a:gd name="T62" fmla="*/ 5 w 873"/>
                <a:gd name="T63" fmla="*/ 55 h 851"/>
                <a:gd name="T64" fmla="*/ 0 w 873"/>
                <a:gd name="T65" fmla="*/ 62 h 851"/>
                <a:gd name="T66" fmla="*/ 1 w 873"/>
                <a:gd name="T67" fmla="*/ 64 h 851"/>
                <a:gd name="T68" fmla="*/ 16 w 873"/>
                <a:gd name="T69" fmla="*/ 62 h 851"/>
                <a:gd name="T70" fmla="*/ 31 w 873"/>
                <a:gd name="T71" fmla="*/ 62 h 851"/>
                <a:gd name="T72" fmla="*/ 32 w 873"/>
                <a:gd name="T73" fmla="*/ 62 h 851"/>
                <a:gd name="T74" fmla="*/ 42 w 873"/>
                <a:gd name="T75" fmla="*/ 74 h 851"/>
                <a:gd name="T76" fmla="*/ 54 w 873"/>
                <a:gd name="T77" fmla="*/ 74 h 851"/>
                <a:gd name="T78" fmla="*/ 55 w 873"/>
                <a:gd name="T79" fmla="*/ 68 h 851"/>
                <a:gd name="T80" fmla="*/ 65 w 873"/>
                <a:gd name="T81" fmla="*/ 67 h 851"/>
                <a:gd name="T82" fmla="*/ 73 w 873"/>
                <a:gd name="T83" fmla="*/ 71 h 851"/>
                <a:gd name="T84" fmla="*/ 73 w 873"/>
                <a:gd name="T85" fmla="*/ 83 h 851"/>
                <a:gd name="T86" fmla="*/ 74 w 873"/>
                <a:gd name="T87" fmla="*/ 90 h 851"/>
                <a:gd name="T88" fmla="*/ 74 w 873"/>
                <a:gd name="T89" fmla="*/ 91 h 851"/>
                <a:gd name="T90" fmla="*/ 77 w 873"/>
                <a:gd name="T91" fmla="*/ 93 h 851"/>
                <a:gd name="T92" fmla="*/ 78 w 873"/>
                <a:gd name="T93" fmla="*/ 90 h 851"/>
                <a:gd name="T94" fmla="*/ 88 w 873"/>
                <a:gd name="T95" fmla="*/ 90 h 851"/>
                <a:gd name="T96" fmla="*/ 90 w 873"/>
                <a:gd name="T97" fmla="*/ 89 h 851"/>
                <a:gd name="T98" fmla="*/ 93 w 873"/>
                <a:gd name="T99" fmla="*/ 90 h 851"/>
                <a:gd name="T100" fmla="*/ 94 w 873"/>
                <a:gd name="T101" fmla="*/ 93 h 851"/>
                <a:gd name="T102" fmla="*/ 99 w 873"/>
                <a:gd name="T103" fmla="*/ 91 h 851"/>
                <a:gd name="T104" fmla="*/ 100 w 873"/>
                <a:gd name="T105" fmla="*/ 93 h 851"/>
                <a:gd name="T106" fmla="*/ 113 w 873"/>
                <a:gd name="T107" fmla="*/ 95 h 851"/>
                <a:gd name="T108" fmla="*/ 120 w 873"/>
                <a:gd name="T109" fmla="*/ 97 h 851"/>
                <a:gd name="T110" fmla="*/ 123 w 873"/>
                <a:gd name="T111" fmla="*/ 101 h 851"/>
                <a:gd name="T112" fmla="*/ 130 w 873"/>
                <a:gd name="T113" fmla="*/ 103 h 851"/>
                <a:gd name="T114" fmla="*/ 133 w 873"/>
                <a:gd name="T115" fmla="*/ 103 h 851"/>
                <a:gd name="T116" fmla="*/ 134 w 873"/>
                <a:gd name="T117" fmla="*/ 103 h 851"/>
                <a:gd name="T118" fmla="*/ 132 w 873"/>
                <a:gd name="T119" fmla="*/ 97 h 851"/>
                <a:gd name="T120" fmla="*/ 127 w 873"/>
                <a:gd name="T121" fmla="*/ 97 h 851"/>
                <a:gd name="T122" fmla="*/ 127 w 873"/>
                <a:gd name="T123" fmla="*/ 85 h 851"/>
                <a:gd name="T124" fmla="*/ 129 w 873"/>
                <a:gd name="T125" fmla="*/ 76 h 85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3"/>
                <a:gd name="T190" fmla="*/ 0 h 851"/>
                <a:gd name="T191" fmla="*/ 873 w 873"/>
                <a:gd name="T192" fmla="*/ 851 h 85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3" h="851">
                  <a:moveTo>
                    <a:pt x="838" y="614"/>
                  </a:moveTo>
                  <a:lnTo>
                    <a:pt x="831" y="585"/>
                  </a:lnTo>
                  <a:lnTo>
                    <a:pt x="823" y="575"/>
                  </a:lnTo>
                  <a:lnTo>
                    <a:pt x="813" y="571"/>
                  </a:lnTo>
                  <a:lnTo>
                    <a:pt x="795" y="553"/>
                  </a:lnTo>
                  <a:lnTo>
                    <a:pt x="790" y="540"/>
                  </a:lnTo>
                  <a:lnTo>
                    <a:pt x="785" y="534"/>
                  </a:lnTo>
                  <a:lnTo>
                    <a:pt x="782" y="520"/>
                  </a:lnTo>
                  <a:lnTo>
                    <a:pt x="785" y="500"/>
                  </a:lnTo>
                  <a:lnTo>
                    <a:pt x="773" y="473"/>
                  </a:lnTo>
                  <a:lnTo>
                    <a:pt x="780" y="441"/>
                  </a:lnTo>
                  <a:lnTo>
                    <a:pt x="779" y="433"/>
                  </a:lnTo>
                  <a:lnTo>
                    <a:pt x="774" y="435"/>
                  </a:lnTo>
                  <a:lnTo>
                    <a:pt x="783" y="394"/>
                  </a:lnTo>
                  <a:lnTo>
                    <a:pt x="782" y="374"/>
                  </a:lnTo>
                  <a:lnTo>
                    <a:pt x="769" y="357"/>
                  </a:lnTo>
                  <a:lnTo>
                    <a:pt x="769" y="349"/>
                  </a:lnTo>
                  <a:lnTo>
                    <a:pt x="798" y="301"/>
                  </a:lnTo>
                  <a:lnTo>
                    <a:pt x="801" y="300"/>
                  </a:lnTo>
                  <a:lnTo>
                    <a:pt x="811" y="221"/>
                  </a:lnTo>
                  <a:lnTo>
                    <a:pt x="848" y="169"/>
                  </a:lnTo>
                  <a:lnTo>
                    <a:pt x="862" y="160"/>
                  </a:lnTo>
                  <a:lnTo>
                    <a:pt x="868" y="153"/>
                  </a:lnTo>
                  <a:lnTo>
                    <a:pt x="873" y="146"/>
                  </a:lnTo>
                  <a:lnTo>
                    <a:pt x="871" y="140"/>
                  </a:lnTo>
                  <a:lnTo>
                    <a:pt x="869" y="135"/>
                  </a:lnTo>
                  <a:lnTo>
                    <a:pt x="863" y="133"/>
                  </a:lnTo>
                  <a:lnTo>
                    <a:pt x="854" y="127"/>
                  </a:lnTo>
                  <a:lnTo>
                    <a:pt x="852" y="119"/>
                  </a:lnTo>
                  <a:lnTo>
                    <a:pt x="854" y="86"/>
                  </a:lnTo>
                  <a:lnTo>
                    <a:pt x="857" y="79"/>
                  </a:lnTo>
                  <a:lnTo>
                    <a:pt x="856" y="75"/>
                  </a:lnTo>
                  <a:lnTo>
                    <a:pt x="851" y="76"/>
                  </a:lnTo>
                  <a:lnTo>
                    <a:pt x="798" y="29"/>
                  </a:lnTo>
                  <a:lnTo>
                    <a:pt x="787" y="38"/>
                  </a:lnTo>
                  <a:lnTo>
                    <a:pt x="778" y="39"/>
                  </a:lnTo>
                  <a:lnTo>
                    <a:pt x="756" y="34"/>
                  </a:lnTo>
                  <a:lnTo>
                    <a:pt x="751" y="42"/>
                  </a:lnTo>
                  <a:lnTo>
                    <a:pt x="745" y="44"/>
                  </a:lnTo>
                  <a:lnTo>
                    <a:pt x="726" y="36"/>
                  </a:lnTo>
                  <a:lnTo>
                    <a:pt x="717" y="21"/>
                  </a:lnTo>
                  <a:lnTo>
                    <a:pt x="706" y="14"/>
                  </a:lnTo>
                  <a:lnTo>
                    <a:pt x="701" y="4"/>
                  </a:lnTo>
                  <a:lnTo>
                    <a:pt x="677" y="4"/>
                  </a:lnTo>
                  <a:lnTo>
                    <a:pt x="671" y="13"/>
                  </a:lnTo>
                  <a:lnTo>
                    <a:pt x="661" y="6"/>
                  </a:lnTo>
                  <a:lnTo>
                    <a:pt x="655" y="13"/>
                  </a:lnTo>
                  <a:lnTo>
                    <a:pt x="643" y="0"/>
                  </a:lnTo>
                  <a:lnTo>
                    <a:pt x="612" y="6"/>
                  </a:lnTo>
                  <a:lnTo>
                    <a:pt x="595" y="2"/>
                  </a:lnTo>
                  <a:lnTo>
                    <a:pt x="593" y="13"/>
                  </a:lnTo>
                  <a:lnTo>
                    <a:pt x="583" y="13"/>
                  </a:lnTo>
                  <a:lnTo>
                    <a:pt x="576" y="16"/>
                  </a:lnTo>
                  <a:lnTo>
                    <a:pt x="569" y="13"/>
                  </a:lnTo>
                  <a:lnTo>
                    <a:pt x="571" y="13"/>
                  </a:lnTo>
                  <a:lnTo>
                    <a:pt x="569" y="9"/>
                  </a:lnTo>
                  <a:lnTo>
                    <a:pt x="565" y="9"/>
                  </a:lnTo>
                  <a:lnTo>
                    <a:pt x="509" y="27"/>
                  </a:lnTo>
                  <a:lnTo>
                    <a:pt x="502" y="22"/>
                  </a:lnTo>
                  <a:lnTo>
                    <a:pt x="487" y="20"/>
                  </a:lnTo>
                  <a:lnTo>
                    <a:pt x="475" y="27"/>
                  </a:lnTo>
                  <a:lnTo>
                    <a:pt x="474" y="42"/>
                  </a:lnTo>
                  <a:lnTo>
                    <a:pt x="467" y="44"/>
                  </a:lnTo>
                  <a:lnTo>
                    <a:pt x="425" y="44"/>
                  </a:lnTo>
                  <a:lnTo>
                    <a:pt x="406" y="38"/>
                  </a:lnTo>
                  <a:lnTo>
                    <a:pt x="394" y="31"/>
                  </a:lnTo>
                  <a:lnTo>
                    <a:pt x="387" y="37"/>
                  </a:lnTo>
                  <a:lnTo>
                    <a:pt x="381" y="36"/>
                  </a:lnTo>
                  <a:lnTo>
                    <a:pt x="365" y="21"/>
                  </a:lnTo>
                  <a:lnTo>
                    <a:pt x="363" y="13"/>
                  </a:lnTo>
                  <a:lnTo>
                    <a:pt x="355" y="5"/>
                  </a:lnTo>
                  <a:lnTo>
                    <a:pt x="332" y="4"/>
                  </a:lnTo>
                  <a:lnTo>
                    <a:pt x="315" y="18"/>
                  </a:lnTo>
                  <a:lnTo>
                    <a:pt x="309" y="31"/>
                  </a:lnTo>
                  <a:lnTo>
                    <a:pt x="303" y="35"/>
                  </a:lnTo>
                  <a:lnTo>
                    <a:pt x="300" y="63"/>
                  </a:lnTo>
                  <a:lnTo>
                    <a:pt x="302" y="69"/>
                  </a:lnTo>
                  <a:lnTo>
                    <a:pt x="291" y="71"/>
                  </a:lnTo>
                  <a:lnTo>
                    <a:pt x="294" y="86"/>
                  </a:lnTo>
                  <a:lnTo>
                    <a:pt x="264" y="153"/>
                  </a:lnTo>
                  <a:lnTo>
                    <a:pt x="248" y="274"/>
                  </a:lnTo>
                  <a:lnTo>
                    <a:pt x="220" y="293"/>
                  </a:lnTo>
                  <a:lnTo>
                    <a:pt x="186" y="336"/>
                  </a:lnTo>
                  <a:lnTo>
                    <a:pt x="175" y="401"/>
                  </a:lnTo>
                  <a:lnTo>
                    <a:pt x="151" y="432"/>
                  </a:lnTo>
                  <a:lnTo>
                    <a:pt x="120" y="454"/>
                  </a:lnTo>
                  <a:lnTo>
                    <a:pt x="104" y="462"/>
                  </a:lnTo>
                  <a:lnTo>
                    <a:pt x="94" y="459"/>
                  </a:lnTo>
                  <a:lnTo>
                    <a:pt x="93" y="443"/>
                  </a:lnTo>
                  <a:lnTo>
                    <a:pt x="91" y="440"/>
                  </a:lnTo>
                  <a:lnTo>
                    <a:pt x="69" y="445"/>
                  </a:lnTo>
                  <a:lnTo>
                    <a:pt x="62" y="450"/>
                  </a:lnTo>
                  <a:lnTo>
                    <a:pt x="56" y="460"/>
                  </a:lnTo>
                  <a:lnTo>
                    <a:pt x="46" y="463"/>
                  </a:lnTo>
                  <a:lnTo>
                    <a:pt x="32" y="454"/>
                  </a:lnTo>
                  <a:lnTo>
                    <a:pt x="29" y="455"/>
                  </a:lnTo>
                  <a:lnTo>
                    <a:pt x="15" y="469"/>
                  </a:lnTo>
                  <a:lnTo>
                    <a:pt x="9" y="504"/>
                  </a:lnTo>
                  <a:lnTo>
                    <a:pt x="0" y="508"/>
                  </a:lnTo>
                  <a:lnTo>
                    <a:pt x="3" y="517"/>
                  </a:lnTo>
                  <a:lnTo>
                    <a:pt x="0" y="523"/>
                  </a:lnTo>
                  <a:lnTo>
                    <a:pt x="2" y="527"/>
                  </a:lnTo>
                  <a:lnTo>
                    <a:pt x="3" y="524"/>
                  </a:lnTo>
                  <a:lnTo>
                    <a:pt x="46" y="507"/>
                  </a:lnTo>
                  <a:lnTo>
                    <a:pt x="96" y="506"/>
                  </a:lnTo>
                  <a:lnTo>
                    <a:pt x="103" y="507"/>
                  </a:lnTo>
                  <a:lnTo>
                    <a:pt x="181" y="506"/>
                  </a:lnTo>
                  <a:lnTo>
                    <a:pt x="183" y="507"/>
                  </a:lnTo>
                  <a:lnTo>
                    <a:pt x="187" y="513"/>
                  </a:lnTo>
                  <a:lnTo>
                    <a:pt x="190" y="513"/>
                  </a:lnTo>
                  <a:lnTo>
                    <a:pt x="194" y="512"/>
                  </a:lnTo>
                  <a:lnTo>
                    <a:pt x="213" y="574"/>
                  </a:lnTo>
                  <a:lnTo>
                    <a:pt x="241" y="608"/>
                  </a:lnTo>
                  <a:lnTo>
                    <a:pt x="252" y="612"/>
                  </a:lnTo>
                  <a:lnTo>
                    <a:pt x="263" y="612"/>
                  </a:lnTo>
                  <a:lnTo>
                    <a:pt x="291" y="604"/>
                  </a:lnTo>
                  <a:lnTo>
                    <a:pt x="321" y="605"/>
                  </a:lnTo>
                  <a:lnTo>
                    <a:pt x="325" y="587"/>
                  </a:lnTo>
                  <a:lnTo>
                    <a:pt x="328" y="583"/>
                  </a:lnTo>
                  <a:lnTo>
                    <a:pt x="333" y="560"/>
                  </a:lnTo>
                  <a:lnTo>
                    <a:pt x="369" y="560"/>
                  </a:lnTo>
                  <a:lnTo>
                    <a:pt x="370" y="555"/>
                  </a:lnTo>
                  <a:lnTo>
                    <a:pt x="390" y="555"/>
                  </a:lnTo>
                  <a:lnTo>
                    <a:pt x="389" y="573"/>
                  </a:lnTo>
                  <a:lnTo>
                    <a:pt x="430" y="574"/>
                  </a:lnTo>
                  <a:lnTo>
                    <a:pt x="434" y="584"/>
                  </a:lnTo>
                  <a:lnTo>
                    <a:pt x="440" y="648"/>
                  </a:lnTo>
                  <a:lnTo>
                    <a:pt x="437" y="662"/>
                  </a:lnTo>
                  <a:lnTo>
                    <a:pt x="439" y="680"/>
                  </a:lnTo>
                  <a:lnTo>
                    <a:pt x="458" y="724"/>
                  </a:lnTo>
                  <a:lnTo>
                    <a:pt x="457" y="730"/>
                  </a:lnTo>
                  <a:lnTo>
                    <a:pt x="443" y="745"/>
                  </a:lnTo>
                  <a:lnTo>
                    <a:pt x="443" y="748"/>
                  </a:lnTo>
                  <a:lnTo>
                    <a:pt x="444" y="750"/>
                  </a:lnTo>
                  <a:lnTo>
                    <a:pt x="445" y="751"/>
                  </a:lnTo>
                  <a:lnTo>
                    <a:pt x="449" y="752"/>
                  </a:lnTo>
                  <a:lnTo>
                    <a:pt x="454" y="758"/>
                  </a:lnTo>
                  <a:lnTo>
                    <a:pt x="459" y="759"/>
                  </a:lnTo>
                  <a:lnTo>
                    <a:pt x="461" y="758"/>
                  </a:lnTo>
                  <a:lnTo>
                    <a:pt x="465" y="746"/>
                  </a:lnTo>
                  <a:lnTo>
                    <a:pt x="469" y="744"/>
                  </a:lnTo>
                  <a:lnTo>
                    <a:pt x="511" y="744"/>
                  </a:lnTo>
                  <a:lnTo>
                    <a:pt x="521" y="741"/>
                  </a:lnTo>
                  <a:lnTo>
                    <a:pt x="527" y="743"/>
                  </a:lnTo>
                  <a:lnTo>
                    <a:pt x="530" y="743"/>
                  </a:lnTo>
                  <a:lnTo>
                    <a:pt x="537" y="737"/>
                  </a:lnTo>
                  <a:lnTo>
                    <a:pt x="539" y="737"/>
                  </a:lnTo>
                  <a:lnTo>
                    <a:pt x="551" y="735"/>
                  </a:lnTo>
                  <a:lnTo>
                    <a:pt x="552" y="735"/>
                  </a:lnTo>
                  <a:lnTo>
                    <a:pt x="558" y="744"/>
                  </a:lnTo>
                  <a:lnTo>
                    <a:pt x="557" y="755"/>
                  </a:lnTo>
                  <a:lnTo>
                    <a:pt x="559" y="758"/>
                  </a:lnTo>
                  <a:lnTo>
                    <a:pt x="561" y="759"/>
                  </a:lnTo>
                  <a:lnTo>
                    <a:pt x="577" y="753"/>
                  </a:lnTo>
                  <a:lnTo>
                    <a:pt x="583" y="753"/>
                  </a:lnTo>
                  <a:lnTo>
                    <a:pt x="592" y="749"/>
                  </a:lnTo>
                  <a:lnTo>
                    <a:pt x="597" y="756"/>
                  </a:lnTo>
                  <a:lnTo>
                    <a:pt x="599" y="763"/>
                  </a:lnTo>
                  <a:lnTo>
                    <a:pt x="603" y="768"/>
                  </a:lnTo>
                  <a:lnTo>
                    <a:pt x="640" y="786"/>
                  </a:lnTo>
                  <a:lnTo>
                    <a:pt x="651" y="786"/>
                  </a:lnTo>
                  <a:lnTo>
                    <a:pt x="675" y="778"/>
                  </a:lnTo>
                  <a:lnTo>
                    <a:pt x="680" y="778"/>
                  </a:lnTo>
                  <a:lnTo>
                    <a:pt x="695" y="794"/>
                  </a:lnTo>
                  <a:lnTo>
                    <a:pt x="717" y="803"/>
                  </a:lnTo>
                  <a:lnTo>
                    <a:pt x="726" y="803"/>
                  </a:lnTo>
                  <a:lnTo>
                    <a:pt x="731" y="809"/>
                  </a:lnTo>
                  <a:lnTo>
                    <a:pt x="738" y="825"/>
                  </a:lnTo>
                  <a:lnTo>
                    <a:pt x="762" y="841"/>
                  </a:lnTo>
                  <a:lnTo>
                    <a:pt x="778" y="847"/>
                  </a:lnTo>
                  <a:lnTo>
                    <a:pt x="781" y="847"/>
                  </a:lnTo>
                  <a:lnTo>
                    <a:pt x="786" y="844"/>
                  </a:lnTo>
                  <a:lnTo>
                    <a:pt x="790" y="844"/>
                  </a:lnTo>
                  <a:lnTo>
                    <a:pt x="794" y="850"/>
                  </a:lnTo>
                  <a:lnTo>
                    <a:pt x="797" y="851"/>
                  </a:lnTo>
                  <a:lnTo>
                    <a:pt x="800" y="851"/>
                  </a:lnTo>
                  <a:lnTo>
                    <a:pt x="802" y="849"/>
                  </a:lnTo>
                  <a:lnTo>
                    <a:pt x="800" y="807"/>
                  </a:lnTo>
                  <a:lnTo>
                    <a:pt x="798" y="801"/>
                  </a:lnTo>
                  <a:lnTo>
                    <a:pt x="793" y="800"/>
                  </a:lnTo>
                  <a:lnTo>
                    <a:pt x="786" y="804"/>
                  </a:lnTo>
                  <a:lnTo>
                    <a:pt x="766" y="802"/>
                  </a:lnTo>
                  <a:lnTo>
                    <a:pt x="760" y="798"/>
                  </a:lnTo>
                  <a:lnTo>
                    <a:pt x="746" y="780"/>
                  </a:lnTo>
                  <a:lnTo>
                    <a:pt x="746" y="772"/>
                  </a:lnTo>
                  <a:lnTo>
                    <a:pt x="763" y="697"/>
                  </a:lnTo>
                  <a:lnTo>
                    <a:pt x="756" y="661"/>
                  </a:lnTo>
                  <a:lnTo>
                    <a:pt x="771" y="631"/>
                  </a:lnTo>
                  <a:lnTo>
                    <a:pt x="776" y="629"/>
                  </a:lnTo>
                  <a:lnTo>
                    <a:pt x="838" y="6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1" name="Freeform 230"/>
            <p:cNvSpPr>
              <a:spLocks/>
            </p:cNvSpPr>
            <p:nvPr/>
          </p:nvSpPr>
          <p:spPr bwMode="auto">
            <a:xfrm>
              <a:off x="5166549" y="1642456"/>
              <a:ext cx="1157680" cy="794096"/>
            </a:xfrm>
            <a:custGeom>
              <a:avLst/>
              <a:gdLst>
                <a:gd name="T0" fmla="*/ 128 w 967"/>
                <a:gd name="T1" fmla="*/ 48 h 795"/>
                <a:gd name="T2" fmla="*/ 128 w 967"/>
                <a:gd name="T3" fmla="*/ 50 h 795"/>
                <a:gd name="T4" fmla="*/ 130 w 967"/>
                <a:gd name="T5" fmla="*/ 51 h 795"/>
                <a:gd name="T6" fmla="*/ 157 w 967"/>
                <a:gd name="T7" fmla="*/ 60 h 795"/>
                <a:gd name="T8" fmla="*/ 156 w 967"/>
                <a:gd name="T9" fmla="*/ 76 h 795"/>
                <a:gd name="T10" fmla="*/ 110 w 967"/>
                <a:gd name="T11" fmla="*/ 84 h 795"/>
                <a:gd name="T12" fmla="*/ 98 w 967"/>
                <a:gd name="T13" fmla="*/ 93 h 795"/>
                <a:gd name="T14" fmla="*/ 93 w 967"/>
                <a:gd name="T15" fmla="*/ 92 h 795"/>
                <a:gd name="T16" fmla="*/ 68 w 967"/>
                <a:gd name="T17" fmla="*/ 93 h 795"/>
                <a:gd name="T18" fmla="*/ 64 w 967"/>
                <a:gd name="T19" fmla="*/ 95 h 795"/>
                <a:gd name="T20" fmla="*/ 62 w 967"/>
                <a:gd name="T21" fmla="*/ 97 h 795"/>
                <a:gd name="T22" fmla="*/ 61 w 967"/>
                <a:gd name="T23" fmla="*/ 95 h 795"/>
                <a:gd name="T24" fmla="*/ 59 w 967"/>
                <a:gd name="T25" fmla="*/ 92 h 795"/>
                <a:gd name="T26" fmla="*/ 55 w 967"/>
                <a:gd name="T27" fmla="*/ 88 h 795"/>
                <a:gd name="T28" fmla="*/ 50 w 967"/>
                <a:gd name="T29" fmla="*/ 83 h 795"/>
                <a:gd name="T30" fmla="*/ 41 w 967"/>
                <a:gd name="T31" fmla="*/ 74 h 795"/>
                <a:gd name="T32" fmla="*/ 36 w 967"/>
                <a:gd name="T33" fmla="*/ 72 h 795"/>
                <a:gd name="T34" fmla="*/ 34 w 967"/>
                <a:gd name="T35" fmla="*/ 64 h 795"/>
                <a:gd name="T36" fmla="*/ 33 w 967"/>
                <a:gd name="T37" fmla="*/ 59 h 795"/>
                <a:gd name="T38" fmla="*/ 25 w 967"/>
                <a:gd name="T39" fmla="*/ 51 h 795"/>
                <a:gd name="T40" fmla="*/ 24 w 967"/>
                <a:gd name="T41" fmla="*/ 50 h 795"/>
                <a:gd name="T42" fmla="*/ 22 w 967"/>
                <a:gd name="T43" fmla="*/ 50 h 795"/>
                <a:gd name="T44" fmla="*/ 20 w 967"/>
                <a:gd name="T45" fmla="*/ 46 h 795"/>
                <a:gd name="T46" fmla="*/ 16 w 967"/>
                <a:gd name="T47" fmla="*/ 41 h 795"/>
                <a:gd name="T48" fmla="*/ 14 w 967"/>
                <a:gd name="T49" fmla="*/ 38 h 795"/>
                <a:gd name="T50" fmla="*/ 10 w 967"/>
                <a:gd name="T51" fmla="*/ 34 h 795"/>
                <a:gd name="T52" fmla="*/ 5 w 967"/>
                <a:gd name="T53" fmla="*/ 27 h 795"/>
                <a:gd name="T54" fmla="*/ 1 w 967"/>
                <a:gd name="T55" fmla="*/ 26 h 795"/>
                <a:gd name="T56" fmla="*/ 2 w 967"/>
                <a:gd name="T57" fmla="*/ 24 h 795"/>
                <a:gd name="T58" fmla="*/ 3 w 967"/>
                <a:gd name="T59" fmla="*/ 18 h 795"/>
                <a:gd name="T60" fmla="*/ 14 w 967"/>
                <a:gd name="T61" fmla="*/ 18 h 795"/>
                <a:gd name="T62" fmla="*/ 22 w 967"/>
                <a:gd name="T63" fmla="*/ 12 h 795"/>
                <a:gd name="T64" fmla="*/ 17 w 967"/>
                <a:gd name="T65" fmla="*/ 4 h 795"/>
                <a:gd name="T66" fmla="*/ 64 w 967"/>
                <a:gd name="T67" fmla="*/ 10 h 795"/>
                <a:gd name="T68" fmla="*/ 69 w 967"/>
                <a:gd name="T69" fmla="*/ 12 h 795"/>
                <a:gd name="T70" fmla="*/ 78 w 967"/>
                <a:gd name="T71" fmla="*/ 19 h 795"/>
                <a:gd name="T72" fmla="*/ 99 w 967"/>
                <a:gd name="T73" fmla="*/ 22 h 795"/>
                <a:gd name="T74" fmla="*/ 108 w 967"/>
                <a:gd name="T75" fmla="*/ 28 h 795"/>
                <a:gd name="T76" fmla="*/ 112 w 967"/>
                <a:gd name="T77" fmla="*/ 31 h 795"/>
                <a:gd name="T78" fmla="*/ 112 w 967"/>
                <a:gd name="T79" fmla="*/ 32 h 795"/>
                <a:gd name="T80" fmla="*/ 117 w 967"/>
                <a:gd name="T81" fmla="*/ 35 h 795"/>
                <a:gd name="T82" fmla="*/ 119 w 967"/>
                <a:gd name="T83" fmla="*/ 38 h 795"/>
                <a:gd name="T84" fmla="*/ 118 w 967"/>
                <a:gd name="T85" fmla="*/ 39 h 795"/>
                <a:gd name="T86" fmla="*/ 122 w 967"/>
                <a:gd name="T87" fmla="*/ 45 h 795"/>
                <a:gd name="T88" fmla="*/ 123 w 967"/>
                <a:gd name="T89" fmla="*/ 47 h 795"/>
                <a:gd name="T90" fmla="*/ 124 w 967"/>
                <a:gd name="T91" fmla="*/ 48 h 795"/>
                <a:gd name="T92" fmla="*/ 129 w 967"/>
                <a:gd name="T93" fmla="*/ 48 h 7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67"/>
                <a:gd name="T142" fmla="*/ 0 h 795"/>
                <a:gd name="T143" fmla="*/ 967 w 967"/>
                <a:gd name="T144" fmla="*/ 795 h 7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67" h="795">
                  <a:moveTo>
                    <a:pt x="771" y="392"/>
                  </a:moveTo>
                  <a:lnTo>
                    <a:pt x="768" y="396"/>
                  </a:lnTo>
                  <a:lnTo>
                    <a:pt x="769" y="399"/>
                  </a:lnTo>
                  <a:lnTo>
                    <a:pt x="771" y="400"/>
                  </a:lnTo>
                  <a:lnTo>
                    <a:pt x="768" y="405"/>
                  </a:lnTo>
                  <a:lnTo>
                    <a:pt x="768" y="411"/>
                  </a:lnTo>
                  <a:lnTo>
                    <a:pt x="775" y="410"/>
                  </a:lnTo>
                  <a:lnTo>
                    <a:pt x="778" y="413"/>
                  </a:lnTo>
                  <a:lnTo>
                    <a:pt x="778" y="420"/>
                  </a:lnTo>
                  <a:lnTo>
                    <a:pt x="825" y="478"/>
                  </a:lnTo>
                  <a:lnTo>
                    <a:pt x="941" y="493"/>
                  </a:lnTo>
                  <a:lnTo>
                    <a:pt x="944" y="490"/>
                  </a:lnTo>
                  <a:lnTo>
                    <a:pt x="944" y="491"/>
                  </a:lnTo>
                  <a:lnTo>
                    <a:pt x="967" y="525"/>
                  </a:lnTo>
                  <a:lnTo>
                    <a:pt x="935" y="623"/>
                  </a:lnTo>
                  <a:lnTo>
                    <a:pt x="798" y="671"/>
                  </a:lnTo>
                  <a:lnTo>
                    <a:pt x="798" y="670"/>
                  </a:lnTo>
                  <a:lnTo>
                    <a:pt x="664" y="690"/>
                  </a:lnTo>
                  <a:lnTo>
                    <a:pt x="622" y="711"/>
                  </a:lnTo>
                  <a:lnTo>
                    <a:pt x="596" y="747"/>
                  </a:lnTo>
                  <a:lnTo>
                    <a:pt x="591" y="762"/>
                  </a:lnTo>
                  <a:lnTo>
                    <a:pt x="576" y="770"/>
                  </a:lnTo>
                  <a:lnTo>
                    <a:pt x="569" y="770"/>
                  </a:lnTo>
                  <a:lnTo>
                    <a:pt x="557" y="750"/>
                  </a:lnTo>
                  <a:lnTo>
                    <a:pt x="447" y="747"/>
                  </a:lnTo>
                  <a:lnTo>
                    <a:pt x="424" y="762"/>
                  </a:lnTo>
                  <a:lnTo>
                    <a:pt x="407" y="764"/>
                  </a:lnTo>
                  <a:lnTo>
                    <a:pt x="402" y="767"/>
                  </a:lnTo>
                  <a:lnTo>
                    <a:pt x="399" y="774"/>
                  </a:lnTo>
                  <a:lnTo>
                    <a:pt x="386" y="780"/>
                  </a:lnTo>
                  <a:lnTo>
                    <a:pt x="385" y="787"/>
                  </a:lnTo>
                  <a:lnTo>
                    <a:pt x="381" y="791"/>
                  </a:lnTo>
                  <a:lnTo>
                    <a:pt x="372" y="795"/>
                  </a:lnTo>
                  <a:lnTo>
                    <a:pt x="370" y="789"/>
                  </a:lnTo>
                  <a:lnTo>
                    <a:pt x="370" y="781"/>
                  </a:lnTo>
                  <a:lnTo>
                    <a:pt x="359" y="763"/>
                  </a:lnTo>
                  <a:lnTo>
                    <a:pt x="357" y="761"/>
                  </a:lnTo>
                  <a:lnTo>
                    <a:pt x="353" y="756"/>
                  </a:lnTo>
                  <a:lnTo>
                    <a:pt x="350" y="742"/>
                  </a:lnTo>
                  <a:lnTo>
                    <a:pt x="335" y="727"/>
                  </a:lnTo>
                  <a:lnTo>
                    <a:pt x="327" y="724"/>
                  </a:lnTo>
                  <a:lnTo>
                    <a:pt x="306" y="688"/>
                  </a:lnTo>
                  <a:lnTo>
                    <a:pt x="301" y="685"/>
                  </a:lnTo>
                  <a:lnTo>
                    <a:pt x="300" y="683"/>
                  </a:lnTo>
                  <a:lnTo>
                    <a:pt x="297" y="663"/>
                  </a:lnTo>
                  <a:lnTo>
                    <a:pt x="270" y="623"/>
                  </a:lnTo>
                  <a:lnTo>
                    <a:pt x="246" y="606"/>
                  </a:lnTo>
                  <a:lnTo>
                    <a:pt x="244" y="607"/>
                  </a:lnTo>
                  <a:lnTo>
                    <a:pt x="227" y="598"/>
                  </a:lnTo>
                  <a:lnTo>
                    <a:pt x="218" y="589"/>
                  </a:lnTo>
                  <a:lnTo>
                    <a:pt x="204" y="534"/>
                  </a:lnTo>
                  <a:lnTo>
                    <a:pt x="201" y="529"/>
                  </a:lnTo>
                  <a:lnTo>
                    <a:pt x="200" y="525"/>
                  </a:lnTo>
                  <a:lnTo>
                    <a:pt x="202" y="523"/>
                  </a:lnTo>
                  <a:lnTo>
                    <a:pt x="206" y="505"/>
                  </a:lnTo>
                  <a:lnTo>
                    <a:pt x="199" y="488"/>
                  </a:lnTo>
                  <a:lnTo>
                    <a:pt x="196" y="484"/>
                  </a:lnTo>
                  <a:lnTo>
                    <a:pt x="174" y="435"/>
                  </a:lnTo>
                  <a:lnTo>
                    <a:pt x="152" y="415"/>
                  </a:lnTo>
                  <a:lnTo>
                    <a:pt x="149" y="415"/>
                  </a:lnTo>
                  <a:lnTo>
                    <a:pt x="148" y="412"/>
                  </a:lnTo>
                  <a:lnTo>
                    <a:pt x="142" y="409"/>
                  </a:lnTo>
                  <a:lnTo>
                    <a:pt x="136" y="409"/>
                  </a:lnTo>
                  <a:lnTo>
                    <a:pt x="133" y="410"/>
                  </a:lnTo>
                  <a:lnTo>
                    <a:pt x="130" y="408"/>
                  </a:lnTo>
                  <a:lnTo>
                    <a:pt x="128" y="402"/>
                  </a:lnTo>
                  <a:lnTo>
                    <a:pt x="119" y="389"/>
                  </a:lnTo>
                  <a:lnTo>
                    <a:pt x="119" y="381"/>
                  </a:lnTo>
                  <a:lnTo>
                    <a:pt x="120" y="379"/>
                  </a:lnTo>
                  <a:lnTo>
                    <a:pt x="101" y="338"/>
                  </a:lnTo>
                  <a:lnTo>
                    <a:pt x="94" y="335"/>
                  </a:lnTo>
                  <a:lnTo>
                    <a:pt x="92" y="331"/>
                  </a:lnTo>
                  <a:lnTo>
                    <a:pt x="90" y="325"/>
                  </a:lnTo>
                  <a:lnTo>
                    <a:pt x="81" y="313"/>
                  </a:lnTo>
                  <a:lnTo>
                    <a:pt x="73" y="293"/>
                  </a:lnTo>
                  <a:lnTo>
                    <a:pt x="68" y="286"/>
                  </a:lnTo>
                  <a:lnTo>
                    <a:pt x="62" y="281"/>
                  </a:lnTo>
                  <a:lnTo>
                    <a:pt x="52" y="268"/>
                  </a:lnTo>
                  <a:lnTo>
                    <a:pt x="51" y="263"/>
                  </a:lnTo>
                  <a:lnTo>
                    <a:pt x="27" y="220"/>
                  </a:lnTo>
                  <a:lnTo>
                    <a:pt x="22" y="216"/>
                  </a:lnTo>
                  <a:lnTo>
                    <a:pt x="8" y="215"/>
                  </a:lnTo>
                  <a:lnTo>
                    <a:pt x="6" y="214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10" y="196"/>
                  </a:lnTo>
                  <a:lnTo>
                    <a:pt x="13" y="170"/>
                  </a:lnTo>
                  <a:lnTo>
                    <a:pt x="16" y="161"/>
                  </a:lnTo>
                  <a:lnTo>
                    <a:pt x="16" y="149"/>
                  </a:lnTo>
                  <a:lnTo>
                    <a:pt x="17" y="156"/>
                  </a:lnTo>
                  <a:lnTo>
                    <a:pt x="68" y="163"/>
                  </a:lnTo>
                  <a:lnTo>
                    <a:pt x="83" y="148"/>
                  </a:lnTo>
                  <a:lnTo>
                    <a:pt x="95" y="124"/>
                  </a:lnTo>
                  <a:lnTo>
                    <a:pt x="130" y="119"/>
                  </a:lnTo>
                  <a:lnTo>
                    <a:pt x="137" y="98"/>
                  </a:lnTo>
                  <a:lnTo>
                    <a:pt x="156" y="87"/>
                  </a:lnTo>
                  <a:lnTo>
                    <a:pt x="156" y="86"/>
                  </a:lnTo>
                  <a:lnTo>
                    <a:pt x="105" y="36"/>
                  </a:lnTo>
                  <a:lnTo>
                    <a:pt x="194" y="17"/>
                  </a:lnTo>
                  <a:lnTo>
                    <a:pt x="208" y="0"/>
                  </a:lnTo>
                  <a:lnTo>
                    <a:pt x="381" y="80"/>
                  </a:lnTo>
                  <a:lnTo>
                    <a:pt x="388" y="96"/>
                  </a:lnTo>
                  <a:lnTo>
                    <a:pt x="412" y="98"/>
                  </a:lnTo>
                  <a:lnTo>
                    <a:pt x="414" y="100"/>
                  </a:lnTo>
                  <a:lnTo>
                    <a:pt x="414" y="133"/>
                  </a:lnTo>
                  <a:lnTo>
                    <a:pt x="416" y="136"/>
                  </a:lnTo>
                  <a:lnTo>
                    <a:pt x="469" y="159"/>
                  </a:lnTo>
                  <a:lnTo>
                    <a:pt x="550" y="164"/>
                  </a:lnTo>
                  <a:lnTo>
                    <a:pt x="588" y="175"/>
                  </a:lnTo>
                  <a:lnTo>
                    <a:pt x="595" y="180"/>
                  </a:lnTo>
                  <a:lnTo>
                    <a:pt x="603" y="193"/>
                  </a:lnTo>
                  <a:lnTo>
                    <a:pt x="631" y="193"/>
                  </a:lnTo>
                  <a:lnTo>
                    <a:pt x="649" y="230"/>
                  </a:lnTo>
                  <a:lnTo>
                    <a:pt x="657" y="233"/>
                  </a:lnTo>
                  <a:lnTo>
                    <a:pt x="662" y="243"/>
                  </a:lnTo>
                  <a:lnTo>
                    <a:pt x="673" y="251"/>
                  </a:lnTo>
                  <a:lnTo>
                    <a:pt x="673" y="252"/>
                  </a:lnTo>
                  <a:lnTo>
                    <a:pt x="671" y="254"/>
                  </a:lnTo>
                  <a:lnTo>
                    <a:pt x="673" y="259"/>
                  </a:lnTo>
                  <a:lnTo>
                    <a:pt x="675" y="266"/>
                  </a:lnTo>
                  <a:lnTo>
                    <a:pt x="683" y="268"/>
                  </a:lnTo>
                  <a:lnTo>
                    <a:pt x="704" y="284"/>
                  </a:lnTo>
                  <a:lnTo>
                    <a:pt x="708" y="291"/>
                  </a:lnTo>
                  <a:lnTo>
                    <a:pt x="707" y="299"/>
                  </a:lnTo>
                  <a:lnTo>
                    <a:pt x="713" y="308"/>
                  </a:lnTo>
                  <a:lnTo>
                    <a:pt x="715" y="314"/>
                  </a:lnTo>
                  <a:lnTo>
                    <a:pt x="714" y="318"/>
                  </a:lnTo>
                  <a:lnTo>
                    <a:pt x="710" y="324"/>
                  </a:lnTo>
                  <a:lnTo>
                    <a:pt x="710" y="334"/>
                  </a:lnTo>
                  <a:lnTo>
                    <a:pt x="729" y="356"/>
                  </a:lnTo>
                  <a:lnTo>
                    <a:pt x="732" y="371"/>
                  </a:lnTo>
                  <a:lnTo>
                    <a:pt x="736" y="376"/>
                  </a:lnTo>
                  <a:lnTo>
                    <a:pt x="737" y="381"/>
                  </a:lnTo>
                  <a:lnTo>
                    <a:pt x="739" y="383"/>
                  </a:lnTo>
                  <a:lnTo>
                    <a:pt x="740" y="388"/>
                  </a:lnTo>
                  <a:lnTo>
                    <a:pt x="742" y="388"/>
                  </a:lnTo>
                  <a:lnTo>
                    <a:pt x="748" y="398"/>
                  </a:lnTo>
                  <a:lnTo>
                    <a:pt x="754" y="399"/>
                  </a:lnTo>
                  <a:lnTo>
                    <a:pt x="771" y="3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2" name="Freeform 231"/>
            <p:cNvSpPr>
              <a:spLocks/>
            </p:cNvSpPr>
            <p:nvPr/>
          </p:nvSpPr>
          <p:spPr bwMode="auto">
            <a:xfrm>
              <a:off x="5166549" y="1642456"/>
              <a:ext cx="1157680" cy="794096"/>
            </a:xfrm>
            <a:custGeom>
              <a:avLst/>
              <a:gdLst>
                <a:gd name="T0" fmla="*/ 128 w 967"/>
                <a:gd name="T1" fmla="*/ 48 h 795"/>
                <a:gd name="T2" fmla="*/ 128 w 967"/>
                <a:gd name="T3" fmla="*/ 50 h 795"/>
                <a:gd name="T4" fmla="*/ 130 w 967"/>
                <a:gd name="T5" fmla="*/ 51 h 795"/>
                <a:gd name="T6" fmla="*/ 157 w 967"/>
                <a:gd name="T7" fmla="*/ 60 h 795"/>
                <a:gd name="T8" fmla="*/ 156 w 967"/>
                <a:gd name="T9" fmla="*/ 76 h 795"/>
                <a:gd name="T10" fmla="*/ 110 w 967"/>
                <a:gd name="T11" fmla="*/ 84 h 795"/>
                <a:gd name="T12" fmla="*/ 98 w 967"/>
                <a:gd name="T13" fmla="*/ 93 h 795"/>
                <a:gd name="T14" fmla="*/ 93 w 967"/>
                <a:gd name="T15" fmla="*/ 92 h 795"/>
                <a:gd name="T16" fmla="*/ 68 w 967"/>
                <a:gd name="T17" fmla="*/ 93 h 795"/>
                <a:gd name="T18" fmla="*/ 64 w 967"/>
                <a:gd name="T19" fmla="*/ 95 h 795"/>
                <a:gd name="T20" fmla="*/ 62 w 967"/>
                <a:gd name="T21" fmla="*/ 97 h 795"/>
                <a:gd name="T22" fmla="*/ 61 w 967"/>
                <a:gd name="T23" fmla="*/ 95 h 795"/>
                <a:gd name="T24" fmla="*/ 59 w 967"/>
                <a:gd name="T25" fmla="*/ 92 h 795"/>
                <a:gd name="T26" fmla="*/ 55 w 967"/>
                <a:gd name="T27" fmla="*/ 88 h 795"/>
                <a:gd name="T28" fmla="*/ 50 w 967"/>
                <a:gd name="T29" fmla="*/ 83 h 795"/>
                <a:gd name="T30" fmla="*/ 41 w 967"/>
                <a:gd name="T31" fmla="*/ 74 h 795"/>
                <a:gd name="T32" fmla="*/ 36 w 967"/>
                <a:gd name="T33" fmla="*/ 72 h 795"/>
                <a:gd name="T34" fmla="*/ 34 w 967"/>
                <a:gd name="T35" fmla="*/ 64 h 795"/>
                <a:gd name="T36" fmla="*/ 33 w 967"/>
                <a:gd name="T37" fmla="*/ 59 h 795"/>
                <a:gd name="T38" fmla="*/ 25 w 967"/>
                <a:gd name="T39" fmla="*/ 51 h 795"/>
                <a:gd name="T40" fmla="*/ 24 w 967"/>
                <a:gd name="T41" fmla="*/ 50 h 795"/>
                <a:gd name="T42" fmla="*/ 22 w 967"/>
                <a:gd name="T43" fmla="*/ 50 h 795"/>
                <a:gd name="T44" fmla="*/ 20 w 967"/>
                <a:gd name="T45" fmla="*/ 46 h 795"/>
                <a:gd name="T46" fmla="*/ 16 w 967"/>
                <a:gd name="T47" fmla="*/ 41 h 795"/>
                <a:gd name="T48" fmla="*/ 14 w 967"/>
                <a:gd name="T49" fmla="*/ 38 h 795"/>
                <a:gd name="T50" fmla="*/ 10 w 967"/>
                <a:gd name="T51" fmla="*/ 34 h 795"/>
                <a:gd name="T52" fmla="*/ 5 w 967"/>
                <a:gd name="T53" fmla="*/ 27 h 795"/>
                <a:gd name="T54" fmla="*/ 1 w 967"/>
                <a:gd name="T55" fmla="*/ 26 h 795"/>
                <a:gd name="T56" fmla="*/ 2 w 967"/>
                <a:gd name="T57" fmla="*/ 24 h 795"/>
                <a:gd name="T58" fmla="*/ 3 w 967"/>
                <a:gd name="T59" fmla="*/ 18 h 795"/>
                <a:gd name="T60" fmla="*/ 14 w 967"/>
                <a:gd name="T61" fmla="*/ 18 h 795"/>
                <a:gd name="T62" fmla="*/ 22 w 967"/>
                <a:gd name="T63" fmla="*/ 12 h 795"/>
                <a:gd name="T64" fmla="*/ 17 w 967"/>
                <a:gd name="T65" fmla="*/ 4 h 795"/>
                <a:gd name="T66" fmla="*/ 64 w 967"/>
                <a:gd name="T67" fmla="*/ 10 h 795"/>
                <a:gd name="T68" fmla="*/ 69 w 967"/>
                <a:gd name="T69" fmla="*/ 12 h 795"/>
                <a:gd name="T70" fmla="*/ 78 w 967"/>
                <a:gd name="T71" fmla="*/ 19 h 795"/>
                <a:gd name="T72" fmla="*/ 99 w 967"/>
                <a:gd name="T73" fmla="*/ 22 h 795"/>
                <a:gd name="T74" fmla="*/ 108 w 967"/>
                <a:gd name="T75" fmla="*/ 28 h 795"/>
                <a:gd name="T76" fmla="*/ 112 w 967"/>
                <a:gd name="T77" fmla="*/ 31 h 795"/>
                <a:gd name="T78" fmla="*/ 112 w 967"/>
                <a:gd name="T79" fmla="*/ 32 h 795"/>
                <a:gd name="T80" fmla="*/ 117 w 967"/>
                <a:gd name="T81" fmla="*/ 35 h 795"/>
                <a:gd name="T82" fmla="*/ 119 w 967"/>
                <a:gd name="T83" fmla="*/ 38 h 795"/>
                <a:gd name="T84" fmla="*/ 118 w 967"/>
                <a:gd name="T85" fmla="*/ 39 h 795"/>
                <a:gd name="T86" fmla="*/ 122 w 967"/>
                <a:gd name="T87" fmla="*/ 45 h 795"/>
                <a:gd name="T88" fmla="*/ 123 w 967"/>
                <a:gd name="T89" fmla="*/ 47 h 795"/>
                <a:gd name="T90" fmla="*/ 124 w 967"/>
                <a:gd name="T91" fmla="*/ 48 h 79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7"/>
                <a:gd name="T139" fmla="*/ 0 h 795"/>
                <a:gd name="T140" fmla="*/ 967 w 967"/>
                <a:gd name="T141" fmla="*/ 795 h 79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7" h="795">
                  <a:moveTo>
                    <a:pt x="771" y="392"/>
                  </a:moveTo>
                  <a:lnTo>
                    <a:pt x="768" y="396"/>
                  </a:lnTo>
                  <a:lnTo>
                    <a:pt x="769" y="399"/>
                  </a:lnTo>
                  <a:lnTo>
                    <a:pt x="771" y="400"/>
                  </a:lnTo>
                  <a:lnTo>
                    <a:pt x="768" y="405"/>
                  </a:lnTo>
                  <a:lnTo>
                    <a:pt x="768" y="411"/>
                  </a:lnTo>
                  <a:lnTo>
                    <a:pt x="775" y="410"/>
                  </a:lnTo>
                  <a:lnTo>
                    <a:pt x="778" y="413"/>
                  </a:lnTo>
                  <a:lnTo>
                    <a:pt x="778" y="420"/>
                  </a:lnTo>
                  <a:lnTo>
                    <a:pt x="825" y="478"/>
                  </a:lnTo>
                  <a:lnTo>
                    <a:pt x="941" y="493"/>
                  </a:lnTo>
                  <a:lnTo>
                    <a:pt x="944" y="490"/>
                  </a:lnTo>
                  <a:lnTo>
                    <a:pt x="944" y="491"/>
                  </a:lnTo>
                  <a:lnTo>
                    <a:pt x="967" y="525"/>
                  </a:lnTo>
                  <a:lnTo>
                    <a:pt x="935" y="623"/>
                  </a:lnTo>
                  <a:lnTo>
                    <a:pt x="798" y="671"/>
                  </a:lnTo>
                  <a:lnTo>
                    <a:pt x="798" y="670"/>
                  </a:lnTo>
                  <a:lnTo>
                    <a:pt x="664" y="690"/>
                  </a:lnTo>
                  <a:lnTo>
                    <a:pt x="622" y="711"/>
                  </a:lnTo>
                  <a:lnTo>
                    <a:pt x="596" y="747"/>
                  </a:lnTo>
                  <a:lnTo>
                    <a:pt x="591" y="762"/>
                  </a:lnTo>
                  <a:lnTo>
                    <a:pt x="576" y="770"/>
                  </a:lnTo>
                  <a:lnTo>
                    <a:pt x="569" y="770"/>
                  </a:lnTo>
                  <a:lnTo>
                    <a:pt x="557" y="750"/>
                  </a:lnTo>
                  <a:lnTo>
                    <a:pt x="447" y="747"/>
                  </a:lnTo>
                  <a:lnTo>
                    <a:pt x="424" y="762"/>
                  </a:lnTo>
                  <a:lnTo>
                    <a:pt x="407" y="764"/>
                  </a:lnTo>
                  <a:lnTo>
                    <a:pt x="402" y="767"/>
                  </a:lnTo>
                  <a:lnTo>
                    <a:pt x="399" y="774"/>
                  </a:lnTo>
                  <a:lnTo>
                    <a:pt x="386" y="780"/>
                  </a:lnTo>
                  <a:lnTo>
                    <a:pt x="385" y="787"/>
                  </a:lnTo>
                  <a:lnTo>
                    <a:pt x="381" y="791"/>
                  </a:lnTo>
                  <a:lnTo>
                    <a:pt x="372" y="795"/>
                  </a:lnTo>
                  <a:lnTo>
                    <a:pt x="370" y="789"/>
                  </a:lnTo>
                  <a:lnTo>
                    <a:pt x="370" y="781"/>
                  </a:lnTo>
                  <a:lnTo>
                    <a:pt x="359" y="763"/>
                  </a:lnTo>
                  <a:lnTo>
                    <a:pt x="357" y="761"/>
                  </a:lnTo>
                  <a:lnTo>
                    <a:pt x="353" y="756"/>
                  </a:lnTo>
                  <a:lnTo>
                    <a:pt x="350" y="742"/>
                  </a:lnTo>
                  <a:lnTo>
                    <a:pt x="335" y="727"/>
                  </a:lnTo>
                  <a:lnTo>
                    <a:pt x="327" y="724"/>
                  </a:lnTo>
                  <a:lnTo>
                    <a:pt x="306" y="688"/>
                  </a:lnTo>
                  <a:lnTo>
                    <a:pt x="301" y="685"/>
                  </a:lnTo>
                  <a:lnTo>
                    <a:pt x="300" y="683"/>
                  </a:lnTo>
                  <a:lnTo>
                    <a:pt x="297" y="663"/>
                  </a:lnTo>
                  <a:lnTo>
                    <a:pt x="270" y="623"/>
                  </a:lnTo>
                  <a:lnTo>
                    <a:pt x="246" y="606"/>
                  </a:lnTo>
                  <a:lnTo>
                    <a:pt x="244" y="607"/>
                  </a:lnTo>
                  <a:lnTo>
                    <a:pt x="227" y="598"/>
                  </a:lnTo>
                  <a:lnTo>
                    <a:pt x="218" y="589"/>
                  </a:lnTo>
                  <a:lnTo>
                    <a:pt x="204" y="534"/>
                  </a:lnTo>
                  <a:lnTo>
                    <a:pt x="201" y="529"/>
                  </a:lnTo>
                  <a:lnTo>
                    <a:pt x="200" y="525"/>
                  </a:lnTo>
                  <a:lnTo>
                    <a:pt x="202" y="523"/>
                  </a:lnTo>
                  <a:lnTo>
                    <a:pt x="206" y="505"/>
                  </a:lnTo>
                  <a:lnTo>
                    <a:pt x="199" y="488"/>
                  </a:lnTo>
                  <a:lnTo>
                    <a:pt x="196" y="484"/>
                  </a:lnTo>
                  <a:lnTo>
                    <a:pt x="174" y="435"/>
                  </a:lnTo>
                  <a:lnTo>
                    <a:pt x="152" y="415"/>
                  </a:lnTo>
                  <a:lnTo>
                    <a:pt x="149" y="415"/>
                  </a:lnTo>
                  <a:lnTo>
                    <a:pt x="148" y="412"/>
                  </a:lnTo>
                  <a:lnTo>
                    <a:pt x="142" y="409"/>
                  </a:lnTo>
                  <a:lnTo>
                    <a:pt x="136" y="409"/>
                  </a:lnTo>
                  <a:lnTo>
                    <a:pt x="133" y="410"/>
                  </a:lnTo>
                  <a:lnTo>
                    <a:pt x="130" y="408"/>
                  </a:lnTo>
                  <a:lnTo>
                    <a:pt x="128" y="402"/>
                  </a:lnTo>
                  <a:lnTo>
                    <a:pt x="119" y="389"/>
                  </a:lnTo>
                  <a:lnTo>
                    <a:pt x="119" y="381"/>
                  </a:lnTo>
                  <a:lnTo>
                    <a:pt x="120" y="379"/>
                  </a:lnTo>
                  <a:lnTo>
                    <a:pt x="101" y="338"/>
                  </a:lnTo>
                  <a:lnTo>
                    <a:pt x="94" y="335"/>
                  </a:lnTo>
                  <a:lnTo>
                    <a:pt x="92" y="331"/>
                  </a:lnTo>
                  <a:lnTo>
                    <a:pt x="90" y="325"/>
                  </a:lnTo>
                  <a:lnTo>
                    <a:pt x="81" y="313"/>
                  </a:lnTo>
                  <a:lnTo>
                    <a:pt x="73" y="293"/>
                  </a:lnTo>
                  <a:lnTo>
                    <a:pt x="68" y="286"/>
                  </a:lnTo>
                  <a:lnTo>
                    <a:pt x="62" y="281"/>
                  </a:lnTo>
                  <a:lnTo>
                    <a:pt x="52" y="268"/>
                  </a:lnTo>
                  <a:lnTo>
                    <a:pt x="51" y="263"/>
                  </a:lnTo>
                  <a:lnTo>
                    <a:pt x="27" y="220"/>
                  </a:lnTo>
                  <a:lnTo>
                    <a:pt x="22" y="216"/>
                  </a:lnTo>
                  <a:lnTo>
                    <a:pt x="8" y="215"/>
                  </a:lnTo>
                  <a:lnTo>
                    <a:pt x="6" y="214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10" y="196"/>
                  </a:lnTo>
                  <a:lnTo>
                    <a:pt x="13" y="170"/>
                  </a:lnTo>
                  <a:lnTo>
                    <a:pt x="16" y="161"/>
                  </a:lnTo>
                  <a:lnTo>
                    <a:pt x="16" y="149"/>
                  </a:lnTo>
                  <a:lnTo>
                    <a:pt x="17" y="156"/>
                  </a:lnTo>
                  <a:lnTo>
                    <a:pt x="68" y="163"/>
                  </a:lnTo>
                  <a:lnTo>
                    <a:pt x="83" y="148"/>
                  </a:lnTo>
                  <a:lnTo>
                    <a:pt x="95" y="124"/>
                  </a:lnTo>
                  <a:lnTo>
                    <a:pt x="130" y="119"/>
                  </a:lnTo>
                  <a:lnTo>
                    <a:pt x="137" y="98"/>
                  </a:lnTo>
                  <a:lnTo>
                    <a:pt x="156" y="87"/>
                  </a:lnTo>
                  <a:lnTo>
                    <a:pt x="156" y="86"/>
                  </a:lnTo>
                  <a:lnTo>
                    <a:pt x="105" y="36"/>
                  </a:lnTo>
                  <a:lnTo>
                    <a:pt x="194" y="17"/>
                  </a:lnTo>
                  <a:lnTo>
                    <a:pt x="208" y="0"/>
                  </a:lnTo>
                  <a:lnTo>
                    <a:pt x="381" y="80"/>
                  </a:lnTo>
                  <a:lnTo>
                    <a:pt x="388" y="96"/>
                  </a:lnTo>
                  <a:lnTo>
                    <a:pt x="412" y="98"/>
                  </a:lnTo>
                  <a:lnTo>
                    <a:pt x="414" y="100"/>
                  </a:lnTo>
                  <a:lnTo>
                    <a:pt x="414" y="133"/>
                  </a:lnTo>
                  <a:lnTo>
                    <a:pt x="416" y="136"/>
                  </a:lnTo>
                  <a:lnTo>
                    <a:pt x="469" y="159"/>
                  </a:lnTo>
                  <a:lnTo>
                    <a:pt x="550" y="164"/>
                  </a:lnTo>
                  <a:lnTo>
                    <a:pt x="588" y="175"/>
                  </a:lnTo>
                  <a:lnTo>
                    <a:pt x="595" y="180"/>
                  </a:lnTo>
                  <a:lnTo>
                    <a:pt x="603" y="193"/>
                  </a:lnTo>
                  <a:lnTo>
                    <a:pt x="631" y="193"/>
                  </a:lnTo>
                  <a:lnTo>
                    <a:pt x="649" y="230"/>
                  </a:lnTo>
                  <a:lnTo>
                    <a:pt x="657" y="233"/>
                  </a:lnTo>
                  <a:lnTo>
                    <a:pt x="662" y="243"/>
                  </a:lnTo>
                  <a:lnTo>
                    <a:pt x="673" y="251"/>
                  </a:lnTo>
                  <a:lnTo>
                    <a:pt x="673" y="252"/>
                  </a:lnTo>
                  <a:lnTo>
                    <a:pt x="671" y="254"/>
                  </a:lnTo>
                  <a:lnTo>
                    <a:pt x="673" y="259"/>
                  </a:lnTo>
                  <a:lnTo>
                    <a:pt x="675" y="266"/>
                  </a:lnTo>
                  <a:lnTo>
                    <a:pt x="683" y="268"/>
                  </a:lnTo>
                  <a:lnTo>
                    <a:pt x="704" y="284"/>
                  </a:lnTo>
                  <a:lnTo>
                    <a:pt x="708" y="291"/>
                  </a:lnTo>
                  <a:lnTo>
                    <a:pt x="707" y="299"/>
                  </a:lnTo>
                  <a:lnTo>
                    <a:pt x="713" y="308"/>
                  </a:lnTo>
                  <a:lnTo>
                    <a:pt x="715" y="314"/>
                  </a:lnTo>
                  <a:lnTo>
                    <a:pt x="714" y="318"/>
                  </a:lnTo>
                  <a:lnTo>
                    <a:pt x="710" y="324"/>
                  </a:lnTo>
                  <a:lnTo>
                    <a:pt x="710" y="334"/>
                  </a:lnTo>
                  <a:lnTo>
                    <a:pt x="729" y="356"/>
                  </a:lnTo>
                  <a:lnTo>
                    <a:pt x="732" y="371"/>
                  </a:lnTo>
                  <a:lnTo>
                    <a:pt x="736" y="376"/>
                  </a:lnTo>
                  <a:lnTo>
                    <a:pt x="737" y="381"/>
                  </a:lnTo>
                  <a:lnTo>
                    <a:pt x="739" y="383"/>
                  </a:lnTo>
                  <a:lnTo>
                    <a:pt x="740" y="388"/>
                  </a:lnTo>
                  <a:lnTo>
                    <a:pt x="742" y="388"/>
                  </a:lnTo>
                  <a:lnTo>
                    <a:pt x="748" y="398"/>
                  </a:lnTo>
                  <a:lnTo>
                    <a:pt x="754" y="399"/>
                  </a:lnTo>
                  <a:lnTo>
                    <a:pt x="771" y="3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3" name="Freeform 232"/>
            <p:cNvSpPr>
              <a:spLocks/>
            </p:cNvSpPr>
            <p:nvPr/>
          </p:nvSpPr>
          <p:spPr bwMode="auto">
            <a:xfrm>
              <a:off x="4754253" y="4538676"/>
              <a:ext cx="127953" cy="109466"/>
            </a:xfrm>
            <a:custGeom>
              <a:avLst/>
              <a:gdLst>
                <a:gd name="T0" fmla="*/ 17 w 108"/>
                <a:gd name="T1" fmla="*/ 5 h 109"/>
                <a:gd name="T2" fmla="*/ 17 w 108"/>
                <a:gd name="T3" fmla="*/ 5 h 109"/>
                <a:gd name="T4" fmla="*/ 17 w 108"/>
                <a:gd name="T5" fmla="*/ 6 h 109"/>
                <a:gd name="T6" fmla="*/ 13 w 108"/>
                <a:gd name="T7" fmla="*/ 10 h 109"/>
                <a:gd name="T8" fmla="*/ 10 w 108"/>
                <a:gd name="T9" fmla="*/ 11 h 109"/>
                <a:gd name="T10" fmla="*/ 9 w 108"/>
                <a:gd name="T11" fmla="*/ 13 h 109"/>
                <a:gd name="T12" fmla="*/ 8 w 108"/>
                <a:gd name="T13" fmla="*/ 13 h 109"/>
                <a:gd name="T14" fmla="*/ 6 w 108"/>
                <a:gd name="T15" fmla="*/ 14 h 109"/>
                <a:gd name="T16" fmla="*/ 2 w 108"/>
                <a:gd name="T17" fmla="*/ 10 h 109"/>
                <a:gd name="T18" fmla="*/ 0 w 108"/>
                <a:gd name="T19" fmla="*/ 8 h 109"/>
                <a:gd name="T20" fmla="*/ 1 w 108"/>
                <a:gd name="T21" fmla="*/ 6 h 109"/>
                <a:gd name="T22" fmla="*/ 6 w 108"/>
                <a:gd name="T23" fmla="*/ 2 h 109"/>
                <a:gd name="T24" fmla="*/ 9 w 108"/>
                <a:gd name="T25" fmla="*/ 1 h 109"/>
                <a:gd name="T26" fmla="*/ 11 w 108"/>
                <a:gd name="T27" fmla="*/ 0 h 109"/>
                <a:gd name="T28" fmla="*/ 13 w 108"/>
                <a:gd name="T29" fmla="*/ 1 h 109"/>
                <a:gd name="T30" fmla="*/ 16 w 108"/>
                <a:gd name="T31" fmla="*/ 4 h 109"/>
                <a:gd name="T32" fmla="*/ 17 w 108"/>
                <a:gd name="T33" fmla="*/ 5 h 10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109"/>
                <a:gd name="T53" fmla="*/ 108 w 108"/>
                <a:gd name="T54" fmla="*/ 109 h 10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109">
                  <a:moveTo>
                    <a:pt x="107" y="43"/>
                  </a:moveTo>
                  <a:lnTo>
                    <a:pt x="108" y="41"/>
                  </a:lnTo>
                  <a:lnTo>
                    <a:pt x="108" y="48"/>
                  </a:lnTo>
                  <a:lnTo>
                    <a:pt x="87" y="82"/>
                  </a:lnTo>
                  <a:lnTo>
                    <a:pt x="63" y="92"/>
                  </a:lnTo>
                  <a:lnTo>
                    <a:pt x="55" y="105"/>
                  </a:lnTo>
                  <a:lnTo>
                    <a:pt x="48" y="108"/>
                  </a:lnTo>
                  <a:lnTo>
                    <a:pt x="38" y="109"/>
                  </a:lnTo>
                  <a:lnTo>
                    <a:pt x="11" y="83"/>
                  </a:lnTo>
                  <a:lnTo>
                    <a:pt x="0" y="62"/>
                  </a:lnTo>
                  <a:lnTo>
                    <a:pt x="5" y="51"/>
                  </a:lnTo>
                  <a:lnTo>
                    <a:pt x="36" y="13"/>
                  </a:lnTo>
                  <a:lnTo>
                    <a:pt x="59" y="2"/>
                  </a:lnTo>
                  <a:lnTo>
                    <a:pt x="72" y="0"/>
                  </a:lnTo>
                  <a:lnTo>
                    <a:pt x="81" y="6"/>
                  </a:lnTo>
                  <a:lnTo>
                    <a:pt x="104" y="35"/>
                  </a:lnTo>
                  <a:lnTo>
                    <a:pt x="107" y="4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4" name="Freeform 233"/>
            <p:cNvSpPr>
              <a:spLocks/>
            </p:cNvSpPr>
            <p:nvPr/>
          </p:nvSpPr>
          <p:spPr bwMode="auto">
            <a:xfrm>
              <a:off x="4754253" y="4538676"/>
              <a:ext cx="127953" cy="109466"/>
            </a:xfrm>
            <a:custGeom>
              <a:avLst/>
              <a:gdLst>
                <a:gd name="T0" fmla="*/ 17 w 108"/>
                <a:gd name="T1" fmla="*/ 5 h 109"/>
                <a:gd name="T2" fmla="*/ 17 w 108"/>
                <a:gd name="T3" fmla="*/ 5 h 109"/>
                <a:gd name="T4" fmla="*/ 17 w 108"/>
                <a:gd name="T5" fmla="*/ 6 h 109"/>
                <a:gd name="T6" fmla="*/ 13 w 108"/>
                <a:gd name="T7" fmla="*/ 10 h 109"/>
                <a:gd name="T8" fmla="*/ 10 w 108"/>
                <a:gd name="T9" fmla="*/ 11 h 109"/>
                <a:gd name="T10" fmla="*/ 9 w 108"/>
                <a:gd name="T11" fmla="*/ 13 h 109"/>
                <a:gd name="T12" fmla="*/ 8 w 108"/>
                <a:gd name="T13" fmla="*/ 13 h 109"/>
                <a:gd name="T14" fmla="*/ 6 w 108"/>
                <a:gd name="T15" fmla="*/ 14 h 109"/>
                <a:gd name="T16" fmla="*/ 2 w 108"/>
                <a:gd name="T17" fmla="*/ 10 h 109"/>
                <a:gd name="T18" fmla="*/ 0 w 108"/>
                <a:gd name="T19" fmla="*/ 8 h 109"/>
                <a:gd name="T20" fmla="*/ 1 w 108"/>
                <a:gd name="T21" fmla="*/ 6 h 109"/>
                <a:gd name="T22" fmla="*/ 6 w 108"/>
                <a:gd name="T23" fmla="*/ 2 h 109"/>
                <a:gd name="T24" fmla="*/ 9 w 108"/>
                <a:gd name="T25" fmla="*/ 1 h 109"/>
                <a:gd name="T26" fmla="*/ 11 w 108"/>
                <a:gd name="T27" fmla="*/ 0 h 109"/>
                <a:gd name="T28" fmla="*/ 13 w 108"/>
                <a:gd name="T29" fmla="*/ 1 h 109"/>
                <a:gd name="T30" fmla="*/ 16 w 108"/>
                <a:gd name="T31" fmla="*/ 4 h 109"/>
                <a:gd name="T32" fmla="*/ 17 w 108"/>
                <a:gd name="T33" fmla="*/ 5 h 10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109"/>
                <a:gd name="T53" fmla="*/ 108 w 108"/>
                <a:gd name="T54" fmla="*/ 109 h 10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109">
                  <a:moveTo>
                    <a:pt x="107" y="43"/>
                  </a:moveTo>
                  <a:lnTo>
                    <a:pt x="108" y="41"/>
                  </a:lnTo>
                  <a:lnTo>
                    <a:pt x="108" y="48"/>
                  </a:lnTo>
                  <a:lnTo>
                    <a:pt x="87" y="82"/>
                  </a:lnTo>
                  <a:lnTo>
                    <a:pt x="63" y="92"/>
                  </a:lnTo>
                  <a:lnTo>
                    <a:pt x="55" y="105"/>
                  </a:lnTo>
                  <a:lnTo>
                    <a:pt x="48" y="108"/>
                  </a:lnTo>
                  <a:lnTo>
                    <a:pt x="38" y="109"/>
                  </a:lnTo>
                  <a:lnTo>
                    <a:pt x="11" y="83"/>
                  </a:lnTo>
                  <a:lnTo>
                    <a:pt x="0" y="62"/>
                  </a:lnTo>
                  <a:lnTo>
                    <a:pt x="5" y="51"/>
                  </a:lnTo>
                  <a:lnTo>
                    <a:pt x="36" y="13"/>
                  </a:lnTo>
                  <a:lnTo>
                    <a:pt x="59" y="2"/>
                  </a:lnTo>
                  <a:lnTo>
                    <a:pt x="72" y="0"/>
                  </a:lnTo>
                  <a:lnTo>
                    <a:pt x="81" y="6"/>
                  </a:lnTo>
                  <a:lnTo>
                    <a:pt x="104" y="35"/>
                  </a:lnTo>
                  <a:lnTo>
                    <a:pt x="107" y="4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5" name="Freeform 234"/>
            <p:cNvSpPr>
              <a:spLocks/>
            </p:cNvSpPr>
            <p:nvPr/>
          </p:nvSpPr>
          <p:spPr bwMode="auto">
            <a:xfrm>
              <a:off x="5237634" y="2983883"/>
              <a:ext cx="48744" cy="98335"/>
            </a:xfrm>
            <a:custGeom>
              <a:avLst/>
              <a:gdLst>
                <a:gd name="T0" fmla="*/ 2 w 40"/>
                <a:gd name="T1" fmla="*/ 0 h 99"/>
                <a:gd name="T2" fmla="*/ 4 w 40"/>
                <a:gd name="T3" fmla="*/ 2 h 99"/>
                <a:gd name="T4" fmla="*/ 4 w 40"/>
                <a:gd name="T5" fmla="*/ 3 h 99"/>
                <a:gd name="T6" fmla="*/ 4 w 40"/>
                <a:gd name="T7" fmla="*/ 4 h 99"/>
                <a:gd name="T8" fmla="*/ 4 w 40"/>
                <a:gd name="T9" fmla="*/ 5 h 99"/>
                <a:gd name="T10" fmla="*/ 4 w 40"/>
                <a:gd name="T11" fmla="*/ 7 h 99"/>
                <a:gd name="T12" fmla="*/ 7 w 40"/>
                <a:gd name="T13" fmla="*/ 10 h 99"/>
                <a:gd name="T14" fmla="*/ 7 w 40"/>
                <a:gd name="T15" fmla="*/ 12 h 99"/>
                <a:gd name="T16" fmla="*/ 7 w 40"/>
                <a:gd name="T17" fmla="*/ 12 h 99"/>
                <a:gd name="T18" fmla="*/ 6 w 40"/>
                <a:gd name="T19" fmla="*/ 10 h 99"/>
                <a:gd name="T20" fmla="*/ 2 w 40"/>
                <a:gd name="T21" fmla="*/ 7 h 99"/>
                <a:gd name="T22" fmla="*/ 0 w 40"/>
                <a:gd name="T23" fmla="*/ 3 h 99"/>
                <a:gd name="T24" fmla="*/ 1 w 40"/>
                <a:gd name="T25" fmla="*/ 1 h 99"/>
                <a:gd name="T26" fmla="*/ 2 w 40"/>
                <a:gd name="T27" fmla="*/ 0 h 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9"/>
                <a:gd name="T44" fmla="*/ 40 w 40"/>
                <a:gd name="T45" fmla="*/ 99 h 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9">
                  <a:moveTo>
                    <a:pt x="10" y="0"/>
                  </a:moveTo>
                  <a:lnTo>
                    <a:pt x="20" y="16"/>
                  </a:lnTo>
                  <a:lnTo>
                    <a:pt x="20" y="27"/>
                  </a:lnTo>
                  <a:lnTo>
                    <a:pt x="23" y="35"/>
                  </a:lnTo>
                  <a:lnTo>
                    <a:pt x="19" y="41"/>
                  </a:lnTo>
                  <a:lnTo>
                    <a:pt x="23" y="65"/>
                  </a:lnTo>
                  <a:lnTo>
                    <a:pt x="38" y="84"/>
                  </a:lnTo>
                  <a:lnTo>
                    <a:pt x="40" y="99"/>
                  </a:lnTo>
                  <a:lnTo>
                    <a:pt x="36" y="98"/>
                  </a:lnTo>
                  <a:lnTo>
                    <a:pt x="31" y="82"/>
                  </a:lnTo>
                  <a:lnTo>
                    <a:pt x="10" y="65"/>
                  </a:lnTo>
                  <a:lnTo>
                    <a:pt x="0" y="28"/>
                  </a:lnTo>
                  <a:lnTo>
                    <a:pt x="3" y="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6" name="Freeform 235"/>
            <p:cNvSpPr>
              <a:spLocks/>
            </p:cNvSpPr>
            <p:nvPr/>
          </p:nvSpPr>
          <p:spPr bwMode="auto">
            <a:xfrm>
              <a:off x="5237634" y="2983883"/>
              <a:ext cx="48744" cy="98335"/>
            </a:xfrm>
            <a:custGeom>
              <a:avLst/>
              <a:gdLst>
                <a:gd name="T0" fmla="*/ 2 w 40"/>
                <a:gd name="T1" fmla="*/ 0 h 99"/>
                <a:gd name="T2" fmla="*/ 4 w 40"/>
                <a:gd name="T3" fmla="*/ 2 h 99"/>
                <a:gd name="T4" fmla="*/ 4 w 40"/>
                <a:gd name="T5" fmla="*/ 3 h 99"/>
                <a:gd name="T6" fmla="*/ 4 w 40"/>
                <a:gd name="T7" fmla="*/ 4 h 99"/>
                <a:gd name="T8" fmla="*/ 4 w 40"/>
                <a:gd name="T9" fmla="*/ 5 h 99"/>
                <a:gd name="T10" fmla="*/ 4 w 40"/>
                <a:gd name="T11" fmla="*/ 7 h 99"/>
                <a:gd name="T12" fmla="*/ 7 w 40"/>
                <a:gd name="T13" fmla="*/ 10 h 99"/>
                <a:gd name="T14" fmla="*/ 7 w 40"/>
                <a:gd name="T15" fmla="*/ 12 h 99"/>
                <a:gd name="T16" fmla="*/ 7 w 40"/>
                <a:gd name="T17" fmla="*/ 12 h 99"/>
                <a:gd name="T18" fmla="*/ 6 w 40"/>
                <a:gd name="T19" fmla="*/ 10 h 99"/>
                <a:gd name="T20" fmla="*/ 2 w 40"/>
                <a:gd name="T21" fmla="*/ 7 h 99"/>
                <a:gd name="T22" fmla="*/ 0 w 40"/>
                <a:gd name="T23" fmla="*/ 3 h 99"/>
                <a:gd name="T24" fmla="*/ 1 w 40"/>
                <a:gd name="T25" fmla="*/ 1 h 99"/>
                <a:gd name="T26" fmla="*/ 2 w 40"/>
                <a:gd name="T27" fmla="*/ 0 h 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9"/>
                <a:gd name="T44" fmla="*/ 40 w 40"/>
                <a:gd name="T45" fmla="*/ 99 h 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9">
                  <a:moveTo>
                    <a:pt x="10" y="0"/>
                  </a:moveTo>
                  <a:lnTo>
                    <a:pt x="20" y="16"/>
                  </a:lnTo>
                  <a:lnTo>
                    <a:pt x="20" y="27"/>
                  </a:lnTo>
                  <a:lnTo>
                    <a:pt x="23" y="35"/>
                  </a:lnTo>
                  <a:lnTo>
                    <a:pt x="19" y="41"/>
                  </a:lnTo>
                  <a:lnTo>
                    <a:pt x="23" y="65"/>
                  </a:lnTo>
                  <a:lnTo>
                    <a:pt x="38" y="84"/>
                  </a:lnTo>
                  <a:lnTo>
                    <a:pt x="40" y="99"/>
                  </a:lnTo>
                  <a:lnTo>
                    <a:pt x="36" y="98"/>
                  </a:lnTo>
                  <a:lnTo>
                    <a:pt x="31" y="82"/>
                  </a:lnTo>
                  <a:lnTo>
                    <a:pt x="10" y="65"/>
                  </a:lnTo>
                  <a:lnTo>
                    <a:pt x="0" y="28"/>
                  </a:lnTo>
                  <a:lnTo>
                    <a:pt x="3" y="7"/>
                  </a:lnTo>
                  <a:lnTo>
                    <a:pt x="1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7" name="Freeform 236"/>
            <p:cNvSpPr>
              <a:spLocks/>
            </p:cNvSpPr>
            <p:nvPr/>
          </p:nvSpPr>
          <p:spPr bwMode="auto">
            <a:xfrm>
              <a:off x="3980436" y="2529319"/>
              <a:ext cx="117799" cy="83492"/>
            </a:xfrm>
            <a:custGeom>
              <a:avLst/>
              <a:gdLst>
                <a:gd name="T0" fmla="*/ 0 w 96"/>
                <a:gd name="T1" fmla="*/ 2 h 87"/>
                <a:gd name="T2" fmla="*/ 1 w 96"/>
                <a:gd name="T3" fmla="*/ 1 h 87"/>
                <a:gd name="T4" fmla="*/ 1 w 96"/>
                <a:gd name="T5" fmla="*/ 1 h 87"/>
                <a:gd name="T6" fmla="*/ 2 w 96"/>
                <a:gd name="T7" fmla="*/ 1 h 87"/>
                <a:gd name="T8" fmla="*/ 3 w 96"/>
                <a:gd name="T9" fmla="*/ 0 h 87"/>
                <a:gd name="T10" fmla="*/ 5 w 96"/>
                <a:gd name="T11" fmla="*/ 1 h 87"/>
                <a:gd name="T12" fmla="*/ 6 w 96"/>
                <a:gd name="T13" fmla="*/ 1 h 87"/>
                <a:gd name="T14" fmla="*/ 7 w 96"/>
                <a:gd name="T15" fmla="*/ 2 h 87"/>
                <a:gd name="T16" fmla="*/ 8 w 96"/>
                <a:gd name="T17" fmla="*/ 2 h 87"/>
                <a:gd name="T18" fmla="*/ 9 w 96"/>
                <a:gd name="T19" fmla="*/ 4 h 87"/>
                <a:gd name="T20" fmla="*/ 11 w 96"/>
                <a:gd name="T21" fmla="*/ 4 h 87"/>
                <a:gd name="T22" fmla="*/ 13 w 96"/>
                <a:gd name="T23" fmla="*/ 4 h 87"/>
                <a:gd name="T24" fmla="*/ 15 w 96"/>
                <a:gd name="T25" fmla="*/ 4 h 87"/>
                <a:gd name="T26" fmla="*/ 16 w 96"/>
                <a:gd name="T27" fmla="*/ 4 h 87"/>
                <a:gd name="T28" fmla="*/ 18 w 96"/>
                <a:gd name="T29" fmla="*/ 6 h 87"/>
                <a:gd name="T30" fmla="*/ 17 w 96"/>
                <a:gd name="T31" fmla="*/ 6 h 87"/>
                <a:gd name="T32" fmla="*/ 16 w 96"/>
                <a:gd name="T33" fmla="*/ 6 h 87"/>
                <a:gd name="T34" fmla="*/ 15 w 96"/>
                <a:gd name="T35" fmla="*/ 7 h 87"/>
                <a:gd name="T36" fmla="*/ 11 w 96"/>
                <a:gd name="T37" fmla="*/ 8 h 87"/>
                <a:gd name="T38" fmla="*/ 9 w 96"/>
                <a:gd name="T39" fmla="*/ 9 h 87"/>
                <a:gd name="T40" fmla="*/ 9 w 96"/>
                <a:gd name="T41" fmla="*/ 9 h 87"/>
                <a:gd name="T42" fmla="*/ 7 w 96"/>
                <a:gd name="T43" fmla="*/ 9 h 87"/>
                <a:gd name="T44" fmla="*/ 6 w 96"/>
                <a:gd name="T45" fmla="*/ 6 h 87"/>
                <a:gd name="T46" fmla="*/ 5 w 96"/>
                <a:gd name="T47" fmla="*/ 6 h 87"/>
                <a:gd name="T48" fmla="*/ 3 w 96"/>
                <a:gd name="T49" fmla="*/ 5 h 87"/>
                <a:gd name="T50" fmla="*/ 1 w 96"/>
                <a:gd name="T51" fmla="*/ 3 h 87"/>
                <a:gd name="T52" fmla="*/ 1 w 96"/>
                <a:gd name="T53" fmla="*/ 2 h 87"/>
                <a:gd name="T54" fmla="*/ 0 w 96"/>
                <a:gd name="T55" fmla="*/ 2 h 87"/>
                <a:gd name="T56" fmla="*/ 0 w 96"/>
                <a:gd name="T57" fmla="*/ 2 h 8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87"/>
                <a:gd name="T89" fmla="*/ 96 w 96"/>
                <a:gd name="T90" fmla="*/ 87 h 8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87">
                  <a:moveTo>
                    <a:pt x="0" y="13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29" y="4"/>
                  </a:lnTo>
                  <a:lnTo>
                    <a:pt x="34" y="9"/>
                  </a:lnTo>
                  <a:lnTo>
                    <a:pt x="39" y="13"/>
                  </a:lnTo>
                  <a:lnTo>
                    <a:pt x="44" y="19"/>
                  </a:lnTo>
                  <a:lnTo>
                    <a:pt x="47" y="37"/>
                  </a:lnTo>
                  <a:lnTo>
                    <a:pt x="61" y="39"/>
                  </a:lnTo>
                  <a:lnTo>
                    <a:pt x="72" y="38"/>
                  </a:lnTo>
                  <a:lnTo>
                    <a:pt x="83" y="42"/>
                  </a:lnTo>
                  <a:lnTo>
                    <a:pt x="89" y="40"/>
                  </a:lnTo>
                  <a:lnTo>
                    <a:pt x="96" y="53"/>
                  </a:lnTo>
                  <a:lnTo>
                    <a:pt x="93" y="57"/>
                  </a:lnTo>
                  <a:lnTo>
                    <a:pt x="91" y="63"/>
                  </a:lnTo>
                  <a:lnTo>
                    <a:pt x="84" y="70"/>
                  </a:lnTo>
                  <a:lnTo>
                    <a:pt x="58" y="77"/>
                  </a:lnTo>
                  <a:lnTo>
                    <a:pt x="51" y="87"/>
                  </a:lnTo>
                  <a:lnTo>
                    <a:pt x="47" y="87"/>
                  </a:lnTo>
                  <a:lnTo>
                    <a:pt x="39" y="81"/>
                  </a:lnTo>
                  <a:lnTo>
                    <a:pt x="33" y="62"/>
                  </a:lnTo>
                  <a:lnTo>
                    <a:pt x="27" y="56"/>
                  </a:lnTo>
                  <a:lnTo>
                    <a:pt x="18" y="51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8" name="Freeform 237"/>
            <p:cNvSpPr>
              <a:spLocks/>
            </p:cNvSpPr>
            <p:nvPr/>
          </p:nvSpPr>
          <p:spPr bwMode="auto">
            <a:xfrm>
              <a:off x="3980436" y="2529319"/>
              <a:ext cx="117799" cy="83492"/>
            </a:xfrm>
            <a:custGeom>
              <a:avLst/>
              <a:gdLst>
                <a:gd name="T0" fmla="*/ 0 w 96"/>
                <a:gd name="T1" fmla="*/ 2 h 87"/>
                <a:gd name="T2" fmla="*/ 1 w 96"/>
                <a:gd name="T3" fmla="*/ 1 h 87"/>
                <a:gd name="T4" fmla="*/ 1 w 96"/>
                <a:gd name="T5" fmla="*/ 1 h 87"/>
                <a:gd name="T6" fmla="*/ 2 w 96"/>
                <a:gd name="T7" fmla="*/ 1 h 87"/>
                <a:gd name="T8" fmla="*/ 3 w 96"/>
                <a:gd name="T9" fmla="*/ 0 h 87"/>
                <a:gd name="T10" fmla="*/ 5 w 96"/>
                <a:gd name="T11" fmla="*/ 1 h 87"/>
                <a:gd name="T12" fmla="*/ 6 w 96"/>
                <a:gd name="T13" fmla="*/ 1 h 87"/>
                <a:gd name="T14" fmla="*/ 7 w 96"/>
                <a:gd name="T15" fmla="*/ 2 h 87"/>
                <a:gd name="T16" fmla="*/ 8 w 96"/>
                <a:gd name="T17" fmla="*/ 2 h 87"/>
                <a:gd name="T18" fmla="*/ 9 w 96"/>
                <a:gd name="T19" fmla="*/ 4 h 87"/>
                <a:gd name="T20" fmla="*/ 11 w 96"/>
                <a:gd name="T21" fmla="*/ 4 h 87"/>
                <a:gd name="T22" fmla="*/ 13 w 96"/>
                <a:gd name="T23" fmla="*/ 4 h 87"/>
                <a:gd name="T24" fmla="*/ 15 w 96"/>
                <a:gd name="T25" fmla="*/ 4 h 87"/>
                <a:gd name="T26" fmla="*/ 16 w 96"/>
                <a:gd name="T27" fmla="*/ 4 h 87"/>
                <a:gd name="T28" fmla="*/ 18 w 96"/>
                <a:gd name="T29" fmla="*/ 6 h 87"/>
                <a:gd name="T30" fmla="*/ 17 w 96"/>
                <a:gd name="T31" fmla="*/ 6 h 87"/>
                <a:gd name="T32" fmla="*/ 16 w 96"/>
                <a:gd name="T33" fmla="*/ 6 h 87"/>
                <a:gd name="T34" fmla="*/ 15 w 96"/>
                <a:gd name="T35" fmla="*/ 7 h 87"/>
                <a:gd name="T36" fmla="*/ 11 w 96"/>
                <a:gd name="T37" fmla="*/ 8 h 87"/>
                <a:gd name="T38" fmla="*/ 9 w 96"/>
                <a:gd name="T39" fmla="*/ 9 h 87"/>
                <a:gd name="T40" fmla="*/ 9 w 96"/>
                <a:gd name="T41" fmla="*/ 9 h 87"/>
                <a:gd name="T42" fmla="*/ 7 w 96"/>
                <a:gd name="T43" fmla="*/ 9 h 87"/>
                <a:gd name="T44" fmla="*/ 6 w 96"/>
                <a:gd name="T45" fmla="*/ 6 h 87"/>
                <a:gd name="T46" fmla="*/ 5 w 96"/>
                <a:gd name="T47" fmla="*/ 6 h 87"/>
                <a:gd name="T48" fmla="*/ 3 w 96"/>
                <a:gd name="T49" fmla="*/ 5 h 87"/>
                <a:gd name="T50" fmla="*/ 1 w 96"/>
                <a:gd name="T51" fmla="*/ 3 h 87"/>
                <a:gd name="T52" fmla="*/ 1 w 96"/>
                <a:gd name="T53" fmla="*/ 2 h 87"/>
                <a:gd name="T54" fmla="*/ 0 w 96"/>
                <a:gd name="T55" fmla="*/ 2 h 87"/>
                <a:gd name="T56" fmla="*/ 0 w 96"/>
                <a:gd name="T57" fmla="*/ 2 h 8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87"/>
                <a:gd name="T89" fmla="*/ 96 w 96"/>
                <a:gd name="T90" fmla="*/ 87 h 8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87">
                  <a:moveTo>
                    <a:pt x="0" y="13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29" y="4"/>
                  </a:lnTo>
                  <a:lnTo>
                    <a:pt x="34" y="9"/>
                  </a:lnTo>
                  <a:lnTo>
                    <a:pt x="39" y="13"/>
                  </a:lnTo>
                  <a:lnTo>
                    <a:pt x="44" y="19"/>
                  </a:lnTo>
                  <a:lnTo>
                    <a:pt x="47" y="37"/>
                  </a:lnTo>
                  <a:lnTo>
                    <a:pt x="61" y="39"/>
                  </a:lnTo>
                  <a:lnTo>
                    <a:pt x="72" y="38"/>
                  </a:lnTo>
                  <a:lnTo>
                    <a:pt x="83" y="42"/>
                  </a:lnTo>
                  <a:lnTo>
                    <a:pt x="89" y="40"/>
                  </a:lnTo>
                  <a:lnTo>
                    <a:pt x="96" y="53"/>
                  </a:lnTo>
                  <a:lnTo>
                    <a:pt x="93" y="57"/>
                  </a:lnTo>
                  <a:lnTo>
                    <a:pt x="91" y="63"/>
                  </a:lnTo>
                  <a:lnTo>
                    <a:pt x="84" y="70"/>
                  </a:lnTo>
                  <a:lnTo>
                    <a:pt x="58" y="77"/>
                  </a:lnTo>
                  <a:lnTo>
                    <a:pt x="51" y="87"/>
                  </a:lnTo>
                  <a:lnTo>
                    <a:pt x="47" y="87"/>
                  </a:lnTo>
                  <a:lnTo>
                    <a:pt x="39" y="81"/>
                  </a:lnTo>
                  <a:lnTo>
                    <a:pt x="33" y="62"/>
                  </a:lnTo>
                  <a:lnTo>
                    <a:pt x="27" y="56"/>
                  </a:lnTo>
                  <a:lnTo>
                    <a:pt x="18" y="51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7"/>
                  </a:lnTo>
                  <a:lnTo>
                    <a:pt x="0" y="1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9" name="Freeform 238"/>
            <p:cNvSpPr>
              <a:spLocks/>
            </p:cNvSpPr>
            <p:nvPr/>
          </p:nvSpPr>
          <p:spPr bwMode="auto">
            <a:xfrm>
              <a:off x="5127961" y="3625838"/>
              <a:ext cx="73117" cy="226354"/>
            </a:xfrm>
            <a:custGeom>
              <a:avLst/>
              <a:gdLst>
                <a:gd name="T0" fmla="*/ 8 w 61"/>
                <a:gd name="T1" fmla="*/ 26 h 226"/>
                <a:gd name="T2" fmla="*/ 8 w 61"/>
                <a:gd name="T3" fmla="*/ 26 h 226"/>
                <a:gd name="T4" fmla="*/ 7 w 61"/>
                <a:gd name="T5" fmla="*/ 26 h 226"/>
                <a:gd name="T6" fmla="*/ 6 w 61"/>
                <a:gd name="T7" fmla="*/ 26 h 226"/>
                <a:gd name="T8" fmla="*/ 6 w 61"/>
                <a:gd name="T9" fmla="*/ 27 h 226"/>
                <a:gd name="T10" fmla="*/ 6 w 61"/>
                <a:gd name="T11" fmla="*/ 27 h 226"/>
                <a:gd name="T12" fmla="*/ 5 w 61"/>
                <a:gd name="T13" fmla="*/ 26 h 226"/>
                <a:gd name="T14" fmla="*/ 5 w 61"/>
                <a:gd name="T15" fmla="*/ 26 h 226"/>
                <a:gd name="T16" fmla="*/ 5 w 61"/>
                <a:gd name="T17" fmla="*/ 25 h 226"/>
                <a:gd name="T18" fmla="*/ 5 w 61"/>
                <a:gd name="T19" fmla="*/ 24 h 226"/>
                <a:gd name="T20" fmla="*/ 5 w 61"/>
                <a:gd name="T21" fmla="*/ 24 h 226"/>
                <a:gd name="T22" fmla="*/ 4 w 61"/>
                <a:gd name="T23" fmla="*/ 23 h 226"/>
                <a:gd name="T24" fmla="*/ 3 w 61"/>
                <a:gd name="T25" fmla="*/ 21 h 226"/>
                <a:gd name="T26" fmla="*/ 3 w 61"/>
                <a:gd name="T27" fmla="*/ 21 h 226"/>
                <a:gd name="T28" fmla="*/ 1 w 61"/>
                <a:gd name="T29" fmla="*/ 16 h 226"/>
                <a:gd name="T30" fmla="*/ 1 w 61"/>
                <a:gd name="T31" fmla="*/ 15 h 226"/>
                <a:gd name="T32" fmla="*/ 1 w 61"/>
                <a:gd name="T33" fmla="*/ 15 h 226"/>
                <a:gd name="T34" fmla="*/ 2 w 61"/>
                <a:gd name="T35" fmla="*/ 13 h 226"/>
                <a:gd name="T36" fmla="*/ 3 w 61"/>
                <a:gd name="T37" fmla="*/ 12 h 226"/>
                <a:gd name="T38" fmla="*/ 2 w 61"/>
                <a:gd name="T39" fmla="*/ 6 h 226"/>
                <a:gd name="T40" fmla="*/ 3 w 61"/>
                <a:gd name="T41" fmla="*/ 5 h 226"/>
                <a:gd name="T42" fmla="*/ 3 w 61"/>
                <a:gd name="T43" fmla="*/ 5 h 226"/>
                <a:gd name="T44" fmla="*/ 2 w 61"/>
                <a:gd name="T45" fmla="*/ 4 h 226"/>
                <a:gd name="T46" fmla="*/ 1 w 61"/>
                <a:gd name="T47" fmla="*/ 4 h 226"/>
                <a:gd name="T48" fmla="*/ 1 w 61"/>
                <a:gd name="T49" fmla="*/ 3 h 226"/>
                <a:gd name="T50" fmla="*/ 0 w 61"/>
                <a:gd name="T51" fmla="*/ 2 h 226"/>
                <a:gd name="T52" fmla="*/ 1 w 61"/>
                <a:gd name="T53" fmla="*/ 1 h 226"/>
                <a:gd name="T54" fmla="*/ 1 w 61"/>
                <a:gd name="T55" fmla="*/ 0 h 226"/>
                <a:gd name="T56" fmla="*/ 3 w 61"/>
                <a:gd name="T57" fmla="*/ 1 h 226"/>
                <a:gd name="T58" fmla="*/ 4 w 61"/>
                <a:gd name="T59" fmla="*/ 2 h 226"/>
                <a:gd name="T60" fmla="*/ 6 w 61"/>
                <a:gd name="T61" fmla="*/ 6 h 226"/>
                <a:gd name="T62" fmla="*/ 6 w 61"/>
                <a:gd name="T63" fmla="*/ 9 h 226"/>
                <a:gd name="T64" fmla="*/ 6 w 61"/>
                <a:gd name="T65" fmla="*/ 9 h 226"/>
                <a:gd name="T66" fmla="*/ 8 w 61"/>
                <a:gd name="T67" fmla="*/ 10 h 226"/>
                <a:gd name="T68" fmla="*/ 8 w 61"/>
                <a:gd name="T69" fmla="*/ 11 h 226"/>
                <a:gd name="T70" fmla="*/ 8 w 61"/>
                <a:gd name="T71" fmla="*/ 11 h 226"/>
                <a:gd name="T72" fmla="*/ 6 w 61"/>
                <a:gd name="T73" fmla="*/ 16 h 226"/>
                <a:gd name="T74" fmla="*/ 6 w 61"/>
                <a:gd name="T75" fmla="*/ 17 h 226"/>
                <a:gd name="T76" fmla="*/ 6 w 61"/>
                <a:gd name="T77" fmla="*/ 18 h 226"/>
                <a:gd name="T78" fmla="*/ 7 w 61"/>
                <a:gd name="T79" fmla="*/ 23 h 226"/>
                <a:gd name="T80" fmla="*/ 8 w 61"/>
                <a:gd name="T81" fmla="*/ 23 h 226"/>
                <a:gd name="T82" fmla="*/ 7 w 61"/>
                <a:gd name="T83" fmla="*/ 23 h 226"/>
                <a:gd name="T84" fmla="*/ 7 w 61"/>
                <a:gd name="T85" fmla="*/ 23 h 226"/>
                <a:gd name="T86" fmla="*/ 8 w 61"/>
                <a:gd name="T87" fmla="*/ 24 h 226"/>
                <a:gd name="T88" fmla="*/ 9 w 61"/>
                <a:gd name="T89" fmla="*/ 24 h 226"/>
                <a:gd name="T90" fmla="*/ 9 w 61"/>
                <a:gd name="T91" fmla="*/ 24 h 226"/>
                <a:gd name="T92" fmla="*/ 11 w 61"/>
                <a:gd name="T93" fmla="*/ 27 h 226"/>
                <a:gd name="T94" fmla="*/ 11 w 61"/>
                <a:gd name="T95" fmla="*/ 28 h 226"/>
                <a:gd name="T96" fmla="*/ 10 w 61"/>
                <a:gd name="T97" fmla="*/ 28 h 226"/>
                <a:gd name="T98" fmla="*/ 10 w 61"/>
                <a:gd name="T99" fmla="*/ 28 h 226"/>
                <a:gd name="T100" fmla="*/ 9 w 61"/>
                <a:gd name="T101" fmla="*/ 27 h 226"/>
                <a:gd name="T102" fmla="*/ 8 w 61"/>
                <a:gd name="T103" fmla="*/ 26 h 226"/>
                <a:gd name="T104" fmla="*/ 8 w 61"/>
                <a:gd name="T105" fmla="*/ 26 h 22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1"/>
                <a:gd name="T160" fmla="*/ 0 h 226"/>
                <a:gd name="T161" fmla="*/ 61 w 61"/>
                <a:gd name="T162" fmla="*/ 226 h 22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1" h="226">
                  <a:moveTo>
                    <a:pt x="46" y="210"/>
                  </a:moveTo>
                  <a:lnTo>
                    <a:pt x="46" y="210"/>
                  </a:lnTo>
                  <a:lnTo>
                    <a:pt x="44" y="210"/>
                  </a:lnTo>
                  <a:lnTo>
                    <a:pt x="40" y="217"/>
                  </a:lnTo>
                  <a:lnTo>
                    <a:pt x="38" y="218"/>
                  </a:lnTo>
                  <a:lnTo>
                    <a:pt x="34" y="218"/>
                  </a:lnTo>
                  <a:lnTo>
                    <a:pt x="32" y="217"/>
                  </a:lnTo>
                  <a:lnTo>
                    <a:pt x="30" y="213"/>
                  </a:lnTo>
                  <a:lnTo>
                    <a:pt x="29" y="205"/>
                  </a:lnTo>
                  <a:lnTo>
                    <a:pt x="31" y="199"/>
                  </a:lnTo>
                  <a:lnTo>
                    <a:pt x="31" y="195"/>
                  </a:lnTo>
                  <a:lnTo>
                    <a:pt x="24" y="187"/>
                  </a:lnTo>
                  <a:lnTo>
                    <a:pt x="20" y="166"/>
                  </a:lnTo>
                  <a:lnTo>
                    <a:pt x="19" y="166"/>
                  </a:lnTo>
                  <a:lnTo>
                    <a:pt x="4" y="127"/>
                  </a:lnTo>
                  <a:lnTo>
                    <a:pt x="4" y="124"/>
                  </a:lnTo>
                  <a:lnTo>
                    <a:pt x="5" y="120"/>
                  </a:lnTo>
                  <a:lnTo>
                    <a:pt x="14" y="109"/>
                  </a:lnTo>
                  <a:lnTo>
                    <a:pt x="17" y="98"/>
                  </a:lnTo>
                  <a:lnTo>
                    <a:pt x="14" y="50"/>
                  </a:lnTo>
                  <a:lnTo>
                    <a:pt x="16" y="44"/>
                  </a:lnTo>
                  <a:lnTo>
                    <a:pt x="16" y="39"/>
                  </a:lnTo>
                  <a:lnTo>
                    <a:pt x="13" y="33"/>
                  </a:lnTo>
                  <a:lnTo>
                    <a:pt x="8" y="31"/>
                  </a:lnTo>
                  <a:lnTo>
                    <a:pt x="5" y="29"/>
                  </a:lnTo>
                  <a:lnTo>
                    <a:pt x="0" y="18"/>
                  </a:lnTo>
                  <a:lnTo>
                    <a:pt x="1" y="6"/>
                  </a:lnTo>
                  <a:lnTo>
                    <a:pt x="5" y="0"/>
                  </a:lnTo>
                  <a:lnTo>
                    <a:pt x="16" y="2"/>
                  </a:lnTo>
                  <a:lnTo>
                    <a:pt x="25" y="12"/>
                  </a:lnTo>
                  <a:lnTo>
                    <a:pt x="37" y="55"/>
                  </a:lnTo>
                  <a:lnTo>
                    <a:pt x="36" y="71"/>
                  </a:lnTo>
                  <a:lnTo>
                    <a:pt x="37" y="73"/>
                  </a:lnTo>
                  <a:lnTo>
                    <a:pt x="46" y="82"/>
                  </a:lnTo>
                  <a:lnTo>
                    <a:pt x="50" y="88"/>
                  </a:lnTo>
                  <a:lnTo>
                    <a:pt x="50" y="92"/>
                  </a:lnTo>
                  <a:lnTo>
                    <a:pt x="37" y="134"/>
                  </a:lnTo>
                  <a:lnTo>
                    <a:pt x="38" y="140"/>
                  </a:lnTo>
                  <a:lnTo>
                    <a:pt x="40" y="146"/>
                  </a:lnTo>
                  <a:lnTo>
                    <a:pt x="44" y="184"/>
                  </a:lnTo>
                  <a:lnTo>
                    <a:pt x="46" y="183"/>
                  </a:lnTo>
                  <a:lnTo>
                    <a:pt x="44" y="184"/>
                  </a:lnTo>
                  <a:lnTo>
                    <a:pt x="44" y="190"/>
                  </a:lnTo>
                  <a:lnTo>
                    <a:pt x="46" y="195"/>
                  </a:lnTo>
                  <a:lnTo>
                    <a:pt x="51" y="198"/>
                  </a:lnTo>
                  <a:lnTo>
                    <a:pt x="53" y="200"/>
                  </a:lnTo>
                  <a:lnTo>
                    <a:pt x="61" y="220"/>
                  </a:lnTo>
                  <a:lnTo>
                    <a:pt x="61" y="225"/>
                  </a:lnTo>
                  <a:lnTo>
                    <a:pt x="60" y="226"/>
                  </a:lnTo>
                  <a:lnTo>
                    <a:pt x="58" y="225"/>
                  </a:lnTo>
                  <a:lnTo>
                    <a:pt x="53" y="218"/>
                  </a:lnTo>
                  <a:lnTo>
                    <a:pt x="49" y="216"/>
                  </a:lnTo>
                  <a:lnTo>
                    <a:pt x="46" y="21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0" name="Freeform 239"/>
            <p:cNvSpPr>
              <a:spLocks/>
            </p:cNvSpPr>
            <p:nvPr/>
          </p:nvSpPr>
          <p:spPr bwMode="auto">
            <a:xfrm>
              <a:off x="5127961" y="3625838"/>
              <a:ext cx="73117" cy="226354"/>
            </a:xfrm>
            <a:custGeom>
              <a:avLst/>
              <a:gdLst>
                <a:gd name="T0" fmla="*/ 8 w 61"/>
                <a:gd name="T1" fmla="*/ 26 h 226"/>
                <a:gd name="T2" fmla="*/ 8 w 61"/>
                <a:gd name="T3" fmla="*/ 26 h 226"/>
                <a:gd name="T4" fmla="*/ 7 w 61"/>
                <a:gd name="T5" fmla="*/ 26 h 226"/>
                <a:gd name="T6" fmla="*/ 6 w 61"/>
                <a:gd name="T7" fmla="*/ 26 h 226"/>
                <a:gd name="T8" fmla="*/ 6 w 61"/>
                <a:gd name="T9" fmla="*/ 27 h 226"/>
                <a:gd name="T10" fmla="*/ 6 w 61"/>
                <a:gd name="T11" fmla="*/ 27 h 226"/>
                <a:gd name="T12" fmla="*/ 5 w 61"/>
                <a:gd name="T13" fmla="*/ 26 h 226"/>
                <a:gd name="T14" fmla="*/ 5 w 61"/>
                <a:gd name="T15" fmla="*/ 26 h 226"/>
                <a:gd name="T16" fmla="*/ 5 w 61"/>
                <a:gd name="T17" fmla="*/ 25 h 226"/>
                <a:gd name="T18" fmla="*/ 5 w 61"/>
                <a:gd name="T19" fmla="*/ 24 h 226"/>
                <a:gd name="T20" fmla="*/ 5 w 61"/>
                <a:gd name="T21" fmla="*/ 24 h 226"/>
                <a:gd name="T22" fmla="*/ 4 w 61"/>
                <a:gd name="T23" fmla="*/ 23 h 226"/>
                <a:gd name="T24" fmla="*/ 3 w 61"/>
                <a:gd name="T25" fmla="*/ 21 h 226"/>
                <a:gd name="T26" fmla="*/ 3 w 61"/>
                <a:gd name="T27" fmla="*/ 21 h 226"/>
                <a:gd name="T28" fmla="*/ 1 w 61"/>
                <a:gd name="T29" fmla="*/ 16 h 226"/>
                <a:gd name="T30" fmla="*/ 1 w 61"/>
                <a:gd name="T31" fmla="*/ 15 h 226"/>
                <a:gd name="T32" fmla="*/ 1 w 61"/>
                <a:gd name="T33" fmla="*/ 15 h 226"/>
                <a:gd name="T34" fmla="*/ 2 w 61"/>
                <a:gd name="T35" fmla="*/ 13 h 226"/>
                <a:gd name="T36" fmla="*/ 3 w 61"/>
                <a:gd name="T37" fmla="*/ 12 h 226"/>
                <a:gd name="T38" fmla="*/ 2 w 61"/>
                <a:gd name="T39" fmla="*/ 6 h 226"/>
                <a:gd name="T40" fmla="*/ 3 w 61"/>
                <a:gd name="T41" fmla="*/ 5 h 226"/>
                <a:gd name="T42" fmla="*/ 3 w 61"/>
                <a:gd name="T43" fmla="*/ 5 h 226"/>
                <a:gd name="T44" fmla="*/ 2 w 61"/>
                <a:gd name="T45" fmla="*/ 4 h 226"/>
                <a:gd name="T46" fmla="*/ 1 w 61"/>
                <a:gd name="T47" fmla="*/ 4 h 226"/>
                <a:gd name="T48" fmla="*/ 1 w 61"/>
                <a:gd name="T49" fmla="*/ 3 h 226"/>
                <a:gd name="T50" fmla="*/ 0 w 61"/>
                <a:gd name="T51" fmla="*/ 2 h 226"/>
                <a:gd name="T52" fmla="*/ 1 w 61"/>
                <a:gd name="T53" fmla="*/ 1 h 226"/>
                <a:gd name="T54" fmla="*/ 1 w 61"/>
                <a:gd name="T55" fmla="*/ 0 h 226"/>
                <a:gd name="T56" fmla="*/ 3 w 61"/>
                <a:gd name="T57" fmla="*/ 1 h 226"/>
                <a:gd name="T58" fmla="*/ 4 w 61"/>
                <a:gd name="T59" fmla="*/ 2 h 226"/>
                <a:gd name="T60" fmla="*/ 6 w 61"/>
                <a:gd name="T61" fmla="*/ 6 h 226"/>
                <a:gd name="T62" fmla="*/ 6 w 61"/>
                <a:gd name="T63" fmla="*/ 9 h 226"/>
                <a:gd name="T64" fmla="*/ 6 w 61"/>
                <a:gd name="T65" fmla="*/ 9 h 226"/>
                <a:gd name="T66" fmla="*/ 8 w 61"/>
                <a:gd name="T67" fmla="*/ 10 h 226"/>
                <a:gd name="T68" fmla="*/ 8 w 61"/>
                <a:gd name="T69" fmla="*/ 11 h 226"/>
                <a:gd name="T70" fmla="*/ 8 w 61"/>
                <a:gd name="T71" fmla="*/ 11 h 226"/>
                <a:gd name="T72" fmla="*/ 6 w 61"/>
                <a:gd name="T73" fmla="*/ 16 h 226"/>
                <a:gd name="T74" fmla="*/ 6 w 61"/>
                <a:gd name="T75" fmla="*/ 17 h 226"/>
                <a:gd name="T76" fmla="*/ 6 w 61"/>
                <a:gd name="T77" fmla="*/ 18 h 226"/>
                <a:gd name="T78" fmla="*/ 7 w 61"/>
                <a:gd name="T79" fmla="*/ 23 h 226"/>
                <a:gd name="T80" fmla="*/ 8 w 61"/>
                <a:gd name="T81" fmla="*/ 23 h 226"/>
                <a:gd name="T82" fmla="*/ 7 w 61"/>
                <a:gd name="T83" fmla="*/ 23 h 226"/>
                <a:gd name="T84" fmla="*/ 7 w 61"/>
                <a:gd name="T85" fmla="*/ 23 h 226"/>
                <a:gd name="T86" fmla="*/ 8 w 61"/>
                <a:gd name="T87" fmla="*/ 24 h 226"/>
                <a:gd name="T88" fmla="*/ 9 w 61"/>
                <a:gd name="T89" fmla="*/ 24 h 226"/>
                <a:gd name="T90" fmla="*/ 9 w 61"/>
                <a:gd name="T91" fmla="*/ 24 h 226"/>
                <a:gd name="T92" fmla="*/ 11 w 61"/>
                <a:gd name="T93" fmla="*/ 27 h 226"/>
                <a:gd name="T94" fmla="*/ 11 w 61"/>
                <a:gd name="T95" fmla="*/ 28 h 226"/>
                <a:gd name="T96" fmla="*/ 10 w 61"/>
                <a:gd name="T97" fmla="*/ 28 h 226"/>
                <a:gd name="T98" fmla="*/ 10 w 61"/>
                <a:gd name="T99" fmla="*/ 28 h 226"/>
                <a:gd name="T100" fmla="*/ 9 w 61"/>
                <a:gd name="T101" fmla="*/ 27 h 226"/>
                <a:gd name="T102" fmla="*/ 8 w 61"/>
                <a:gd name="T103" fmla="*/ 26 h 226"/>
                <a:gd name="T104" fmla="*/ 8 w 61"/>
                <a:gd name="T105" fmla="*/ 26 h 22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1"/>
                <a:gd name="T160" fmla="*/ 0 h 226"/>
                <a:gd name="T161" fmla="*/ 61 w 61"/>
                <a:gd name="T162" fmla="*/ 226 h 22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1" h="226">
                  <a:moveTo>
                    <a:pt x="46" y="210"/>
                  </a:moveTo>
                  <a:lnTo>
                    <a:pt x="46" y="210"/>
                  </a:lnTo>
                  <a:lnTo>
                    <a:pt x="44" y="210"/>
                  </a:lnTo>
                  <a:lnTo>
                    <a:pt x="40" y="217"/>
                  </a:lnTo>
                  <a:lnTo>
                    <a:pt x="38" y="218"/>
                  </a:lnTo>
                  <a:lnTo>
                    <a:pt x="34" y="218"/>
                  </a:lnTo>
                  <a:lnTo>
                    <a:pt x="32" y="217"/>
                  </a:lnTo>
                  <a:lnTo>
                    <a:pt x="30" y="213"/>
                  </a:lnTo>
                  <a:lnTo>
                    <a:pt x="29" y="205"/>
                  </a:lnTo>
                  <a:lnTo>
                    <a:pt x="31" y="199"/>
                  </a:lnTo>
                  <a:lnTo>
                    <a:pt x="31" y="195"/>
                  </a:lnTo>
                  <a:lnTo>
                    <a:pt x="24" y="187"/>
                  </a:lnTo>
                  <a:lnTo>
                    <a:pt x="20" y="166"/>
                  </a:lnTo>
                  <a:lnTo>
                    <a:pt x="19" y="166"/>
                  </a:lnTo>
                  <a:lnTo>
                    <a:pt x="4" y="127"/>
                  </a:lnTo>
                  <a:lnTo>
                    <a:pt x="4" y="124"/>
                  </a:lnTo>
                  <a:lnTo>
                    <a:pt x="5" y="120"/>
                  </a:lnTo>
                  <a:lnTo>
                    <a:pt x="14" y="109"/>
                  </a:lnTo>
                  <a:lnTo>
                    <a:pt x="17" y="98"/>
                  </a:lnTo>
                  <a:lnTo>
                    <a:pt x="14" y="50"/>
                  </a:lnTo>
                  <a:lnTo>
                    <a:pt x="16" y="44"/>
                  </a:lnTo>
                  <a:lnTo>
                    <a:pt x="16" y="39"/>
                  </a:lnTo>
                  <a:lnTo>
                    <a:pt x="13" y="33"/>
                  </a:lnTo>
                  <a:lnTo>
                    <a:pt x="8" y="31"/>
                  </a:lnTo>
                  <a:lnTo>
                    <a:pt x="5" y="29"/>
                  </a:lnTo>
                  <a:lnTo>
                    <a:pt x="0" y="18"/>
                  </a:lnTo>
                  <a:lnTo>
                    <a:pt x="1" y="6"/>
                  </a:lnTo>
                  <a:lnTo>
                    <a:pt x="5" y="0"/>
                  </a:lnTo>
                  <a:lnTo>
                    <a:pt x="16" y="2"/>
                  </a:lnTo>
                  <a:lnTo>
                    <a:pt x="25" y="12"/>
                  </a:lnTo>
                  <a:lnTo>
                    <a:pt x="37" y="55"/>
                  </a:lnTo>
                  <a:lnTo>
                    <a:pt x="36" y="71"/>
                  </a:lnTo>
                  <a:lnTo>
                    <a:pt x="37" y="73"/>
                  </a:lnTo>
                  <a:lnTo>
                    <a:pt x="46" y="82"/>
                  </a:lnTo>
                  <a:lnTo>
                    <a:pt x="50" y="88"/>
                  </a:lnTo>
                  <a:lnTo>
                    <a:pt x="50" y="92"/>
                  </a:lnTo>
                  <a:lnTo>
                    <a:pt x="37" y="134"/>
                  </a:lnTo>
                  <a:lnTo>
                    <a:pt x="38" y="140"/>
                  </a:lnTo>
                  <a:lnTo>
                    <a:pt x="40" y="146"/>
                  </a:lnTo>
                  <a:lnTo>
                    <a:pt x="44" y="184"/>
                  </a:lnTo>
                  <a:lnTo>
                    <a:pt x="46" y="183"/>
                  </a:lnTo>
                  <a:lnTo>
                    <a:pt x="44" y="184"/>
                  </a:lnTo>
                  <a:lnTo>
                    <a:pt x="44" y="190"/>
                  </a:lnTo>
                  <a:lnTo>
                    <a:pt x="46" y="195"/>
                  </a:lnTo>
                  <a:lnTo>
                    <a:pt x="51" y="198"/>
                  </a:lnTo>
                  <a:lnTo>
                    <a:pt x="53" y="200"/>
                  </a:lnTo>
                  <a:lnTo>
                    <a:pt x="61" y="220"/>
                  </a:lnTo>
                  <a:lnTo>
                    <a:pt x="61" y="225"/>
                  </a:lnTo>
                  <a:lnTo>
                    <a:pt x="60" y="226"/>
                  </a:lnTo>
                  <a:lnTo>
                    <a:pt x="58" y="225"/>
                  </a:lnTo>
                  <a:lnTo>
                    <a:pt x="53" y="218"/>
                  </a:lnTo>
                  <a:lnTo>
                    <a:pt x="49" y="216"/>
                  </a:lnTo>
                  <a:lnTo>
                    <a:pt x="46" y="21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1" name="Freeform 240"/>
            <p:cNvSpPr>
              <a:spLocks/>
            </p:cNvSpPr>
            <p:nvPr/>
          </p:nvSpPr>
          <p:spPr bwMode="auto">
            <a:xfrm>
              <a:off x="4867990" y="3340112"/>
              <a:ext cx="109675" cy="248618"/>
            </a:xfrm>
            <a:custGeom>
              <a:avLst/>
              <a:gdLst>
                <a:gd name="T0" fmla="*/ 9 w 92"/>
                <a:gd name="T1" fmla="*/ 24 h 248"/>
                <a:gd name="T2" fmla="*/ 8 w 92"/>
                <a:gd name="T3" fmla="*/ 23 h 248"/>
                <a:gd name="T4" fmla="*/ 6 w 92"/>
                <a:gd name="T5" fmla="*/ 22 h 248"/>
                <a:gd name="T6" fmla="*/ 4 w 92"/>
                <a:gd name="T7" fmla="*/ 20 h 248"/>
                <a:gd name="T8" fmla="*/ 3 w 92"/>
                <a:gd name="T9" fmla="*/ 18 h 248"/>
                <a:gd name="T10" fmla="*/ 2 w 92"/>
                <a:gd name="T11" fmla="*/ 17 h 248"/>
                <a:gd name="T12" fmla="*/ 1 w 92"/>
                <a:gd name="T13" fmla="*/ 16 h 248"/>
                <a:gd name="T14" fmla="*/ 2 w 92"/>
                <a:gd name="T15" fmla="*/ 13 h 248"/>
                <a:gd name="T16" fmla="*/ 0 w 92"/>
                <a:gd name="T17" fmla="*/ 10 h 248"/>
                <a:gd name="T18" fmla="*/ 1 w 92"/>
                <a:gd name="T19" fmla="*/ 6 h 248"/>
                <a:gd name="T20" fmla="*/ 1 w 92"/>
                <a:gd name="T21" fmla="*/ 5 h 248"/>
                <a:gd name="T22" fmla="*/ 1 w 92"/>
                <a:gd name="T23" fmla="*/ 5 h 248"/>
                <a:gd name="T24" fmla="*/ 2 w 92"/>
                <a:gd name="T25" fmla="*/ 0 h 248"/>
                <a:gd name="T26" fmla="*/ 2 w 92"/>
                <a:gd name="T27" fmla="*/ 1 h 248"/>
                <a:gd name="T28" fmla="*/ 3 w 92"/>
                <a:gd name="T29" fmla="*/ 4 h 248"/>
                <a:gd name="T30" fmla="*/ 4 w 92"/>
                <a:gd name="T31" fmla="*/ 6 h 248"/>
                <a:gd name="T32" fmla="*/ 4 w 92"/>
                <a:gd name="T33" fmla="*/ 9 h 248"/>
                <a:gd name="T34" fmla="*/ 5 w 92"/>
                <a:gd name="T35" fmla="*/ 10 h 248"/>
                <a:gd name="T36" fmla="*/ 5 w 92"/>
                <a:gd name="T37" fmla="*/ 10 h 248"/>
                <a:gd name="T38" fmla="*/ 6 w 92"/>
                <a:gd name="T39" fmla="*/ 15 h 248"/>
                <a:gd name="T40" fmla="*/ 6 w 92"/>
                <a:gd name="T41" fmla="*/ 15 h 248"/>
                <a:gd name="T42" fmla="*/ 5 w 92"/>
                <a:gd name="T43" fmla="*/ 16 h 248"/>
                <a:gd name="T44" fmla="*/ 5 w 92"/>
                <a:gd name="T45" fmla="*/ 17 h 248"/>
                <a:gd name="T46" fmla="*/ 8 w 92"/>
                <a:gd name="T47" fmla="*/ 18 h 248"/>
                <a:gd name="T48" fmla="*/ 11 w 92"/>
                <a:gd name="T49" fmla="*/ 21 h 248"/>
                <a:gd name="T50" fmla="*/ 11 w 92"/>
                <a:gd name="T51" fmla="*/ 23 h 248"/>
                <a:gd name="T52" fmla="*/ 15 w 92"/>
                <a:gd name="T53" fmla="*/ 30 h 248"/>
                <a:gd name="T54" fmla="*/ 14 w 92"/>
                <a:gd name="T55" fmla="*/ 31 h 248"/>
                <a:gd name="T56" fmla="*/ 12 w 92"/>
                <a:gd name="T57" fmla="*/ 30 h 248"/>
                <a:gd name="T58" fmla="*/ 11 w 92"/>
                <a:gd name="T59" fmla="*/ 30 h 248"/>
                <a:gd name="T60" fmla="*/ 11 w 92"/>
                <a:gd name="T61" fmla="*/ 30 h 248"/>
                <a:gd name="T62" fmla="*/ 11 w 92"/>
                <a:gd name="T63" fmla="*/ 29 h 248"/>
                <a:gd name="T64" fmla="*/ 11 w 92"/>
                <a:gd name="T65" fmla="*/ 28 h 248"/>
                <a:gd name="T66" fmla="*/ 9 w 92"/>
                <a:gd name="T67" fmla="*/ 24 h 24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2"/>
                <a:gd name="T103" fmla="*/ 0 h 248"/>
                <a:gd name="T104" fmla="*/ 92 w 92"/>
                <a:gd name="T105" fmla="*/ 248 h 24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2" h="248">
                  <a:moveTo>
                    <a:pt x="58" y="191"/>
                  </a:moveTo>
                  <a:lnTo>
                    <a:pt x="50" y="181"/>
                  </a:lnTo>
                  <a:lnTo>
                    <a:pt x="40" y="177"/>
                  </a:lnTo>
                  <a:lnTo>
                    <a:pt x="22" y="159"/>
                  </a:lnTo>
                  <a:lnTo>
                    <a:pt x="17" y="146"/>
                  </a:lnTo>
                  <a:lnTo>
                    <a:pt x="12" y="140"/>
                  </a:lnTo>
                  <a:lnTo>
                    <a:pt x="9" y="126"/>
                  </a:lnTo>
                  <a:lnTo>
                    <a:pt x="12" y="106"/>
                  </a:lnTo>
                  <a:lnTo>
                    <a:pt x="0" y="79"/>
                  </a:lnTo>
                  <a:lnTo>
                    <a:pt x="7" y="47"/>
                  </a:lnTo>
                  <a:lnTo>
                    <a:pt x="6" y="39"/>
                  </a:lnTo>
                  <a:lnTo>
                    <a:pt x="1" y="41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7" y="35"/>
                  </a:lnTo>
                  <a:lnTo>
                    <a:pt x="26" y="47"/>
                  </a:lnTo>
                  <a:lnTo>
                    <a:pt x="26" y="76"/>
                  </a:lnTo>
                  <a:lnTo>
                    <a:pt x="29" y="79"/>
                  </a:lnTo>
                  <a:lnTo>
                    <a:pt x="32" y="83"/>
                  </a:lnTo>
                  <a:lnTo>
                    <a:pt x="38" y="117"/>
                  </a:lnTo>
                  <a:lnTo>
                    <a:pt x="36" y="122"/>
                  </a:lnTo>
                  <a:lnTo>
                    <a:pt x="30" y="127"/>
                  </a:lnTo>
                  <a:lnTo>
                    <a:pt x="33" y="139"/>
                  </a:lnTo>
                  <a:lnTo>
                    <a:pt x="51" y="148"/>
                  </a:lnTo>
                  <a:lnTo>
                    <a:pt x="66" y="165"/>
                  </a:lnTo>
                  <a:lnTo>
                    <a:pt x="66" y="183"/>
                  </a:lnTo>
                  <a:lnTo>
                    <a:pt x="92" y="238"/>
                  </a:lnTo>
                  <a:lnTo>
                    <a:pt x="85" y="248"/>
                  </a:lnTo>
                  <a:lnTo>
                    <a:pt x="77" y="241"/>
                  </a:lnTo>
                  <a:lnTo>
                    <a:pt x="71" y="240"/>
                  </a:lnTo>
                  <a:lnTo>
                    <a:pt x="68" y="238"/>
                  </a:lnTo>
                  <a:lnTo>
                    <a:pt x="66" y="231"/>
                  </a:lnTo>
                  <a:lnTo>
                    <a:pt x="68" y="226"/>
                  </a:lnTo>
                  <a:lnTo>
                    <a:pt x="58" y="19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2" name="Freeform 241"/>
            <p:cNvSpPr>
              <a:spLocks/>
            </p:cNvSpPr>
            <p:nvPr/>
          </p:nvSpPr>
          <p:spPr bwMode="auto">
            <a:xfrm>
              <a:off x="4867990" y="3340112"/>
              <a:ext cx="109675" cy="248618"/>
            </a:xfrm>
            <a:custGeom>
              <a:avLst/>
              <a:gdLst>
                <a:gd name="T0" fmla="*/ 9 w 92"/>
                <a:gd name="T1" fmla="*/ 24 h 248"/>
                <a:gd name="T2" fmla="*/ 8 w 92"/>
                <a:gd name="T3" fmla="*/ 23 h 248"/>
                <a:gd name="T4" fmla="*/ 6 w 92"/>
                <a:gd name="T5" fmla="*/ 22 h 248"/>
                <a:gd name="T6" fmla="*/ 4 w 92"/>
                <a:gd name="T7" fmla="*/ 20 h 248"/>
                <a:gd name="T8" fmla="*/ 3 w 92"/>
                <a:gd name="T9" fmla="*/ 18 h 248"/>
                <a:gd name="T10" fmla="*/ 2 w 92"/>
                <a:gd name="T11" fmla="*/ 17 h 248"/>
                <a:gd name="T12" fmla="*/ 1 w 92"/>
                <a:gd name="T13" fmla="*/ 16 h 248"/>
                <a:gd name="T14" fmla="*/ 2 w 92"/>
                <a:gd name="T15" fmla="*/ 13 h 248"/>
                <a:gd name="T16" fmla="*/ 0 w 92"/>
                <a:gd name="T17" fmla="*/ 10 h 248"/>
                <a:gd name="T18" fmla="*/ 1 w 92"/>
                <a:gd name="T19" fmla="*/ 6 h 248"/>
                <a:gd name="T20" fmla="*/ 1 w 92"/>
                <a:gd name="T21" fmla="*/ 5 h 248"/>
                <a:gd name="T22" fmla="*/ 1 w 92"/>
                <a:gd name="T23" fmla="*/ 5 h 248"/>
                <a:gd name="T24" fmla="*/ 2 w 92"/>
                <a:gd name="T25" fmla="*/ 0 h 248"/>
                <a:gd name="T26" fmla="*/ 2 w 92"/>
                <a:gd name="T27" fmla="*/ 1 h 248"/>
                <a:gd name="T28" fmla="*/ 3 w 92"/>
                <a:gd name="T29" fmla="*/ 4 h 248"/>
                <a:gd name="T30" fmla="*/ 4 w 92"/>
                <a:gd name="T31" fmla="*/ 6 h 248"/>
                <a:gd name="T32" fmla="*/ 4 w 92"/>
                <a:gd name="T33" fmla="*/ 9 h 248"/>
                <a:gd name="T34" fmla="*/ 5 w 92"/>
                <a:gd name="T35" fmla="*/ 10 h 248"/>
                <a:gd name="T36" fmla="*/ 5 w 92"/>
                <a:gd name="T37" fmla="*/ 10 h 248"/>
                <a:gd name="T38" fmla="*/ 6 w 92"/>
                <a:gd name="T39" fmla="*/ 15 h 248"/>
                <a:gd name="T40" fmla="*/ 6 w 92"/>
                <a:gd name="T41" fmla="*/ 15 h 248"/>
                <a:gd name="T42" fmla="*/ 5 w 92"/>
                <a:gd name="T43" fmla="*/ 16 h 248"/>
                <a:gd name="T44" fmla="*/ 5 w 92"/>
                <a:gd name="T45" fmla="*/ 17 h 248"/>
                <a:gd name="T46" fmla="*/ 8 w 92"/>
                <a:gd name="T47" fmla="*/ 18 h 248"/>
                <a:gd name="T48" fmla="*/ 11 w 92"/>
                <a:gd name="T49" fmla="*/ 21 h 248"/>
                <a:gd name="T50" fmla="*/ 11 w 92"/>
                <a:gd name="T51" fmla="*/ 23 h 248"/>
                <a:gd name="T52" fmla="*/ 15 w 92"/>
                <a:gd name="T53" fmla="*/ 30 h 248"/>
                <a:gd name="T54" fmla="*/ 14 w 92"/>
                <a:gd name="T55" fmla="*/ 31 h 248"/>
                <a:gd name="T56" fmla="*/ 12 w 92"/>
                <a:gd name="T57" fmla="*/ 30 h 248"/>
                <a:gd name="T58" fmla="*/ 11 w 92"/>
                <a:gd name="T59" fmla="*/ 30 h 248"/>
                <a:gd name="T60" fmla="*/ 11 w 92"/>
                <a:gd name="T61" fmla="*/ 30 h 248"/>
                <a:gd name="T62" fmla="*/ 11 w 92"/>
                <a:gd name="T63" fmla="*/ 29 h 248"/>
                <a:gd name="T64" fmla="*/ 11 w 92"/>
                <a:gd name="T65" fmla="*/ 28 h 248"/>
                <a:gd name="T66" fmla="*/ 9 w 92"/>
                <a:gd name="T67" fmla="*/ 24 h 24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2"/>
                <a:gd name="T103" fmla="*/ 0 h 248"/>
                <a:gd name="T104" fmla="*/ 92 w 92"/>
                <a:gd name="T105" fmla="*/ 248 h 24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2" h="248">
                  <a:moveTo>
                    <a:pt x="58" y="191"/>
                  </a:moveTo>
                  <a:lnTo>
                    <a:pt x="50" y="181"/>
                  </a:lnTo>
                  <a:lnTo>
                    <a:pt x="40" y="177"/>
                  </a:lnTo>
                  <a:lnTo>
                    <a:pt x="22" y="159"/>
                  </a:lnTo>
                  <a:lnTo>
                    <a:pt x="17" y="146"/>
                  </a:lnTo>
                  <a:lnTo>
                    <a:pt x="12" y="140"/>
                  </a:lnTo>
                  <a:lnTo>
                    <a:pt x="9" y="126"/>
                  </a:lnTo>
                  <a:lnTo>
                    <a:pt x="12" y="106"/>
                  </a:lnTo>
                  <a:lnTo>
                    <a:pt x="0" y="79"/>
                  </a:lnTo>
                  <a:lnTo>
                    <a:pt x="7" y="47"/>
                  </a:lnTo>
                  <a:lnTo>
                    <a:pt x="6" y="39"/>
                  </a:lnTo>
                  <a:lnTo>
                    <a:pt x="1" y="41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7" y="35"/>
                  </a:lnTo>
                  <a:lnTo>
                    <a:pt x="26" y="47"/>
                  </a:lnTo>
                  <a:lnTo>
                    <a:pt x="26" y="76"/>
                  </a:lnTo>
                  <a:lnTo>
                    <a:pt x="29" y="79"/>
                  </a:lnTo>
                  <a:lnTo>
                    <a:pt x="32" y="83"/>
                  </a:lnTo>
                  <a:lnTo>
                    <a:pt x="38" y="117"/>
                  </a:lnTo>
                  <a:lnTo>
                    <a:pt x="36" y="122"/>
                  </a:lnTo>
                  <a:lnTo>
                    <a:pt x="30" y="127"/>
                  </a:lnTo>
                  <a:lnTo>
                    <a:pt x="33" y="139"/>
                  </a:lnTo>
                  <a:lnTo>
                    <a:pt x="51" y="148"/>
                  </a:lnTo>
                  <a:lnTo>
                    <a:pt x="66" y="165"/>
                  </a:lnTo>
                  <a:lnTo>
                    <a:pt x="66" y="183"/>
                  </a:lnTo>
                  <a:lnTo>
                    <a:pt x="92" y="238"/>
                  </a:lnTo>
                  <a:lnTo>
                    <a:pt x="85" y="248"/>
                  </a:lnTo>
                  <a:lnTo>
                    <a:pt x="77" y="241"/>
                  </a:lnTo>
                  <a:lnTo>
                    <a:pt x="71" y="240"/>
                  </a:lnTo>
                  <a:lnTo>
                    <a:pt x="68" y="238"/>
                  </a:lnTo>
                  <a:lnTo>
                    <a:pt x="66" y="231"/>
                  </a:lnTo>
                  <a:lnTo>
                    <a:pt x="68" y="226"/>
                  </a:lnTo>
                  <a:lnTo>
                    <a:pt x="58" y="19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3" name="Freeform 242"/>
            <p:cNvSpPr>
              <a:spLocks/>
            </p:cNvSpPr>
            <p:nvPr/>
          </p:nvSpPr>
          <p:spPr bwMode="auto">
            <a:xfrm>
              <a:off x="5012192" y="3173129"/>
              <a:ext cx="168574" cy="148430"/>
            </a:xfrm>
            <a:custGeom>
              <a:avLst/>
              <a:gdLst>
                <a:gd name="T0" fmla="*/ 1 w 141"/>
                <a:gd name="T1" fmla="*/ 3 h 149"/>
                <a:gd name="T2" fmla="*/ 5 w 141"/>
                <a:gd name="T3" fmla="*/ 2 h 149"/>
                <a:gd name="T4" fmla="*/ 6 w 141"/>
                <a:gd name="T5" fmla="*/ 2 h 149"/>
                <a:gd name="T6" fmla="*/ 8 w 141"/>
                <a:gd name="T7" fmla="*/ 1 h 149"/>
                <a:gd name="T8" fmla="*/ 10 w 141"/>
                <a:gd name="T9" fmla="*/ 2 h 149"/>
                <a:gd name="T10" fmla="*/ 15 w 141"/>
                <a:gd name="T11" fmla="*/ 1 h 149"/>
                <a:gd name="T12" fmla="*/ 16 w 141"/>
                <a:gd name="T13" fmla="*/ 1 h 149"/>
                <a:gd name="T14" fmla="*/ 17 w 141"/>
                <a:gd name="T15" fmla="*/ 2 h 149"/>
                <a:gd name="T16" fmla="*/ 19 w 141"/>
                <a:gd name="T17" fmla="*/ 4 h 149"/>
                <a:gd name="T18" fmla="*/ 20 w 141"/>
                <a:gd name="T19" fmla="*/ 3 h 149"/>
                <a:gd name="T20" fmla="*/ 23 w 141"/>
                <a:gd name="T21" fmla="*/ 4 h 149"/>
                <a:gd name="T22" fmla="*/ 20 w 141"/>
                <a:gd name="T23" fmla="*/ 5 h 149"/>
                <a:gd name="T24" fmla="*/ 18 w 141"/>
                <a:gd name="T25" fmla="*/ 6 h 149"/>
                <a:gd name="T26" fmla="*/ 17 w 141"/>
                <a:gd name="T27" fmla="*/ 8 h 149"/>
                <a:gd name="T28" fmla="*/ 17 w 141"/>
                <a:gd name="T29" fmla="*/ 9 h 149"/>
                <a:gd name="T30" fmla="*/ 16 w 141"/>
                <a:gd name="T31" fmla="*/ 9 h 149"/>
                <a:gd name="T32" fmla="*/ 15 w 141"/>
                <a:gd name="T33" fmla="*/ 10 h 149"/>
                <a:gd name="T34" fmla="*/ 15 w 141"/>
                <a:gd name="T35" fmla="*/ 11 h 149"/>
                <a:gd name="T36" fmla="*/ 14 w 141"/>
                <a:gd name="T37" fmla="*/ 11 h 149"/>
                <a:gd name="T38" fmla="*/ 14 w 141"/>
                <a:gd name="T39" fmla="*/ 12 h 149"/>
                <a:gd name="T40" fmla="*/ 12 w 141"/>
                <a:gd name="T41" fmla="*/ 13 h 149"/>
                <a:gd name="T42" fmla="*/ 15 w 141"/>
                <a:gd name="T43" fmla="*/ 13 h 149"/>
                <a:gd name="T44" fmla="*/ 15 w 141"/>
                <a:gd name="T45" fmla="*/ 14 h 149"/>
                <a:gd name="T46" fmla="*/ 13 w 141"/>
                <a:gd name="T47" fmla="*/ 15 h 149"/>
                <a:gd name="T48" fmla="*/ 10 w 141"/>
                <a:gd name="T49" fmla="*/ 16 h 149"/>
                <a:gd name="T50" fmla="*/ 9 w 141"/>
                <a:gd name="T51" fmla="*/ 17 h 149"/>
                <a:gd name="T52" fmla="*/ 8 w 141"/>
                <a:gd name="T53" fmla="*/ 16 h 149"/>
                <a:gd name="T54" fmla="*/ 7 w 141"/>
                <a:gd name="T55" fmla="*/ 16 h 149"/>
                <a:gd name="T56" fmla="*/ 4 w 141"/>
                <a:gd name="T57" fmla="*/ 15 h 149"/>
                <a:gd name="T58" fmla="*/ 3 w 141"/>
                <a:gd name="T59" fmla="*/ 16 h 149"/>
                <a:gd name="T60" fmla="*/ 1 w 141"/>
                <a:gd name="T61" fmla="*/ 17 h 149"/>
                <a:gd name="T62" fmla="*/ 1 w 141"/>
                <a:gd name="T63" fmla="*/ 15 h 149"/>
                <a:gd name="T64" fmla="*/ 1 w 141"/>
                <a:gd name="T65" fmla="*/ 7 h 149"/>
                <a:gd name="T66" fmla="*/ 2 w 141"/>
                <a:gd name="T67" fmla="*/ 4 h 1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1"/>
                <a:gd name="T103" fmla="*/ 0 h 149"/>
                <a:gd name="T104" fmla="*/ 141 w 141"/>
                <a:gd name="T105" fmla="*/ 149 h 1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1" h="149">
                  <a:moveTo>
                    <a:pt x="8" y="27"/>
                  </a:moveTo>
                  <a:lnTo>
                    <a:pt x="9" y="23"/>
                  </a:lnTo>
                  <a:lnTo>
                    <a:pt x="26" y="18"/>
                  </a:lnTo>
                  <a:lnTo>
                    <a:pt x="30" y="12"/>
                  </a:lnTo>
                  <a:lnTo>
                    <a:pt x="35" y="14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4" y="11"/>
                  </a:lnTo>
                  <a:lnTo>
                    <a:pt x="61" y="14"/>
                  </a:lnTo>
                  <a:lnTo>
                    <a:pt x="70" y="0"/>
                  </a:lnTo>
                  <a:lnTo>
                    <a:pt x="88" y="7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04" y="5"/>
                  </a:lnTo>
                  <a:lnTo>
                    <a:pt x="103" y="18"/>
                  </a:lnTo>
                  <a:lnTo>
                    <a:pt x="109" y="25"/>
                  </a:lnTo>
                  <a:lnTo>
                    <a:pt x="112" y="32"/>
                  </a:lnTo>
                  <a:lnTo>
                    <a:pt x="117" y="31"/>
                  </a:lnTo>
                  <a:lnTo>
                    <a:pt x="123" y="28"/>
                  </a:lnTo>
                  <a:lnTo>
                    <a:pt x="141" y="28"/>
                  </a:lnTo>
                  <a:lnTo>
                    <a:pt x="141" y="31"/>
                  </a:lnTo>
                  <a:lnTo>
                    <a:pt x="130" y="35"/>
                  </a:lnTo>
                  <a:lnTo>
                    <a:pt x="123" y="41"/>
                  </a:lnTo>
                  <a:lnTo>
                    <a:pt x="114" y="41"/>
                  </a:lnTo>
                  <a:lnTo>
                    <a:pt x="107" y="52"/>
                  </a:lnTo>
                  <a:lnTo>
                    <a:pt x="115" y="59"/>
                  </a:lnTo>
                  <a:lnTo>
                    <a:pt x="105" y="63"/>
                  </a:lnTo>
                  <a:lnTo>
                    <a:pt x="103" y="68"/>
                  </a:lnTo>
                  <a:lnTo>
                    <a:pt x="105" y="74"/>
                  </a:lnTo>
                  <a:lnTo>
                    <a:pt x="104" y="77"/>
                  </a:lnTo>
                  <a:lnTo>
                    <a:pt x="100" y="76"/>
                  </a:lnTo>
                  <a:lnTo>
                    <a:pt x="98" y="83"/>
                  </a:lnTo>
                  <a:lnTo>
                    <a:pt x="94" y="84"/>
                  </a:lnTo>
                  <a:lnTo>
                    <a:pt x="93" y="88"/>
                  </a:lnTo>
                  <a:lnTo>
                    <a:pt x="89" y="94"/>
                  </a:lnTo>
                  <a:lnTo>
                    <a:pt x="88" y="97"/>
                  </a:lnTo>
                  <a:lnTo>
                    <a:pt x="83" y="97"/>
                  </a:lnTo>
                  <a:lnTo>
                    <a:pt x="80" y="99"/>
                  </a:lnTo>
                  <a:lnTo>
                    <a:pt x="83" y="102"/>
                  </a:lnTo>
                  <a:lnTo>
                    <a:pt x="74" y="108"/>
                  </a:lnTo>
                  <a:lnTo>
                    <a:pt x="72" y="111"/>
                  </a:lnTo>
                  <a:lnTo>
                    <a:pt x="80" y="114"/>
                  </a:lnTo>
                  <a:lnTo>
                    <a:pt x="92" y="113"/>
                  </a:lnTo>
                  <a:lnTo>
                    <a:pt x="94" y="117"/>
                  </a:lnTo>
                  <a:lnTo>
                    <a:pt x="93" y="119"/>
                  </a:lnTo>
                  <a:lnTo>
                    <a:pt x="85" y="125"/>
                  </a:lnTo>
                  <a:lnTo>
                    <a:pt x="78" y="128"/>
                  </a:lnTo>
                  <a:lnTo>
                    <a:pt x="63" y="128"/>
                  </a:lnTo>
                  <a:lnTo>
                    <a:pt x="60" y="129"/>
                  </a:lnTo>
                  <a:lnTo>
                    <a:pt x="58" y="138"/>
                  </a:lnTo>
                  <a:lnTo>
                    <a:pt x="58" y="144"/>
                  </a:lnTo>
                  <a:lnTo>
                    <a:pt x="53" y="149"/>
                  </a:lnTo>
                  <a:lnTo>
                    <a:pt x="51" y="131"/>
                  </a:lnTo>
                  <a:lnTo>
                    <a:pt x="47" y="131"/>
                  </a:lnTo>
                  <a:lnTo>
                    <a:pt x="42" y="134"/>
                  </a:lnTo>
                  <a:lnTo>
                    <a:pt x="25" y="119"/>
                  </a:lnTo>
                  <a:lnTo>
                    <a:pt x="21" y="124"/>
                  </a:lnTo>
                  <a:lnTo>
                    <a:pt x="22" y="131"/>
                  </a:lnTo>
                  <a:lnTo>
                    <a:pt x="17" y="132"/>
                  </a:lnTo>
                  <a:lnTo>
                    <a:pt x="14" y="139"/>
                  </a:lnTo>
                  <a:lnTo>
                    <a:pt x="7" y="142"/>
                  </a:lnTo>
                  <a:lnTo>
                    <a:pt x="3" y="134"/>
                  </a:lnTo>
                  <a:lnTo>
                    <a:pt x="3" y="128"/>
                  </a:lnTo>
                  <a:lnTo>
                    <a:pt x="0" y="110"/>
                  </a:lnTo>
                  <a:lnTo>
                    <a:pt x="4" y="60"/>
                  </a:lnTo>
                  <a:lnTo>
                    <a:pt x="0" y="55"/>
                  </a:lnTo>
                  <a:lnTo>
                    <a:pt x="10" y="32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4" name="Freeform 243"/>
            <p:cNvSpPr>
              <a:spLocks/>
            </p:cNvSpPr>
            <p:nvPr/>
          </p:nvSpPr>
          <p:spPr bwMode="auto">
            <a:xfrm>
              <a:off x="5012192" y="3173129"/>
              <a:ext cx="168574" cy="148430"/>
            </a:xfrm>
            <a:custGeom>
              <a:avLst/>
              <a:gdLst>
                <a:gd name="T0" fmla="*/ 1 w 141"/>
                <a:gd name="T1" fmla="*/ 3 h 149"/>
                <a:gd name="T2" fmla="*/ 5 w 141"/>
                <a:gd name="T3" fmla="*/ 2 h 149"/>
                <a:gd name="T4" fmla="*/ 6 w 141"/>
                <a:gd name="T5" fmla="*/ 2 h 149"/>
                <a:gd name="T6" fmla="*/ 8 w 141"/>
                <a:gd name="T7" fmla="*/ 1 h 149"/>
                <a:gd name="T8" fmla="*/ 10 w 141"/>
                <a:gd name="T9" fmla="*/ 2 h 149"/>
                <a:gd name="T10" fmla="*/ 15 w 141"/>
                <a:gd name="T11" fmla="*/ 1 h 149"/>
                <a:gd name="T12" fmla="*/ 16 w 141"/>
                <a:gd name="T13" fmla="*/ 1 h 149"/>
                <a:gd name="T14" fmla="*/ 17 w 141"/>
                <a:gd name="T15" fmla="*/ 2 h 149"/>
                <a:gd name="T16" fmla="*/ 19 w 141"/>
                <a:gd name="T17" fmla="*/ 4 h 149"/>
                <a:gd name="T18" fmla="*/ 20 w 141"/>
                <a:gd name="T19" fmla="*/ 3 h 149"/>
                <a:gd name="T20" fmla="*/ 23 w 141"/>
                <a:gd name="T21" fmla="*/ 4 h 149"/>
                <a:gd name="T22" fmla="*/ 20 w 141"/>
                <a:gd name="T23" fmla="*/ 5 h 149"/>
                <a:gd name="T24" fmla="*/ 18 w 141"/>
                <a:gd name="T25" fmla="*/ 6 h 149"/>
                <a:gd name="T26" fmla="*/ 17 w 141"/>
                <a:gd name="T27" fmla="*/ 8 h 149"/>
                <a:gd name="T28" fmla="*/ 17 w 141"/>
                <a:gd name="T29" fmla="*/ 9 h 149"/>
                <a:gd name="T30" fmla="*/ 16 w 141"/>
                <a:gd name="T31" fmla="*/ 9 h 149"/>
                <a:gd name="T32" fmla="*/ 15 w 141"/>
                <a:gd name="T33" fmla="*/ 10 h 149"/>
                <a:gd name="T34" fmla="*/ 15 w 141"/>
                <a:gd name="T35" fmla="*/ 11 h 149"/>
                <a:gd name="T36" fmla="*/ 14 w 141"/>
                <a:gd name="T37" fmla="*/ 11 h 149"/>
                <a:gd name="T38" fmla="*/ 14 w 141"/>
                <a:gd name="T39" fmla="*/ 12 h 149"/>
                <a:gd name="T40" fmla="*/ 12 w 141"/>
                <a:gd name="T41" fmla="*/ 13 h 149"/>
                <a:gd name="T42" fmla="*/ 15 w 141"/>
                <a:gd name="T43" fmla="*/ 13 h 149"/>
                <a:gd name="T44" fmla="*/ 15 w 141"/>
                <a:gd name="T45" fmla="*/ 14 h 149"/>
                <a:gd name="T46" fmla="*/ 13 w 141"/>
                <a:gd name="T47" fmla="*/ 15 h 149"/>
                <a:gd name="T48" fmla="*/ 10 w 141"/>
                <a:gd name="T49" fmla="*/ 16 h 149"/>
                <a:gd name="T50" fmla="*/ 9 w 141"/>
                <a:gd name="T51" fmla="*/ 17 h 149"/>
                <a:gd name="T52" fmla="*/ 8 w 141"/>
                <a:gd name="T53" fmla="*/ 16 h 149"/>
                <a:gd name="T54" fmla="*/ 7 w 141"/>
                <a:gd name="T55" fmla="*/ 16 h 149"/>
                <a:gd name="T56" fmla="*/ 4 w 141"/>
                <a:gd name="T57" fmla="*/ 15 h 149"/>
                <a:gd name="T58" fmla="*/ 3 w 141"/>
                <a:gd name="T59" fmla="*/ 16 h 149"/>
                <a:gd name="T60" fmla="*/ 1 w 141"/>
                <a:gd name="T61" fmla="*/ 17 h 149"/>
                <a:gd name="T62" fmla="*/ 1 w 141"/>
                <a:gd name="T63" fmla="*/ 15 h 149"/>
                <a:gd name="T64" fmla="*/ 1 w 141"/>
                <a:gd name="T65" fmla="*/ 7 h 149"/>
                <a:gd name="T66" fmla="*/ 2 w 141"/>
                <a:gd name="T67" fmla="*/ 4 h 1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1"/>
                <a:gd name="T103" fmla="*/ 0 h 149"/>
                <a:gd name="T104" fmla="*/ 141 w 141"/>
                <a:gd name="T105" fmla="*/ 149 h 1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1" h="149">
                  <a:moveTo>
                    <a:pt x="8" y="27"/>
                  </a:moveTo>
                  <a:lnTo>
                    <a:pt x="9" y="23"/>
                  </a:lnTo>
                  <a:lnTo>
                    <a:pt x="26" y="18"/>
                  </a:lnTo>
                  <a:lnTo>
                    <a:pt x="30" y="12"/>
                  </a:lnTo>
                  <a:lnTo>
                    <a:pt x="35" y="14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4" y="11"/>
                  </a:lnTo>
                  <a:lnTo>
                    <a:pt x="61" y="14"/>
                  </a:lnTo>
                  <a:lnTo>
                    <a:pt x="70" y="0"/>
                  </a:lnTo>
                  <a:lnTo>
                    <a:pt x="88" y="7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04" y="5"/>
                  </a:lnTo>
                  <a:lnTo>
                    <a:pt x="103" y="18"/>
                  </a:lnTo>
                  <a:lnTo>
                    <a:pt x="109" y="25"/>
                  </a:lnTo>
                  <a:lnTo>
                    <a:pt x="112" y="32"/>
                  </a:lnTo>
                  <a:lnTo>
                    <a:pt x="117" y="31"/>
                  </a:lnTo>
                  <a:lnTo>
                    <a:pt x="123" y="28"/>
                  </a:lnTo>
                  <a:lnTo>
                    <a:pt x="141" y="28"/>
                  </a:lnTo>
                  <a:lnTo>
                    <a:pt x="141" y="31"/>
                  </a:lnTo>
                  <a:lnTo>
                    <a:pt x="130" y="35"/>
                  </a:lnTo>
                  <a:lnTo>
                    <a:pt x="123" y="41"/>
                  </a:lnTo>
                  <a:lnTo>
                    <a:pt x="114" y="41"/>
                  </a:lnTo>
                  <a:lnTo>
                    <a:pt x="107" y="52"/>
                  </a:lnTo>
                  <a:lnTo>
                    <a:pt x="115" y="59"/>
                  </a:lnTo>
                  <a:lnTo>
                    <a:pt x="105" y="63"/>
                  </a:lnTo>
                  <a:lnTo>
                    <a:pt x="103" y="68"/>
                  </a:lnTo>
                  <a:lnTo>
                    <a:pt x="105" y="74"/>
                  </a:lnTo>
                  <a:lnTo>
                    <a:pt x="104" y="77"/>
                  </a:lnTo>
                  <a:lnTo>
                    <a:pt x="100" y="76"/>
                  </a:lnTo>
                  <a:lnTo>
                    <a:pt x="98" y="83"/>
                  </a:lnTo>
                  <a:lnTo>
                    <a:pt x="94" y="84"/>
                  </a:lnTo>
                  <a:lnTo>
                    <a:pt x="93" y="88"/>
                  </a:lnTo>
                  <a:lnTo>
                    <a:pt x="89" y="94"/>
                  </a:lnTo>
                  <a:lnTo>
                    <a:pt x="88" y="97"/>
                  </a:lnTo>
                  <a:lnTo>
                    <a:pt x="83" y="97"/>
                  </a:lnTo>
                  <a:lnTo>
                    <a:pt x="80" y="99"/>
                  </a:lnTo>
                  <a:lnTo>
                    <a:pt x="83" y="102"/>
                  </a:lnTo>
                  <a:lnTo>
                    <a:pt x="74" y="108"/>
                  </a:lnTo>
                  <a:lnTo>
                    <a:pt x="72" y="111"/>
                  </a:lnTo>
                  <a:lnTo>
                    <a:pt x="80" y="114"/>
                  </a:lnTo>
                  <a:lnTo>
                    <a:pt x="92" y="113"/>
                  </a:lnTo>
                  <a:lnTo>
                    <a:pt x="94" y="117"/>
                  </a:lnTo>
                  <a:lnTo>
                    <a:pt x="93" y="119"/>
                  </a:lnTo>
                  <a:lnTo>
                    <a:pt x="85" y="125"/>
                  </a:lnTo>
                  <a:lnTo>
                    <a:pt x="78" y="128"/>
                  </a:lnTo>
                  <a:lnTo>
                    <a:pt x="63" y="128"/>
                  </a:lnTo>
                  <a:lnTo>
                    <a:pt x="60" y="129"/>
                  </a:lnTo>
                  <a:lnTo>
                    <a:pt x="58" y="138"/>
                  </a:lnTo>
                  <a:lnTo>
                    <a:pt x="58" y="144"/>
                  </a:lnTo>
                  <a:lnTo>
                    <a:pt x="53" y="149"/>
                  </a:lnTo>
                  <a:lnTo>
                    <a:pt x="51" y="131"/>
                  </a:lnTo>
                  <a:lnTo>
                    <a:pt x="47" y="131"/>
                  </a:lnTo>
                  <a:lnTo>
                    <a:pt x="42" y="134"/>
                  </a:lnTo>
                  <a:lnTo>
                    <a:pt x="25" y="119"/>
                  </a:lnTo>
                  <a:lnTo>
                    <a:pt x="21" y="124"/>
                  </a:lnTo>
                  <a:lnTo>
                    <a:pt x="22" y="131"/>
                  </a:lnTo>
                  <a:lnTo>
                    <a:pt x="17" y="132"/>
                  </a:lnTo>
                  <a:lnTo>
                    <a:pt x="14" y="139"/>
                  </a:lnTo>
                  <a:lnTo>
                    <a:pt x="7" y="142"/>
                  </a:lnTo>
                  <a:lnTo>
                    <a:pt x="3" y="134"/>
                  </a:lnTo>
                  <a:lnTo>
                    <a:pt x="3" y="128"/>
                  </a:lnTo>
                  <a:lnTo>
                    <a:pt x="0" y="110"/>
                  </a:lnTo>
                  <a:lnTo>
                    <a:pt x="4" y="60"/>
                  </a:lnTo>
                  <a:lnTo>
                    <a:pt x="0" y="55"/>
                  </a:lnTo>
                  <a:lnTo>
                    <a:pt x="10" y="32"/>
                  </a:lnTo>
                  <a:lnTo>
                    <a:pt x="8" y="2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5" name="Freeform 244"/>
            <p:cNvSpPr>
              <a:spLocks/>
            </p:cNvSpPr>
            <p:nvPr/>
          </p:nvSpPr>
          <p:spPr bwMode="auto">
            <a:xfrm>
              <a:off x="4748161" y="3950526"/>
              <a:ext cx="105613" cy="61227"/>
            </a:xfrm>
            <a:custGeom>
              <a:avLst/>
              <a:gdLst>
                <a:gd name="T0" fmla="*/ 14 w 88"/>
                <a:gd name="T1" fmla="*/ 2 h 62"/>
                <a:gd name="T2" fmla="*/ 14 w 88"/>
                <a:gd name="T3" fmla="*/ 2 h 62"/>
                <a:gd name="T4" fmla="*/ 13 w 88"/>
                <a:gd name="T5" fmla="*/ 2 h 62"/>
                <a:gd name="T6" fmla="*/ 12 w 88"/>
                <a:gd name="T7" fmla="*/ 2 h 62"/>
                <a:gd name="T8" fmla="*/ 11 w 88"/>
                <a:gd name="T9" fmla="*/ 2 h 62"/>
                <a:gd name="T10" fmla="*/ 11 w 88"/>
                <a:gd name="T11" fmla="*/ 2 h 62"/>
                <a:gd name="T12" fmla="*/ 11 w 88"/>
                <a:gd name="T13" fmla="*/ 2 h 62"/>
                <a:gd name="T14" fmla="*/ 11 w 88"/>
                <a:gd name="T15" fmla="*/ 2 h 62"/>
                <a:gd name="T16" fmla="*/ 10 w 88"/>
                <a:gd name="T17" fmla="*/ 2 h 62"/>
                <a:gd name="T18" fmla="*/ 10 w 88"/>
                <a:gd name="T19" fmla="*/ 2 h 62"/>
                <a:gd name="T20" fmla="*/ 9 w 88"/>
                <a:gd name="T21" fmla="*/ 2 h 62"/>
                <a:gd name="T22" fmla="*/ 9 w 88"/>
                <a:gd name="T23" fmla="*/ 2 h 62"/>
                <a:gd name="T24" fmla="*/ 8 w 88"/>
                <a:gd name="T25" fmla="*/ 3 h 62"/>
                <a:gd name="T26" fmla="*/ 8 w 88"/>
                <a:gd name="T27" fmla="*/ 3 h 62"/>
                <a:gd name="T28" fmla="*/ 8 w 88"/>
                <a:gd name="T29" fmla="*/ 3 h 62"/>
                <a:gd name="T30" fmla="*/ 8 w 88"/>
                <a:gd name="T31" fmla="*/ 3 h 62"/>
                <a:gd name="T32" fmla="*/ 8 w 88"/>
                <a:gd name="T33" fmla="*/ 3 h 62"/>
                <a:gd name="T34" fmla="*/ 8 w 88"/>
                <a:gd name="T35" fmla="*/ 3 h 62"/>
                <a:gd name="T36" fmla="*/ 7 w 88"/>
                <a:gd name="T37" fmla="*/ 3 h 62"/>
                <a:gd name="T38" fmla="*/ 6 w 88"/>
                <a:gd name="T39" fmla="*/ 4 h 62"/>
                <a:gd name="T40" fmla="*/ 6 w 88"/>
                <a:gd name="T41" fmla="*/ 4 h 62"/>
                <a:gd name="T42" fmla="*/ 5 w 88"/>
                <a:gd name="T43" fmla="*/ 4 h 62"/>
                <a:gd name="T44" fmla="*/ 4 w 88"/>
                <a:gd name="T45" fmla="*/ 5 h 62"/>
                <a:gd name="T46" fmla="*/ 3 w 88"/>
                <a:gd name="T47" fmla="*/ 6 h 62"/>
                <a:gd name="T48" fmla="*/ 3 w 88"/>
                <a:gd name="T49" fmla="*/ 6 h 62"/>
                <a:gd name="T50" fmla="*/ 2 w 88"/>
                <a:gd name="T51" fmla="*/ 6 h 62"/>
                <a:gd name="T52" fmla="*/ 2 w 88"/>
                <a:gd name="T53" fmla="*/ 7 h 62"/>
                <a:gd name="T54" fmla="*/ 1 w 88"/>
                <a:gd name="T55" fmla="*/ 7 h 62"/>
                <a:gd name="T56" fmla="*/ 0 w 88"/>
                <a:gd name="T57" fmla="*/ 7 h 62"/>
                <a:gd name="T58" fmla="*/ 2 w 88"/>
                <a:gd name="T59" fmla="*/ 6 h 62"/>
                <a:gd name="T60" fmla="*/ 2 w 88"/>
                <a:gd name="T61" fmla="*/ 5 h 62"/>
                <a:gd name="T62" fmla="*/ 2 w 88"/>
                <a:gd name="T63" fmla="*/ 5 h 62"/>
                <a:gd name="T64" fmla="*/ 4 w 88"/>
                <a:gd name="T65" fmla="*/ 3 h 62"/>
                <a:gd name="T66" fmla="*/ 5 w 88"/>
                <a:gd name="T67" fmla="*/ 3 h 62"/>
                <a:gd name="T68" fmla="*/ 5 w 88"/>
                <a:gd name="T69" fmla="*/ 2 h 62"/>
                <a:gd name="T70" fmla="*/ 5 w 88"/>
                <a:gd name="T71" fmla="*/ 2 h 62"/>
                <a:gd name="T72" fmla="*/ 6 w 88"/>
                <a:gd name="T73" fmla="*/ 2 h 62"/>
                <a:gd name="T74" fmla="*/ 7 w 88"/>
                <a:gd name="T75" fmla="*/ 2 h 62"/>
                <a:gd name="T76" fmla="*/ 8 w 88"/>
                <a:gd name="T77" fmla="*/ 2 h 62"/>
                <a:gd name="T78" fmla="*/ 9 w 88"/>
                <a:gd name="T79" fmla="*/ 1 h 62"/>
                <a:gd name="T80" fmla="*/ 9 w 88"/>
                <a:gd name="T81" fmla="*/ 1 h 62"/>
                <a:gd name="T82" fmla="*/ 9 w 88"/>
                <a:gd name="T83" fmla="*/ 1 h 62"/>
                <a:gd name="T84" fmla="*/ 10 w 88"/>
                <a:gd name="T85" fmla="*/ 0 h 62"/>
                <a:gd name="T86" fmla="*/ 13 w 88"/>
                <a:gd name="T87" fmla="*/ 0 h 62"/>
                <a:gd name="T88" fmla="*/ 15 w 88"/>
                <a:gd name="T89" fmla="*/ 1 h 62"/>
                <a:gd name="T90" fmla="*/ 15 w 88"/>
                <a:gd name="T91" fmla="*/ 1 h 62"/>
                <a:gd name="T92" fmla="*/ 14 w 88"/>
                <a:gd name="T93" fmla="*/ 2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8"/>
                <a:gd name="T142" fmla="*/ 0 h 62"/>
                <a:gd name="T143" fmla="*/ 88 w 88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8" h="62">
                  <a:moveTo>
                    <a:pt x="84" y="11"/>
                  </a:moveTo>
                  <a:lnTo>
                    <a:pt x="81" y="14"/>
                  </a:lnTo>
                  <a:lnTo>
                    <a:pt x="79" y="14"/>
                  </a:lnTo>
                  <a:lnTo>
                    <a:pt x="72" y="11"/>
                  </a:lnTo>
                  <a:lnTo>
                    <a:pt x="67" y="11"/>
                  </a:lnTo>
                  <a:lnTo>
                    <a:pt x="65" y="12"/>
                  </a:lnTo>
                  <a:lnTo>
                    <a:pt x="64" y="14"/>
                  </a:lnTo>
                  <a:lnTo>
                    <a:pt x="61" y="15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6"/>
                  </a:lnTo>
                  <a:lnTo>
                    <a:pt x="51" y="18"/>
                  </a:lnTo>
                  <a:lnTo>
                    <a:pt x="49" y="20"/>
                  </a:lnTo>
                  <a:lnTo>
                    <a:pt x="48" y="22"/>
                  </a:lnTo>
                  <a:lnTo>
                    <a:pt x="49" y="24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5" y="25"/>
                  </a:lnTo>
                  <a:lnTo>
                    <a:pt x="38" y="28"/>
                  </a:lnTo>
                  <a:lnTo>
                    <a:pt x="35" y="30"/>
                  </a:lnTo>
                  <a:lnTo>
                    <a:pt x="35" y="34"/>
                  </a:lnTo>
                  <a:lnTo>
                    <a:pt x="30" y="35"/>
                  </a:lnTo>
                  <a:lnTo>
                    <a:pt x="24" y="44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5" y="51"/>
                  </a:lnTo>
                  <a:lnTo>
                    <a:pt x="11" y="57"/>
                  </a:lnTo>
                  <a:lnTo>
                    <a:pt x="4" y="62"/>
                  </a:lnTo>
                  <a:lnTo>
                    <a:pt x="0" y="61"/>
                  </a:lnTo>
                  <a:lnTo>
                    <a:pt x="13" y="47"/>
                  </a:lnTo>
                  <a:lnTo>
                    <a:pt x="13" y="42"/>
                  </a:lnTo>
                  <a:lnTo>
                    <a:pt x="14" y="38"/>
                  </a:lnTo>
                  <a:lnTo>
                    <a:pt x="23" y="29"/>
                  </a:lnTo>
                  <a:lnTo>
                    <a:pt x="28" y="20"/>
                  </a:lnTo>
                  <a:lnTo>
                    <a:pt x="31" y="18"/>
                  </a:lnTo>
                  <a:lnTo>
                    <a:pt x="33" y="14"/>
                  </a:lnTo>
                  <a:lnTo>
                    <a:pt x="35" y="13"/>
                  </a:lnTo>
                  <a:lnTo>
                    <a:pt x="38" y="12"/>
                  </a:lnTo>
                  <a:lnTo>
                    <a:pt x="46" y="12"/>
                  </a:lnTo>
                  <a:lnTo>
                    <a:pt x="51" y="5"/>
                  </a:lnTo>
                  <a:lnTo>
                    <a:pt x="54" y="4"/>
                  </a:lnTo>
                  <a:lnTo>
                    <a:pt x="55" y="2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8" y="9"/>
                  </a:lnTo>
                  <a:lnTo>
                    <a:pt x="84" y="1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6" name="Freeform 245"/>
            <p:cNvSpPr>
              <a:spLocks/>
            </p:cNvSpPr>
            <p:nvPr/>
          </p:nvSpPr>
          <p:spPr bwMode="auto">
            <a:xfrm>
              <a:off x="4748161" y="3950526"/>
              <a:ext cx="105613" cy="61227"/>
            </a:xfrm>
            <a:custGeom>
              <a:avLst/>
              <a:gdLst>
                <a:gd name="T0" fmla="*/ 14 w 88"/>
                <a:gd name="T1" fmla="*/ 2 h 62"/>
                <a:gd name="T2" fmla="*/ 14 w 88"/>
                <a:gd name="T3" fmla="*/ 2 h 62"/>
                <a:gd name="T4" fmla="*/ 13 w 88"/>
                <a:gd name="T5" fmla="*/ 2 h 62"/>
                <a:gd name="T6" fmla="*/ 12 w 88"/>
                <a:gd name="T7" fmla="*/ 2 h 62"/>
                <a:gd name="T8" fmla="*/ 11 w 88"/>
                <a:gd name="T9" fmla="*/ 2 h 62"/>
                <a:gd name="T10" fmla="*/ 11 w 88"/>
                <a:gd name="T11" fmla="*/ 2 h 62"/>
                <a:gd name="T12" fmla="*/ 11 w 88"/>
                <a:gd name="T13" fmla="*/ 2 h 62"/>
                <a:gd name="T14" fmla="*/ 11 w 88"/>
                <a:gd name="T15" fmla="*/ 2 h 62"/>
                <a:gd name="T16" fmla="*/ 10 w 88"/>
                <a:gd name="T17" fmla="*/ 2 h 62"/>
                <a:gd name="T18" fmla="*/ 10 w 88"/>
                <a:gd name="T19" fmla="*/ 2 h 62"/>
                <a:gd name="T20" fmla="*/ 9 w 88"/>
                <a:gd name="T21" fmla="*/ 2 h 62"/>
                <a:gd name="T22" fmla="*/ 9 w 88"/>
                <a:gd name="T23" fmla="*/ 2 h 62"/>
                <a:gd name="T24" fmla="*/ 8 w 88"/>
                <a:gd name="T25" fmla="*/ 3 h 62"/>
                <a:gd name="T26" fmla="*/ 8 w 88"/>
                <a:gd name="T27" fmla="*/ 3 h 62"/>
                <a:gd name="T28" fmla="*/ 8 w 88"/>
                <a:gd name="T29" fmla="*/ 3 h 62"/>
                <a:gd name="T30" fmla="*/ 8 w 88"/>
                <a:gd name="T31" fmla="*/ 3 h 62"/>
                <a:gd name="T32" fmla="*/ 8 w 88"/>
                <a:gd name="T33" fmla="*/ 3 h 62"/>
                <a:gd name="T34" fmla="*/ 8 w 88"/>
                <a:gd name="T35" fmla="*/ 3 h 62"/>
                <a:gd name="T36" fmla="*/ 7 w 88"/>
                <a:gd name="T37" fmla="*/ 3 h 62"/>
                <a:gd name="T38" fmla="*/ 6 w 88"/>
                <a:gd name="T39" fmla="*/ 4 h 62"/>
                <a:gd name="T40" fmla="*/ 6 w 88"/>
                <a:gd name="T41" fmla="*/ 4 h 62"/>
                <a:gd name="T42" fmla="*/ 5 w 88"/>
                <a:gd name="T43" fmla="*/ 4 h 62"/>
                <a:gd name="T44" fmla="*/ 4 w 88"/>
                <a:gd name="T45" fmla="*/ 5 h 62"/>
                <a:gd name="T46" fmla="*/ 3 w 88"/>
                <a:gd name="T47" fmla="*/ 6 h 62"/>
                <a:gd name="T48" fmla="*/ 3 w 88"/>
                <a:gd name="T49" fmla="*/ 6 h 62"/>
                <a:gd name="T50" fmla="*/ 2 w 88"/>
                <a:gd name="T51" fmla="*/ 6 h 62"/>
                <a:gd name="T52" fmla="*/ 2 w 88"/>
                <a:gd name="T53" fmla="*/ 7 h 62"/>
                <a:gd name="T54" fmla="*/ 1 w 88"/>
                <a:gd name="T55" fmla="*/ 7 h 62"/>
                <a:gd name="T56" fmla="*/ 0 w 88"/>
                <a:gd name="T57" fmla="*/ 7 h 62"/>
                <a:gd name="T58" fmla="*/ 2 w 88"/>
                <a:gd name="T59" fmla="*/ 6 h 62"/>
                <a:gd name="T60" fmla="*/ 2 w 88"/>
                <a:gd name="T61" fmla="*/ 5 h 62"/>
                <a:gd name="T62" fmla="*/ 2 w 88"/>
                <a:gd name="T63" fmla="*/ 5 h 62"/>
                <a:gd name="T64" fmla="*/ 4 w 88"/>
                <a:gd name="T65" fmla="*/ 3 h 62"/>
                <a:gd name="T66" fmla="*/ 5 w 88"/>
                <a:gd name="T67" fmla="*/ 3 h 62"/>
                <a:gd name="T68" fmla="*/ 5 w 88"/>
                <a:gd name="T69" fmla="*/ 2 h 62"/>
                <a:gd name="T70" fmla="*/ 5 w 88"/>
                <a:gd name="T71" fmla="*/ 2 h 62"/>
                <a:gd name="T72" fmla="*/ 6 w 88"/>
                <a:gd name="T73" fmla="*/ 2 h 62"/>
                <a:gd name="T74" fmla="*/ 7 w 88"/>
                <a:gd name="T75" fmla="*/ 2 h 62"/>
                <a:gd name="T76" fmla="*/ 8 w 88"/>
                <a:gd name="T77" fmla="*/ 2 h 62"/>
                <a:gd name="T78" fmla="*/ 9 w 88"/>
                <a:gd name="T79" fmla="*/ 1 h 62"/>
                <a:gd name="T80" fmla="*/ 9 w 88"/>
                <a:gd name="T81" fmla="*/ 1 h 62"/>
                <a:gd name="T82" fmla="*/ 9 w 88"/>
                <a:gd name="T83" fmla="*/ 1 h 62"/>
                <a:gd name="T84" fmla="*/ 10 w 88"/>
                <a:gd name="T85" fmla="*/ 0 h 62"/>
                <a:gd name="T86" fmla="*/ 13 w 88"/>
                <a:gd name="T87" fmla="*/ 0 h 62"/>
                <a:gd name="T88" fmla="*/ 15 w 88"/>
                <a:gd name="T89" fmla="*/ 1 h 62"/>
                <a:gd name="T90" fmla="*/ 15 w 88"/>
                <a:gd name="T91" fmla="*/ 1 h 62"/>
                <a:gd name="T92" fmla="*/ 14 w 88"/>
                <a:gd name="T93" fmla="*/ 2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8"/>
                <a:gd name="T142" fmla="*/ 0 h 62"/>
                <a:gd name="T143" fmla="*/ 88 w 88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8" h="62">
                  <a:moveTo>
                    <a:pt x="84" y="11"/>
                  </a:moveTo>
                  <a:lnTo>
                    <a:pt x="81" y="14"/>
                  </a:lnTo>
                  <a:lnTo>
                    <a:pt x="79" y="14"/>
                  </a:lnTo>
                  <a:lnTo>
                    <a:pt x="72" y="11"/>
                  </a:lnTo>
                  <a:lnTo>
                    <a:pt x="67" y="11"/>
                  </a:lnTo>
                  <a:lnTo>
                    <a:pt x="65" y="12"/>
                  </a:lnTo>
                  <a:lnTo>
                    <a:pt x="64" y="14"/>
                  </a:lnTo>
                  <a:lnTo>
                    <a:pt x="61" y="15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6"/>
                  </a:lnTo>
                  <a:lnTo>
                    <a:pt x="51" y="18"/>
                  </a:lnTo>
                  <a:lnTo>
                    <a:pt x="49" y="20"/>
                  </a:lnTo>
                  <a:lnTo>
                    <a:pt x="48" y="22"/>
                  </a:lnTo>
                  <a:lnTo>
                    <a:pt x="49" y="24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5" y="25"/>
                  </a:lnTo>
                  <a:lnTo>
                    <a:pt x="38" y="28"/>
                  </a:lnTo>
                  <a:lnTo>
                    <a:pt x="35" y="30"/>
                  </a:lnTo>
                  <a:lnTo>
                    <a:pt x="35" y="34"/>
                  </a:lnTo>
                  <a:lnTo>
                    <a:pt x="30" y="35"/>
                  </a:lnTo>
                  <a:lnTo>
                    <a:pt x="24" y="44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5" y="51"/>
                  </a:lnTo>
                  <a:lnTo>
                    <a:pt x="11" y="57"/>
                  </a:lnTo>
                  <a:lnTo>
                    <a:pt x="4" y="62"/>
                  </a:lnTo>
                  <a:lnTo>
                    <a:pt x="0" y="61"/>
                  </a:lnTo>
                  <a:lnTo>
                    <a:pt x="13" y="47"/>
                  </a:lnTo>
                  <a:lnTo>
                    <a:pt x="13" y="42"/>
                  </a:lnTo>
                  <a:lnTo>
                    <a:pt x="14" y="38"/>
                  </a:lnTo>
                  <a:lnTo>
                    <a:pt x="23" y="29"/>
                  </a:lnTo>
                  <a:lnTo>
                    <a:pt x="28" y="20"/>
                  </a:lnTo>
                  <a:lnTo>
                    <a:pt x="31" y="18"/>
                  </a:lnTo>
                  <a:lnTo>
                    <a:pt x="33" y="14"/>
                  </a:lnTo>
                  <a:lnTo>
                    <a:pt x="35" y="13"/>
                  </a:lnTo>
                  <a:lnTo>
                    <a:pt x="38" y="12"/>
                  </a:lnTo>
                  <a:lnTo>
                    <a:pt x="46" y="12"/>
                  </a:lnTo>
                  <a:lnTo>
                    <a:pt x="51" y="5"/>
                  </a:lnTo>
                  <a:lnTo>
                    <a:pt x="54" y="4"/>
                  </a:lnTo>
                  <a:lnTo>
                    <a:pt x="55" y="2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8" y="9"/>
                  </a:lnTo>
                  <a:lnTo>
                    <a:pt x="84" y="1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7" name="Oval 253"/>
            <p:cNvSpPr>
              <a:spLocks noChangeArrowheads="1"/>
            </p:cNvSpPr>
            <p:nvPr/>
          </p:nvSpPr>
          <p:spPr bwMode="auto">
            <a:xfrm>
              <a:off x="5820538" y="2084032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8" name="Oval 254"/>
            <p:cNvSpPr>
              <a:spLocks noChangeArrowheads="1"/>
            </p:cNvSpPr>
            <p:nvPr/>
          </p:nvSpPr>
          <p:spPr bwMode="auto">
            <a:xfrm>
              <a:off x="5166550" y="1536701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9" name="Oval 256"/>
            <p:cNvSpPr>
              <a:spLocks noChangeArrowheads="1"/>
            </p:cNvSpPr>
            <p:nvPr/>
          </p:nvSpPr>
          <p:spPr bwMode="auto">
            <a:xfrm>
              <a:off x="6287672" y="2265858"/>
              <a:ext cx="81241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40" name="Oval 260"/>
            <p:cNvSpPr>
              <a:spLocks noChangeArrowheads="1"/>
            </p:cNvSpPr>
            <p:nvPr/>
          </p:nvSpPr>
          <p:spPr bwMode="auto">
            <a:xfrm>
              <a:off x="3742807" y="1397548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3555134" y="4574413"/>
              <a:ext cx="776192" cy="3000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RSA</a:t>
              </a:r>
              <a:endParaRPr lang="en-US" sz="2000" dirty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5624609" y="3127554"/>
              <a:ext cx="1051381" cy="3000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Kenya</a:t>
              </a:r>
              <a:endParaRPr lang="en-US" sz="2000" dirty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257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10</a:t>
            </a:fld>
            <a:endParaRPr lang="en-US" sz="1400" dirty="0"/>
          </a:p>
        </p:txBody>
      </p:sp>
      <p:pic>
        <p:nvPicPr>
          <p:cNvPr id="258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124546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423283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375" y="203480"/>
            <a:ext cx="8460105" cy="573024"/>
          </a:xfrm>
        </p:spPr>
        <p:txBody>
          <a:bodyPr>
            <a:noAutofit/>
          </a:bodyPr>
          <a:lstStyle/>
          <a:p>
            <a:pPr algn="l"/>
            <a:r>
              <a:rPr lang="en-GB" dirty="0">
                <a:solidFill>
                  <a:srgbClr val="0E438A"/>
                </a:solidFill>
                <a:cs typeface="Arial" pitchFamily="34" charset="0"/>
              </a:rPr>
              <a:t>P</a:t>
            </a:r>
            <a:r>
              <a:rPr lang="en-GB" dirty="0" smtClean="0">
                <a:solidFill>
                  <a:srgbClr val="0E438A"/>
                </a:solidFill>
                <a:cs typeface="Arial" pitchFamily="34" charset="0"/>
              </a:rPr>
              <a:t>artnerships are essential !</a:t>
            </a:r>
            <a:endParaRPr lang="en-US" dirty="0">
              <a:solidFill>
                <a:srgbClr val="0E438A"/>
              </a:solidFill>
              <a:cs typeface="Arial" pitchFamily="34" charset="0"/>
            </a:endParaRPr>
          </a:p>
        </p:txBody>
      </p:sp>
      <p:sp>
        <p:nvSpPr>
          <p:cNvPr id="33" name="Content Placeholder 32"/>
          <p:cNvSpPr>
            <a:spLocks noGrp="1"/>
          </p:cNvSpPr>
          <p:nvPr>
            <p:ph sz="quarter" idx="16"/>
          </p:nvPr>
        </p:nvSpPr>
        <p:spPr>
          <a:xfrm>
            <a:off x="511267" y="1508432"/>
            <a:ext cx="2523744" cy="4296832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indent="0" algn="ctr">
              <a:buNone/>
            </a:pPr>
            <a:r>
              <a:rPr lang="en-GB" sz="2000" dirty="0" smtClean="0">
                <a:cs typeface="Arial" pitchFamily="34" charset="0"/>
              </a:rPr>
              <a:t>Government agencies and NGOs</a:t>
            </a:r>
            <a:endParaRPr lang="en-US" sz="2000" dirty="0">
              <a:cs typeface="Arial" pitchFamily="34" charset="0"/>
            </a:endParaRPr>
          </a:p>
        </p:txBody>
      </p:sp>
      <p:sp>
        <p:nvSpPr>
          <p:cNvPr id="34" name="Content Placeholder 33"/>
          <p:cNvSpPr>
            <a:spLocks noGrp="1"/>
          </p:cNvSpPr>
          <p:nvPr>
            <p:ph sz="quarter" idx="17"/>
          </p:nvPr>
        </p:nvSpPr>
        <p:spPr>
          <a:xfrm>
            <a:off x="3336236" y="1499900"/>
            <a:ext cx="2523744" cy="4296833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indent="0" algn="ctr">
              <a:buNone/>
            </a:pPr>
            <a:r>
              <a:rPr lang="en-GB" sz="2000" dirty="0" smtClean="0">
                <a:cs typeface="Arial" pitchFamily="34" charset="0"/>
              </a:rPr>
              <a:t>Academia and research groups</a:t>
            </a:r>
            <a:endParaRPr lang="en-US" sz="2000" dirty="0">
              <a:cs typeface="Arial" pitchFamily="34" charset="0"/>
            </a:endParaRPr>
          </a:p>
        </p:txBody>
      </p:sp>
      <p:sp>
        <p:nvSpPr>
          <p:cNvPr id="35" name="Content Placeholder 34"/>
          <p:cNvSpPr>
            <a:spLocks noGrp="1"/>
          </p:cNvSpPr>
          <p:nvPr>
            <p:ph sz="quarter" idx="18"/>
          </p:nvPr>
        </p:nvSpPr>
        <p:spPr>
          <a:xfrm>
            <a:off x="6179663" y="1499882"/>
            <a:ext cx="2527300" cy="4296832"/>
          </a:xfrm>
          <a:ln>
            <a:solidFill>
              <a:schemeClr val="accent1"/>
            </a:solidFill>
          </a:ln>
        </p:spPr>
        <p:txBody>
          <a:bodyPr/>
          <a:lstStyle/>
          <a:p>
            <a:pPr marL="0" indent="0" algn="ctr">
              <a:buNone/>
            </a:pPr>
            <a:r>
              <a:rPr lang="en-GB" sz="2000" dirty="0" smtClean="0">
                <a:cs typeface="Arial" pitchFamily="34" charset="0"/>
              </a:rPr>
              <a:t>OEMs and Recyclers</a:t>
            </a:r>
            <a:endParaRPr lang="en-US" sz="2000" dirty="0">
              <a:cs typeface="Arial" pitchFamily="34" charset="0"/>
            </a:endParaRPr>
          </a:p>
        </p:txBody>
      </p:sp>
      <p:pic>
        <p:nvPicPr>
          <p:cNvPr id="19466" name="Picture 10" descr="http://www.google.co.uk/images?q=tbn:ANd9GcRy6eNr3bORSH00zQ7P1kh1vvcqyy4dvFzfut5ClI7Hyfawx3tsg-mIwQ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6194" y="3090443"/>
            <a:ext cx="800100" cy="857251"/>
          </a:xfrm>
          <a:prstGeom prst="rect">
            <a:avLst/>
          </a:prstGeom>
          <a:noFill/>
        </p:spPr>
      </p:pic>
      <p:pic>
        <p:nvPicPr>
          <p:cNvPr id="19474" name="Picture 18" descr="http://www.google.co.uk/images?q=tbn:ANd9GcRjkp52qxJCMMiyl9lRlWB0pO3g99d0rcE5drX5vpORqPkItWGd6hmDfkP5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401868" y="5086627"/>
            <a:ext cx="1219200" cy="533400"/>
          </a:xfrm>
          <a:prstGeom prst="rect">
            <a:avLst/>
          </a:prstGeom>
          <a:noFill/>
        </p:spPr>
      </p:pic>
      <p:pic>
        <p:nvPicPr>
          <p:cNvPr id="19478" name="Picture 22" descr="The University of Northampton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619616" y="4239963"/>
            <a:ext cx="1914525" cy="476251"/>
          </a:xfrm>
          <a:prstGeom prst="rect">
            <a:avLst/>
          </a:prstGeom>
          <a:noFill/>
        </p:spPr>
      </p:pic>
      <p:grpSp>
        <p:nvGrpSpPr>
          <p:cNvPr id="3" name="Group 16"/>
          <p:cNvGrpSpPr/>
          <p:nvPr/>
        </p:nvGrpSpPr>
        <p:grpSpPr>
          <a:xfrm>
            <a:off x="3955554" y="2740114"/>
            <a:ext cx="1311578" cy="1046323"/>
            <a:chOff x="3846051" y="1447800"/>
            <a:chExt cx="1311578" cy="1046321"/>
          </a:xfrm>
        </p:grpSpPr>
        <p:pic>
          <p:nvPicPr>
            <p:cNvPr id="19480" name="Picture 24" descr="http://www.google.co.uk/images?q=tbn:ANd9GcTnQbG9WAq0s4rZOKeZnzCiIGALWVzZFRBfNGnOGlVwUZ-cK5BQUZapfA">
              <a:hlinkClick r:id="rId9"/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8600" y="1447800"/>
              <a:ext cx="657225" cy="800100"/>
            </a:xfrm>
            <a:prstGeom prst="rect">
              <a:avLst/>
            </a:prstGeom>
            <a:noFill/>
          </p:spPr>
        </p:pic>
        <p:sp>
          <p:nvSpPr>
            <p:cNvPr id="16" name="TextBox 15"/>
            <p:cNvSpPr txBox="1"/>
            <p:nvPr/>
          </p:nvSpPr>
          <p:spPr>
            <a:xfrm>
              <a:off x="3846051" y="2247900"/>
              <a:ext cx="13115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 smtClean="0">
                  <a:latin typeface="Arial" pitchFamily="34" charset="0"/>
                  <a:cs typeface="Arial" pitchFamily="34" charset="0"/>
                </a:rPr>
                <a:t>University of Ibadan</a:t>
              </a:r>
              <a:endParaRPr lang="en-US" sz="1000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9484" name="Picture 28" descr="http://www.google.co.uk/images?q=tbn:ANd9GcQXfGUXh2mOkWQNQDCkndwCPB7R38quKTAQvf50siYpub3FPavPYnoTObW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309118" y="3842277"/>
            <a:ext cx="1104900" cy="247651"/>
          </a:xfrm>
          <a:prstGeom prst="rect">
            <a:avLst/>
          </a:prstGeom>
          <a:noFill/>
        </p:spPr>
      </p:pic>
      <p:pic>
        <p:nvPicPr>
          <p:cNvPr id="19486" name="Picture 30" descr="http://www.google.co.uk/images?q=tbn:ANd9GcSfzPAZtEqgkpO_PJG-ELSS_t6kEFb_OLet-0O-PXE3mquYEFrizXx0zCVe">
            <a:hlinkClick r:id="rId13"/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622708" y="4151634"/>
            <a:ext cx="1032961" cy="521917"/>
          </a:xfrm>
          <a:prstGeom prst="rect">
            <a:avLst/>
          </a:prstGeom>
          <a:noFill/>
        </p:spPr>
      </p:pic>
      <p:pic>
        <p:nvPicPr>
          <p:cNvPr id="19494" name="Picture 38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685555" y="5029076"/>
            <a:ext cx="114300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496" name="Picture 40" descr="http://www.google.co.uk/images?q=tbn:ANd9GcRiB7OkEH0vTQCqiurpjydM5D2AgblU9wH4SavbLbfA57ggAnT-T9nF7mdz">
            <a:hlinkClick r:id="rId16"/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661395" y="2981091"/>
            <a:ext cx="1257300" cy="723900"/>
          </a:xfrm>
          <a:prstGeom prst="rect">
            <a:avLst/>
          </a:prstGeom>
          <a:noFill/>
        </p:spPr>
      </p:pic>
      <p:pic>
        <p:nvPicPr>
          <p:cNvPr id="19497" name="Picture 41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864135" y="4529665"/>
            <a:ext cx="851823" cy="1113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554" name="Picture 2" descr="http://images.wikia.com/solarcooking/images/6/6b/NESREA_logo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0832" y="4716631"/>
            <a:ext cx="885010" cy="864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 descr="HP_Blue_RGB_150_LG.pn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7836605" y="2552146"/>
            <a:ext cx="695835" cy="732838"/>
          </a:xfrm>
          <a:prstGeom prst="rect">
            <a:avLst/>
          </a:prstGeom>
        </p:spPr>
      </p:pic>
      <p:pic>
        <p:nvPicPr>
          <p:cNvPr id="37" name="Picture 1"/>
          <p:cNvPicPr>
            <a:picLocks noChangeAspect="1" noChangeArrowheads="1"/>
          </p:cNvPicPr>
          <p:nvPr/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6321278" y="2568698"/>
            <a:ext cx="1347066" cy="10043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9" name="Group 38"/>
          <p:cNvGrpSpPr/>
          <p:nvPr/>
        </p:nvGrpSpPr>
        <p:grpSpPr>
          <a:xfrm>
            <a:off x="6379406" y="4630270"/>
            <a:ext cx="1923023" cy="1159948"/>
            <a:chOff x="4190129" y="477493"/>
            <a:chExt cx="2243958" cy="1423582"/>
          </a:xfrm>
        </p:grpSpPr>
        <p:pic>
          <p:nvPicPr>
            <p:cNvPr id="40" name="Picture 47" descr="http://www.reclaimed-appliances.co.uk/image/root/logo/height/100">
              <a:hlinkClick r:id="rId22"/>
            </p:cNvPr>
            <p:cNvPicPr>
              <a:picLocks noChangeAspect="1" noChangeArrowheads="1"/>
            </p:cNvPicPr>
            <p:nvPr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8200" y="477493"/>
              <a:ext cx="990600" cy="952501"/>
            </a:xfrm>
            <a:prstGeom prst="rect">
              <a:avLst/>
            </a:prstGeom>
            <a:noFill/>
          </p:spPr>
        </p:pic>
        <p:sp>
          <p:nvSpPr>
            <p:cNvPr id="41" name="Rectangle 40"/>
            <p:cNvSpPr/>
            <p:nvPr/>
          </p:nvSpPr>
          <p:spPr>
            <a:xfrm>
              <a:off x="4190129" y="1447801"/>
              <a:ext cx="2243958" cy="453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 smtClean="0">
                  <a:latin typeface="Arial" pitchFamily="34" charset="0"/>
                  <a:cs typeface="Arial" pitchFamily="34" charset="0"/>
                </a:rPr>
                <a:t>Reclaimed Appliances (UK) Ltd </a:t>
              </a:r>
            </a:p>
            <a:p>
              <a:pPr algn="ctr"/>
              <a:r>
                <a:rPr lang="en-US" sz="900" i="1" dirty="0" smtClean="0">
                  <a:latin typeface="Arial" pitchFamily="34" charset="0"/>
                  <a:cs typeface="Arial" pitchFamily="34" charset="0"/>
                </a:rPr>
                <a:t>Leading, not following</a:t>
              </a:r>
              <a:r>
                <a:rPr lang="en-US" sz="9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sz="9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7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11</a:t>
            </a:fld>
            <a:endParaRPr lang="en-US" sz="1400" dirty="0"/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124546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4129760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1"/>
          <p:cNvSpPr>
            <a:spLocks noGrp="1"/>
          </p:cNvSpPr>
          <p:nvPr>
            <p:ph type="title"/>
          </p:nvPr>
        </p:nvSpPr>
        <p:spPr>
          <a:xfrm>
            <a:off x="323528" y="2492896"/>
            <a:ext cx="2987824" cy="1143000"/>
          </a:xfrm>
        </p:spPr>
        <p:txBody>
          <a:bodyPr/>
          <a:lstStyle/>
          <a:p>
            <a:r>
              <a:rPr lang="en-US" dirty="0" smtClean="0"/>
              <a:t>Thank you</a:t>
            </a:r>
          </a:p>
        </p:txBody>
      </p:sp>
      <p:sp>
        <p:nvSpPr>
          <p:cNvPr id="8197" name="Date Placeholder 4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en-US" sz="1400" dirty="0" smtClean="0">
                <a:latin typeface="Univers" pitchFamily="34" charset="0"/>
              </a:rPr>
              <a:t>Durban, South Africa, 9 July 2013</a:t>
            </a:r>
          </a:p>
        </p:txBody>
      </p:sp>
      <p:sp>
        <p:nvSpPr>
          <p:cNvPr id="8198" name="Slide Number Placeholder 5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6C5EFDBE-890D-42E3-B855-E9F8B7477C01}" type="slidenum">
              <a:rPr lang="en-US" sz="1400"/>
              <a:pPr/>
              <a:t>12</a:t>
            </a:fld>
            <a:endParaRPr lang="en-US" sz="14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530405" y="1052736"/>
            <a:ext cx="5475807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2032" y="811420"/>
            <a:ext cx="7013367" cy="5712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612576" y="118180"/>
            <a:ext cx="7315301" cy="574516"/>
          </a:xfrm>
        </p:spPr>
        <p:txBody>
          <a:bodyPr>
            <a:noAutofit/>
          </a:bodyPr>
          <a:lstStyle/>
          <a:p>
            <a:r>
              <a:rPr lang="en-GB" dirty="0" smtClean="0">
                <a:solidFill>
                  <a:srgbClr val="0E438A"/>
                </a:solidFill>
                <a:latin typeface="+mj-lt"/>
                <a:cs typeface="Arial" pitchFamily="34" charset="0"/>
              </a:rPr>
              <a:t>Africa : about growth ….</a:t>
            </a:r>
            <a:endParaRPr lang="en-US" cap="none" dirty="0">
              <a:solidFill>
                <a:srgbClr val="0E438A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sz="quarter" idx="10"/>
          </p:nvPr>
        </p:nvSpPr>
        <p:spPr>
          <a:xfrm>
            <a:off x="161842" y="2310181"/>
            <a:ext cx="8901239" cy="2059519"/>
          </a:xfrm>
          <a:solidFill>
            <a:schemeClr val="bg1">
              <a:alpha val="63000"/>
            </a:schemeClr>
          </a:solidFill>
        </p:spPr>
        <p:txBody>
          <a:bodyPr>
            <a:no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3.6 </a:t>
            </a:r>
            <a:r>
              <a:rPr lang="en-US" sz="2400" b="0" dirty="0">
                <a:solidFill>
                  <a:schemeClr val="tx1"/>
                </a:solidFill>
                <a:cs typeface="Arial" pitchFamily="34" charset="0"/>
              </a:rPr>
              <a:t>B population by </a:t>
            </a: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205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EEE consumption growth rates very high (new &amp; 2</a:t>
            </a:r>
            <a:r>
              <a:rPr lang="en-US" sz="2400" b="0" baseline="30000" dirty="0" smtClean="0">
                <a:solidFill>
                  <a:schemeClr val="tx1"/>
                </a:solidFill>
                <a:cs typeface="Arial" pitchFamily="34" charset="0"/>
              </a:rPr>
              <a:t>nd</a:t>
            </a: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 hand)</a:t>
            </a:r>
            <a:endParaRPr lang="en-US" sz="2400" b="0" dirty="0">
              <a:solidFill>
                <a:schemeClr val="tx1"/>
              </a:solidFill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Domestically generated E-waste may </a:t>
            </a:r>
            <a:r>
              <a:rPr lang="en-US" sz="2400" b="0" dirty="0">
                <a:solidFill>
                  <a:schemeClr val="tx1"/>
                </a:solidFill>
                <a:cs typeface="Arial" pitchFamily="34" charset="0"/>
              </a:rPr>
              <a:t>exceed EU’s by </a:t>
            </a:r>
            <a:r>
              <a:rPr lang="en-US" sz="2400" b="0" dirty="0" smtClean="0">
                <a:solidFill>
                  <a:schemeClr val="tx1"/>
                </a:solidFill>
                <a:cs typeface="Arial" pitchFamily="34" charset="0"/>
              </a:rPr>
              <a:t>2018</a:t>
            </a:r>
            <a:endParaRPr lang="en-US" sz="2400" b="0" dirty="0">
              <a:solidFill>
                <a:schemeClr val="tx1"/>
              </a:solidFill>
              <a:cs typeface="Arial" pitchFamily="34" charset="0"/>
            </a:endParaRPr>
          </a:p>
          <a:p>
            <a:endParaRPr lang="en-US" sz="24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2</a:t>
            </a:fld>
            <a:endParaRPr lang="en-US" sz="1400" dirty="0"/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446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690947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484" y="15692"/>
            <a:ext cx="9080056" cy="1143000"/>
          </a:xfrm>
        </p:spPr>
        <p:txBody>
          <a:bodyPr>
            <a:normAutofit/>
          </a:bodyPr>
          <a:lstStyle/>
          <a:p>
            <a:pPr algn="l"/>
            <a:r>
              <a:rPr lang="en-IE" sz="3200" b="1" dirty="0" smtClean="0">
                <a:cs typeface="Arial" pitchFamily="34" charset="0"/>
              </a:rPr>
              <a:t>Very few African countries have e-waste </a:t>
            </a:r>
            <a:r>
              <a:rPr lang="en-IE" sz="3200" b="1" dirty="0" err="1" smtClean="0">
                <a:cs typeface="Arial" pitchFamily="34" charset="0"/>
              </a:rPr>
              <a:t>regs</a:t>
            </a:r>
            <a:endParaRPr lang="en-US" sz="3200" b="1" dirty="0"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1484784"/>
            <a:ext cx="2448272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IE" sz="2200" dirty="0" smtClean="0">
                <a:solidFill>
                  <a:srgbClr val="00B050"/>
                </a:solidFill>
                <a:cs typeface="Arial" pitchFamily="34" charset="0"/>
              </a:rPr>
              <a:t>Nigeria</a:t>
            </a:r>
          </a:p>
          <a:p>
            <a:pPr marL="0" indent="0">
              <a:buNone/>
            </a:pPr>
            <a:r>
              <a:rPr lang="en-IE" sz="2200" dirty="0">
                <a:solidFill>
                  <a:srgbClr val="00B050"/>
                </a:solidFill>
                <a:cs typeface="Arial" pitchFamily="34" charset="0"/>
              </a:rPr>
              <a:t>Cameroon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Ghan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Keny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Ethiopi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Ugand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Tanzani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Rwand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South Afric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Zambia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Egypt</a:t>
            </a:r>
          </a:p>
          <a:p>
            <a:pPr marL="0" indent="0">
              <a:buNone/>
            </a:pPr>
            <a:endParaRPr lang="en-IE" sz="2200" dirty="0" smtClean="0">
              <a:solidFill>
                <a:schemeClr val="accent6">
                  <a:lumMod val="75000"/>
                </a:schemeClr>
              </a:solidFill>
              <a:cs typeface="Arial" pitchFamily="34" charset="0"/>
            </a:endParaRPr>
          </a:p>
          <a:p>
            <a:pPr marL="0" indent="0">
              <a:buNone/>
            </a:pPr>
            <a:endParaRPr lang="en-IE" sz="2200" dirty="0" smtClean="0">
              <a:cs typeface="Arial" pitchFamily="34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555776" y="1484784"/>
            <a:ext cx="108012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IE" sz="2200" dirty="0" smtClean="0">
                <a:solidFill>
                  <a:srgbClr val="00B050"/>
                </a:solidFill>
                <a:cs typeface="Arial" pitchFamily="34" charset="0"/>
              </a:rPr>
              <a:t>160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rgbClr val="00B050"/>
                </a:solidFill>
                <a:cs typeface="Arial" pitchFamily="34" charset="0"/>
              </a:rPr>
              <a:t>  20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25m</a:t>
            </a:r>
            <a:endParaRPr lang="en-IE" sz="2200" dirty="0">
              <a:solidFill>
                <a:schemeClr val="accent6">
                  <a:lumMod val="75000"/>
                </a:schemeClr>
              </a:solidFill>
              <a:cs typeface="Arial" pitchFamily="34" charset="0"/>
            </a:endParaRP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43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91m</a:t>
            </a:r>
            <a:endParaRPr lang="en-IE" sz="2200" dirty="0">
              <a:solidFill>
                <a:schemeClr val="accent6">
                  <a:lumMod val="75000"/>
                </a:schemeClr>
              </a:solidFill>
              <a:cs typeface="Arial" pitchFamily="34" charset="0"/>
            </a:endParaRP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34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47m</a:t>
            </a:r>
            <a:endParaRPr lang="en-IE" sz="2200" dirty="0">
              <a:solidFill>
                <a:schemeClr val="accent6">
                  <a:lumMod val="75000"/>
                </a:schemeClr>
              </a:solidFill>
              <a:cs typeface="Arial" pitchFamily="34" charset="0"/>
            </a:endParaRP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12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50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14m</a:t>
            </a:r>
          </a:p>
          <a:p>
            <a:pPr marL="0" indent="0">
              <a:buNone/>
            </a:pPr>
            <a:r>
              <a:rPr lang="en-IE" sz="2200" dirty="0" smtClean="0">
                <a:solidFill>
                  <a:schemeClr val="accent6">
                    <a:lumMod val="75000"/>
                  </a:schemeClr>
                </a:solidFill>
                <a:cs typeface="Arial" pitchFamily="34" charset="0"/>
              </a:rPr>
              <a:t>  84m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82096860"/>
              </p:ext>
            </p:extLst>
          </p:nvPr>
        </p:nvGraphicFramePr>
        <p:xfrm>
          <a:off x="5080422" y="1484784"/>
          <a:ext cx="3163986" cy="49980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1993"/>
                <a:gridCol w="1581993"/>
              </a:tblGrid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United Kingdo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63m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Germany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81m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France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66m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Austria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8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Belgiu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10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Denmark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6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Finland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5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Greece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11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Ireland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4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Italy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61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Luxembourg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1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Netherlands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17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Portugal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11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Spain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47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Sweden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9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>
                          <a:solidFill>
                            <a:srgbClr val="0E438A"/>
                          </a:solidFill>
                          <a:effectLst/>
                        </a:rPr>
                        <a:t>Norway   </a:t>
                      </a:r>
                      <a:endParaRPr lang="en-US" sz="1400" b="0" i="0" u="none" strike="noStrike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5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  <a:tr h="29400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Switzerland   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solidFill>
                            <a:srgbClr val="0E438A"/>
                          </a:solidFill>
                          <a:effectLst/>
                        </a:rPr>
                        <a:t> 8m</a:t>
                      </a:r>
                      <a:endParaRPr lang="en-US" sz="1400" b="0" i="0" u="none" strike="noStrike" dirty="0">
                        <a:solidFill>
                          <a:srgbClr val="0E438A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alpha val="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04049" y="1127646"/>
            <a:ext cx="3311192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E" sz="1800" dirty="0" smtClean="0">
                <a:latin typeface="+mn-lt"/>
                <a:cs typeface="Arial" pitchFamily="34" charset="0"/>
              </a:rPr>
              <a:t>Original “WEEE” countries</a:t>
            </a:r>
            <a:endParaRPr lang="en-US" sz="1800" dirty="0">
              <a:latin typeface="+mn-lt"/>
              <a:cs typeface="Arial" pitchFamily="34" charset="0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973612" y="1429232"/>
            <a:ext cx="1120242" cy="487600"/>
          </a:xfrm>
          <a:prstGeom prst="ellipse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sz="18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413m</a:t>
            </a:r>
            <a:endParaRPr lang="en-US" sz="1800" dirty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9512" y="1124744"/>
            <a:ext cx="4039254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IE" sz="1800" dirty="0" smtClean="0">
                <a:latin typeface="+mn-lt"/>
                <a:cs typeface="Arial" pitchFamily="34" charset="0"/>
              </a:rPr>
              <a:t>African countries</a:t>
            </a:r>
            <a:endParaRPr lang="en-US" sz="1800" dirty="0">
              <a:latin typeface="+mn-lt"/>
              <a:cs typeface="Arial" pitchFamily="34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779912" y="1465620"/>
            <a:ext cx="1296144" cy="451212"/>
            <a:chOff x="3432420" y="4571696"/>
            <a:chExt cx="1296144" cy="338409"/>
          </a:xfrm>
        </p:grpSpPr>
        <p:sp>
          <p:nvSpPr>
            <p:cNvPr id="10" name="Oval 9"/>
            <p:cNvSpPr/>
            <p:nvPr/>
          </p:nvSpPr>
          <p:spPr>
            <a:xfrm>
              <a:off x="3451975" y="4571696"/>
              <a:ext cx="1080120" cy="338409"/>
            </a:xfrm>
            <a:prstGeom prst="ellipse">
              <a:avLst/>
            </a:prstGeom>
            <a:pattFill prst="pct5">
              <a:fgClr>
                <a:schemeClr val="accent1"/>
              </a:fgClr>
              <a:bgClr>
                <a:schemeClr val="bg1"/>
              </a:bgClr>
            </a:patt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cs typeface="Arial" pitchFamily="34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432420" y="4612188"/>
              <a:ext cx="12961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E" sz="1800" dirty="0" smtClean="0">
                  <a:solidFill>
                    <a:schemeClr val="accent1">
                      <a:lumMod val="75000"/>
                    </a:schemeClr>
                  </a:solidFill>
                  <a:latin typeface="+mn-lt"/>
                  <a:cs typeface="Arial" pitchFamily="34" charset="0"/>
                </a:rPr>
                <a:t>  580m</a:t>
              </a:r>
              <a:endParaRPr lang="en-US" sz="18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751763" y="6453188"/>
            <a:ext cx="1366837" cy="431800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6C5EFDBE-890D-42E3-B855-E9F8B7477C01}" type="slidenum">
              <a:rPr lang="en-US" sz="1400"/>
              <a:pPr/>
              <a:t>3</a:t>
            </a:fld>
            <a:endParaRPr lang="en-US" sz="1400" dirty="0"/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446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28830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7" name="Picture 3" descr="greenpeace-electronic-cab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5000" y="417339"/>
            <a:ext cx="2288023" cy="19029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3538" name="Text Box 8"/>
          <p:cNvSpPr txBox="1">
            <a:spLocks noChangeArrowheads="1"/>
          </p:cNvSpPr>
          <p:nvPr/>
        </p:nvSpPr>
        <p:spPr bwMode="auto">
          <a:xfrm>
            <a:off x="107504" y="131998"/>
            <a:ext cx="409599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E438A"/>
                </a:solidFill>
                <a:latin typeface="+mj-lt"/>
                <a:cs typeface="Arial" pitchFamily="34" charset="0"/>
              </a:rPr>
              <a:t>E-waste “basics”</a:t>
            </a:r>
            <a:endParaRPr lang="en-US" b="1" dirty="0">
              <a:solidFill>
                <a:srgbClr val="0E438A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/>
        </p:nvSpPr>
        <p:spPr bwMode="auto">
          <a:xfrm>
            <a:off x="138829" y="1200919"/>
            <a:ext cx="5441283" cy="483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Rudimentary recycling is the issue </a:t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/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/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endParaRPr lang="en-US" sz="2200" dirty="0" smtClean="0">
              <a:solidFill>
                <a:srgbClr val="0E438A"/>
              </a:solidFill>
              <a:latin typeface="+mn-lt"/>
              <a:cs typeface="Arial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ZA" sz="2200" dirty="0">
              <a:solidFill>
                <a:srgbClr val="0E438A"/>
              </a:solidFill>
              <a:latin typeface="+mn-lt"/>
              <a:cs typeface="Arial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endParaRPr lang="en-US" sz="2200" dirty="0" smtClean="0">
              <a:solidFill>
                <a:srgbClr val="0E438A"/>
              </a:solidFill>
              <a:latin typeface="+mn-lt"/>
              <a:cs typeface="Arial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Collection is NOT a </a:t>
            </a:r>
          </a:p>
          <a:p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    problem</a:t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/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/>
            </a:r>
            <a:b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</a:br>
            <a:endParaRPr lang="en-US" sz="2200" dirty="0" smtClean="0">
              <a:solidFill>
                <a:srgbClr val="0E438A"/>
              </a:solidFill>
              <a:latin typeface="+mn-lt"/>
              <a:cs typeface="Arial" pitchFamily="34" charset="0"/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E-waste has value </a:t>
            </a: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  <a:sym typeface="Wingdings" pitchFamily="2" charset="2"/>
              </a:rPr>
              <a:t> can be collected &amp; treated as a profitable business </a:t>
            </a:r>
            <a:r>
              <a:rPr lang="en-US" sz="22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  </a:t>
            </a:r>
            <a:endParaRPr lang="en-US" sz="2200" dirty="0">
              <a:solidFill>
                <a:srgbClr val="0E438A"/>
              </a:solidFill>
              <a:latin typeface="+mn-lt"/>
              <a:cs typeface="Arial" pitchFamily="34" charset="0"/>
            </a:endParaRPr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14551" y="2320297"/>
            <a:ext cx="5032651" cy="2435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35" descr="http://www.kitco.com/LFgif/au3650nyb.gif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868144" y="4756057"/>
            <a:ext cx="2428875" cy="17557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446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751763" y="6453188"/>
            <a:ext cx="1366837" cy="431800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fld id="{6C5EFDBE-890D-42E3-B855-E9F8B7477C01}" type="slidenum">
              <a:rPr lang="en-US" sz="1400"/>
              <a:pPr/>
              <a:t>4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332286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 txBox="1">
            <a:spLocks/>
          </p:cNvSpPr>
          <p:nvPr/>
        </p:nvSpPr>
        <p:spPr bwMode="auto">
          <a:xfrm>
            <a:off x="374848" y="5129123"/>
            <a:ext cx="8229600" cy="1036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  <a:defRPr sz="22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  <a:lvl2pPr marL="574675" indent="-2238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Sans For Dell" pitchFamily="2" charset="0"/>
              <a:buChar char="›"/>
              <a:defRPr sz="16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9pPr>
          </a:lstStyle>
          <a:p>
            <a:r>
              <a:rPr lang="en-GB" sz="20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NO connection between “Producers” and the material flows</a:t>
            </a:r>
          </a:p>
          <a:p>
            <a:r>
              <a:rPr lang="en-GB" sz="2000" dirty="0" smtClean="0">
                <a:solidFill>
                  <a:srgbClr val="0E438A"/>
                </a:solidFill>
                <a:latin typeface="+mn-lt"/>
                <a:cs typeface="Arial" pitchFamily="34" charset="0"/>
              </a:rPr>
              <a:t>Informal collectors NOT connected to a formal recycling structure</a:t>
            </a:r>
          </a:p>
        </p:txBody>
      </p:sp>
      <p:sp>
        <p:nvSpPr>
          <p:cNvPr id="26" name="Right Arrow Callout 25"/>
          <p:cNvSpPr/>
          <p:nvPr/>
        </p:nvSpPr>
        <p:spPr>
          <a:xfrm>
            <a:off x="1314594" y="2355898"/>
            <a:ext cx="1226043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3749"/>
            </a:avLst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d User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ight Arrow Callout 26"/>
          <p:cNvSpPr/>
          <p:nvPr/>
        </p:nvSpPr>
        <p:spPr>
          <a:xfrm>
            <a:off x="2562074" y="2357427"/>
            <a:ext cx="1797403" cy="916767"/>
          </a:xfrm>
          <a:prstGeom prst="rightArrowCallout">
            <a:avLst>
              <a:gd name="adj1" fmla="val 22701"/>
              <a:gd name="adj2" fmla="val 25000"/>
              <a:gd name="adj3" fmla="val 25000"/>
              <a:gd name="adj4" fmla="val 82441"/>
            </a:avLst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formal Collectors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ight Arrow Callout 27"/>
          <p:cNvSpPr/>
          <p:nvPr/>
        </p:nvSpPr>
        <p:spPr>
          <a:xfrm>
            <a:off x="4400641" y="2381985"/>
            <a:ext cx="1797403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0103"/>
            </a:avLst>
          </a:prstGeom>
          <a:solidFill>
            <a:srgbClr val="0E43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“Recyclers”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ight Arrow Callout 28"/>
          <p:cNvSpPr/>
          <p:nvPr/>
        </p:nvSpPr>
        <p:spPr>
          <a:xfrm>
            <a:off x="2590140" y="4096409"/>
            <a:ext cx="1847008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506"/>
            </a:avLst>
          </a:prstGeom>
          <a:solidFill>
            <a:srgbClr val="5F5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ducers</a:t>
            </a:r>
            <a:endParaRPr lang="en-GB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233815" y="2381985"/>
            <a:ext cx="1380787" cy="916767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mited Material Markets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246446" y="1337884"/>
            <a:ext cx="1380787" cy="91676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cal Dumping/ Burning</a:t>
            </a:r>
            <a:endParaRPr lang="en-GB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073015" y="1196752"/>
            <a:ext cx="3094870" cy="1300811"/>
            <a:chOff x="3838887" y="1930012"/>
            <a:chExt cx="2433333" cy="758225"/>
          </a:xfrm>
          <a:solidFill>
            <a:srgbClr val="FF3300"/>
          </a:solidFill>
        </p:grpSpPr>
        <p:sp>
          <p:nvSpPr>
            <p:cNvPr id="33" name="Bent Arrow 32"/>
            <p:cNvSpPr/>
            <p:nvPr/>
          </p:nvSpPr>
          <p:spPr>
            <a:xfrm>
              <a:off x="3838887" y="1930012"/>
              <a:ext cx="2433333" cy="732138"/>
            </a:xfrm>
            <a:prstGeom prst="ben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Bent Arrow 33"/>
            <p:cNvSpPr/>
            <p:nvPr/>
          </p:nvSpPr>
          <p:spPr>
            <a:xfrm>
              <a:off x="5347194" y="1930012"/>
              <a:ext cx="925023" cy="758225"/>
            </a:xfrm>
            <a:prstGeom prst="bent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4240091" y="2013957"/>
              <a:ext cx="1853075" cy="175262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11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Non-Valuable Fractions</a:t>
              </a:r>
              <a:endParaRPr lang="en-GB" sz="11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251520" y="131998"/>
            <a:ext cx="59202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E438A"/>
                </a:solidFill>
                <a:latin typeface="+mj-lt"/>
                <a:cs typeface="Arial" pitchFamily="34" charset="0"/>
              </a:rPr>
              <a:t>E-waste : current state…</a:t>
            </a:r>
            <a:endParaRPr lang="en-US" b="1" dirty="0">
              <a:solidFill>
                <a:srgbClr val="0E438A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Explosion 1 17"/>
          <p:cNvSpPr/>
          <p:nvPr/>
        </p:nvSpPr>
        <p:spPr>
          <a:xfrm>
            <a:off x="3185089" y="2966681"/>
            <a:ext cx="2040628" cy="1123888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udimentary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446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Explosion 1 15"/>
          <p:cNvSpPr/>
          <p:nvPr/>
        </p:nvSpPr>
        <p:spPr>
          <a:xfrm>
            <a:off x="295512" y="1352087"/>
            <a:ext cx="2040628" cy="1280943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ehaviour 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Explosion 1 18"/>
          <p:cNvSpPr/>
          <p:nvPr/>
        </p:nvSpPr>
        <p:spPr>
          <a:xfrm>
            <a:off x="5147567" y="2966682"/>
            <a:ext cx="2040628" cy="1391300"/>
          </a:xfrm>
          <a:prstGeom prst="irregularSeal1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‘cherry’ picking</a:t>
            </a:r>
            <a:endParaRPr lang="en-US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fld id="{6C5EFDBE-890D-42E3-B855-E9F8B7477C01}" type="slidenum">
              <a:rPr lang="en-US" sz="1400"/>
              <a:pPr algn="r"/>
              <a:t>5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3884521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18" grpId="0" animBg="1"/>
      <p:bldP spid="16" grpId="0" animBg="1"/>
      <p:bldP spid="1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p Arrow Callout 2"/>
          <p:cNvSpPr/>
          <p:nvPr/>
        </p:nvSpPr>
        <p:spPr>
          <a:xfrm>
            <a:off x="2390047" y="3139083"/>
            <a:ext cx="3916883" cy="2018109"/>
          </a:xfrm>
          <a:prstGeom prst="upArrowCallout">
            <a:avLst/>
          </a:prstGeom>
          <a:solidFill>
            <a:schemeClr val="bg1">
              <a:lumMod val="85000"/>
              <a:alpha val="2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ight Arrow Callout 25"/>
          <p:cNvSpPr/>
          <p:nvPr/>
        </p:nvSpPr>
        <p:spPr>
          <a:xfrm>
            <a:off x="1079067" y="1644947"/>
            <a:ext cx="1226043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3749"/>
            </a:avLst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nd User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Right Arrow Callout 26"/>
          <p:cNvSpPr/>
          <p:nvPr/>
        </p:nvSpPr>
        <p:spPr>
          <a:xfrm>
            <a:off x="2326547" y="1646477"/>
            <a:ext cx="1797403" cy="916767"/>
          </a:xfrm>
          <a:prstGeom prst="rightArrowCallout">
            <a:avLst>
              <a:gd name="adj1" fmla="val 22701"/>
              <a:gd name="adj2" fmla="val 25000"/>
              <a:gd name="adj3" fmla="val 25000"/>
              <a:gd name="adj4" fmla="val 82441"/>
            </a:avLst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formal Collectors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ight Arrow Callout 27"/>
          <p:cNvSpPr/>
          <p:nvPr/>
        </p:nvSpPr>
        <p:spPr>
          <a:xfrm>
            <a:off x="4165115" y="1671034"/>
            <a:ext cx="1797403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80103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cyclers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Right Arrow Callout 28"/>
          <p:cNvSpPr/>
          <p:nvPr/>
        </p:nvSpPr>
        <p:spPr>
          <a:xfrm>
            <a:off x="2555776" y="4019069"/>
            <a:ext cx="1847008" cy="916767"/>
          </a:xfrm>
          <a:prstGeom prst="rightArrowCallout">
            <a:avLst>
              <a:gd name="adj1" fmla="val 25000"/>
              <a:gd name="adj2" fmla="val 25000"/>
              <a:gd name="adj3" fmla="val 25000"/>
              <a:gd name="adj4" fmla="val 79506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ducers</a:t>
            </a:r>
            <a:endParaRPr lang="en-GB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998288" y="1515745"/>
            <a:ext cx="1380787" cy="1236691"/>
          </a:xfrm>
          <a:prstGeom prst="rect">
            <a:avLst/>
          </a:prstGeom>
          <a:solidFill>
            <a:srgbClr val="0066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ocal and Global Material Markets</a:t>
            </a:r>
            <a:endParaRPr lang="en-GB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-36512" y="116632"/>
            <a:ext cx="91759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 dirty="0" smtClean="0">
                <a:solidFill>
                  <a:srgbClr val="0E438A"/>
                </a:solidFill>
                <a:latin typeface="+mj-lt"/>
                <a:cs typeface="Arial" pitchFamily="34" charset="0"/>
              </a:rPr>
              <a:t>With Extended Producer Responsibility</a:t>
            </a:r>
            <a:endParaRPr lang="en-US" b="1" dirty="0">
              <a:solidFill>
                <a:srgbClr val="0E438A"/>
              </a:solidFill>
              <a:latin typeface="+mj-lt"/>
              <a:cs typeface="Arial" pitchFamily="34" charset="0"/>
            </a:endParaRPr>
          </a:p>
        </p:txBody>
      </p:sp>
      <p:sp>
        <p:nvSpPr>
          <p:cNvPr id="40" name="Explosion 1 39"/>
          <p:cNvSpPr/>
          <p:nvPr/>
        </p:nvSpPr>
        <p:spPr>
          <a:xfrm>
            <a:off x="4202801" y="993773"/>
            <a:ext cx="2040628" cy="1043945"/>
          </a:xfrm>
          <a:prstGeom prst="irregularSeal1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</a:t>
            </a:r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cycling </a:t>
            </a:r>
          </a:p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ndards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Content Placeholder 2"/>
          <p:cNvSpPr txBox="1">
            <a:spLocks/>
          </p:cNvSpPr>
          <p:nvPr/>
        </p:nvSpPr>
        <p:spPr bwMode="auto">
          <a:xfrm>
            <a:off x="-36512" y="5262106"/>
            <a:ext cx="9046895" cy="75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ts val="1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  <a:defRPr sz="22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  <a:cs typeface="+mn-cs"/>
              </a:defRPr>
            </a:lvl1pPr>
            <a:lvl2pPr marL="574675" indent="-2238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Sans For Dell" pitchFamily="2" charset="0"/>
              <a:buChar char="–"/>
              <a:defRPr sz="1800" baseline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2pPr>
            <a:lvl3pPr marL="909638" indent="-220663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Sans For Dell" pitchFamily="2" charset="0"/>
              <a:buChar char="›"/>
              <a:defRPr sz="16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3pPr>
            <a:lvl4pPr marL="1246188" indent="-222250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4pPr>
            <a:lvl5pPr marL="1608138" indent="-236538" algn="l" rtl="0" eaLnBrk="1" fontAlgn="base" hangingPunct="1">
              <a:lnSpc>
                <a:spcPct val="90000"/>
              </a:lnSpc>
              <a:spcBef>
                <a:spcPts val="800"/>
              </a:spcBef>
              <a:spcAft>
                <a:spcPct val="0"/>
              </a:spcAft>
              <a:buClr>
                <a:schemeClr val="bg1"/>
              </a:buClr>
              <a:buFont typeface="Museo For Dell 300" pitchFamily="50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5pPr>
            <a:lvl6pPr marL="20653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6pPr>
            <a:lvl7pPr marL="25225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7pPr>
            <a:lvl8pPr marL="29797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8pPr>
            <a:lvl9pPr marL="3436938" indent="-236538" algn="l" rtl="0" eaLnBrk="1" fontAlgn="base" hangingPunct="1">
              <a:lnSpc>
                <a:spcPct val="95000"/>
              </a:lnSpc>
              <a:spcBef>
                <a:spcPct val="3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–"/>
              <a:defRPr sz="1800">
                <a:solidFill>
                  <a:schemeClr val="accent1"/>
                </a:solidFill>
                <a:latin typeface="+mn-lt"/>
              </a:defRPr>
            </a:lvl9pPr>
          </a:lstStyle>
          <a:p>
            <a:r>
              <a:rPr lang="en-GB" sz="2000" dirty="0" smtClean="0">
                <a:solidFill>
                  <a:srgbClr val="0E438A"/>
                </a:solidFill>
                <a:latin typeface="Arial" pitchFamily="34" charset="0"/>
                <a:cs typeface="Arial" pitchFamily="34" charset="0"/>
              </a:rPr>
              <a:t>Fair &amp; enforced regulation is paramount to stimulate investments by recyclers</a:t>
            </a:r>
          </a:p>
          <a:p>
            <a:r>
              <a:rPr lang="en-GB" sz="2000" dirty="0" smtClean="0">
                <a:solidFill>
                  <a:srgbClr val="0E438A"/>
                </a:solidFill>
                <a:latin typeface="Arial" pitchFamily="34" charset="0"/>
                <a:cs typeface="Arial" pitchFamily="34" charset="0"/>
              </a:rPr>
              <a:t>Regional approaches are critical  to effective solutions deployment</a:t>
            </a:r>
          </a:p>
        </p:txBody>
      </p:sp>
      <p:sp>
        <p:nvSpPr>
          <p:cNvPr id="43" name="Explosion 1 42"/>
          <p:cNvSpPr/>
          <p:nvPr/>
        </p:nvSpPr>
        <p:spPr>
          <a:xfrm>
            <a:off x="6732240" y="692696"/>
            <a:ext cx="2369059" cy="1265224"/>
          </a:xfrm>
          <a:prstGeom prst="irregularSeal1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</a:t>
            </a:r>
            <a:r>
              <a:rPr lang="en-ZA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cal and global markets 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Explosion 1 43"/>
          <p:cNvSpPr/>
          <p:nvPr/>
        </p:nvSpPr>
        <p:spPr>
          <a:xfrm>
            <a:off x="1763688" y="2327597"/>
            <a:ext cx="2593344" cy="1461443"/>
          </a:xfrm>
          <a:prstGeom prst="irregularSeal1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afety net </a:t>
            </a:r>
            <a:r>
              <a:rPr lang="en-US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or “problematic fractions”</a:t>
            </a:r>
          </a:p>
        </p:txBody>
      </p:sp>
      <p:sp>
        <p:nvSpPr>
          <p:cNvPr id="19" name="Explosion 1 18"/>
          <p:cNvSpPr/>
          <p:nvPr/>
        </p:nvSpPr>
        <p:spPr>
          <a:xfrm>
            <a:off x="6227128" y="2460704"/>
            <a:ext cx="2593344" cy="1544360"/>
          </a:xfrm>
          <a:prstGeom prst="irregularSeal1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</a:t>
            </a:r>
            <a:r>
              <a:rPr lang="en-ZA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tivate local markets – waste beneficiation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Explosion 1 19"/>
          <p:cNvSpPr/>
          <p:nvPr/>
        </p:nvSpPr>
        <p:spPr>
          <a:xfrm>
            <a:off x="-5732" y="582117"/>
            <a:ext cx="1972407" cy="1542431"/>
          </a:xfrm>
          <a:prstGeom prst="irregularSeal1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</a:t>
            </a:r>
            <a:r>
              <a:rPr lang="en-ZA" sz="12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haviour based system</a:t>
            </a:r>
            <a:endParaRPr lang="en-US" sz="12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425966" y="4005064"/>
            <a:ext cx="1790597" cy="930772"/>
          </a:xfrm>
          <a:prstGeom prst="rect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-Waste Control Body</a:t>
            </a:r>
          </a:p>
          <a:p>
            <a:pPr algn="ctr"/>
            <a:endParaRPr lang="en-GB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ducer Registration &amp; Obligation</a:t>
            </a:r>
            <a:r>
              <a:rPr lang="en-GB" sz="12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742" y="6198332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fld id="{6C5EFDBE-890D-42E3-B855-E9F8B7477C01}" type="slidenum">
              <a:rPr lang="en-US" sz="1400"/>
              <a:pPr algn="r"/>
              <a:t>6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628561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40" grpId="0" animBg="1"/>
      <p:bldP spid="41" grpId="0"/>
      <p:bldP spid="43" grpId="0" animBg="1"/>
      <p:bldP spid="44" grpId="0" animBg="1"/>
      <p:bldP spid="19" grpId="0" animBg="1"/>
      <p:bldP spid="20" grpId="0" animBg="1"/>
      <p:bldP spid="3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44462" cy="477054"/>
          </a:xfrm>
        </p:spPr>
        <p:txBody>
          <a:bodyPr/>
          <a:lstStyle/>
          <a:p>
            <a:r>
              <a:rPr lang="en-US" dirty="0" smtClean="0">
                <a:solidFill>
                  <a:srgbClr val="0E438A"/>
                </a:solidFill>
                <a:cs typeface="Arial" pitchFamily="34" charset="0"/>
              </a:rPr>
              <a:t>Deployment in Kenya, a role model</a:t>
            </a:r>
            <a:endParaRPr lang="en-US" dirty="0">
              <a:solidFill>
                <a:srgbClr val="0E438A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83974" y="1385719"/>
            <a:ext cx="2201324" cy="1489947"/>
          </a:xfrm>
          <a:prstGeom prst="rect">
            <a:avLst/>
          </a:prstGeom>
          <a:solidFill>
            <a:srgbClr val="0096D6"/>
          </a:solidFill>
          <a:ln>
            <a:solidFill>
              <a:srgbClr val="0096D6"/>
            </a:solidFill>
          </a:ln>
          <a:effectLst>
            <a:innerShdw blurRad="419100" dir="11280000">
              <a:prstClr val="black">
                <a:alpha val="50000"/>
              </a:prstClr>
            </a:innerShdw>
          </a:effectLst>
          <a:scene3d>
            <a:camera prst="orthographicFront"/>
            <a:lightRig rig="twoPt" dir="t"/>
          </a:scene3d>
          <a:sp3d>
            <a:bevelT w="165100" prst="coolSlant"/>
            <a:bevelB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E" sz="1400" b="1" dirty="0" smtClean="0">
                <a:solidFill>
                  <a:prstClr val="white"/>
                </a:solidFill>
                <a:cs typeface="Arial" pitchFamily="34" charset="0"/>
              </a:rPr>
              <a:t>Treatment </a:t>
            </a:r>
            <a:r>
              <a:rPr lang="en-IE" sz="1400" b="1" dirty="0" err="1" smtClean="0">
                <a:solidFill>
                  <a:prstClr val="white"/>
                </a:solidFill>
                <a:cs typeface="Arial" pitchFamily="34" charset="0"/>
              </a:rPr>
              <a:t>Center</a:t>
            </a:r>
            <a:r>
              <a:rPr lang="en-IE" sz="1400" b="1" dirty="0" smtClean="0">
                <a:solidFill>
                  <a:prstClr val="white"/>
                </a:solidFill>
                <a:cs typeface="Arial" pitchFamily="34" charset="0"/>
              </a:rPr>
              <a:t> &amp; </a:t>
            </a:r>
            <a:r>
              <a:rPr lang="en-IE" sz="1400" b="1" dirty="0" smtClean="0">
                <a:solidFill>
                  <a:srgbClr val="FFFF00"/>
                </a:solidFill>
                <a:cs typeface="Arial" pitchFamily="34" charset="0"/>
              </a:rPr>
              <a:t>Trading Platform </a:t>
            </a:r>
            <a:r>
              <a:rPr lang="en-IE" sz="1200" dirty="0" smtClean="0">
                <a:solidFill>
                  <a:prstClr val="white"/>
                </a:solidFill>
                <a:cs typeface="Arial" pitchFamily="34" charset="0"/>
              </a:rPr>
              <a:t>operating under strict recycling standards</a:t>
            </a:r>
            <a:endParaRPr lang="en-US" sz="1200" dirty="0">
              <a:solidFill>
                <a:prstClr val="white"/>
              </a:solidFill>
              <a:cs typeface="Arial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603939" y="2266066"/>
            <a:ext cx="2513438" cy="1431703"/>
            <a:chOff x="3603939" y="1837113"/>
            <a:chExt cx="2513438" cy="1073777"/>
          </a:xfrm>
        </p:grpSpPr>
        <p:sp>
          <p:nvSpPr>
            <p:cNvPr id="6" name="Rectangle 5"/>
            <p:cNvSpPr/>
            <p:nvPr/>
          </p:nvSpPr>
          <p:spPr>
            <a:xfrm>
              <a:off x="3603939" y="1837113"/>
              <a:ext cx="1751438" cy="502277"/>
            </a:xfrm>
            <a:prstGeom prst="rect">
              <a:avLst/>
            </a:prstGeom>
            <a:solidFill>
              <a:srgbClr val="B9B9BB"/>
            </a:solidFill>
            <a:ln>
              <a:solidFill>
                <a:srgbClr val="B9B8B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llectors</a:t>
              </a:r>
              <a:endParaRPr 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3756339" y="1951413"/>
              <a:ext cx="1751438" cy="502277"/>
            </a:xfrm>
            <a:prstGeom prst="rect">
              <a:avLst/>
            </a:prstGeom>
            <a:solidFill>
              <a:srgbClr val="87898B"/>
            </a:solidFill>
            <a:ln>
              <a:solidFill>
                <a:srgbClr val="87898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llectors</a:t>
              </a:r>
              <a:endParaRPr 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3908739" y="2065713"/>
              <a:ext cx="1751438" cy="502277"/>
            </a:xfrm>
            <a:prstGeom prst="rect">
              <a:avLst/>
            </a:prstGeom>
            <a:solidFill>
              <a:srgbClr val="B9B9BB"/>
            </a:solidFill>
            <a:ln>
              <a:solidFill>
                <a:srgbClr val="B9B8B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llectors</a:t>
              </a:r>
              <a:endParaRPr 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061139" y="2180013"/>
              <a:ext cx="1751438" cy="502277"/>
            </a:xfrm>
            <a:prstGeom prst="rect">
              <a:avLst/>
            </a:prstGeom>
            <a:solidFill>
              <a:srgbClr val="87898B"/>
            </a:solidFill>
            <a:ln>
              <a:solidFill>
                <a:srgbClr val="87898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llectors</a:t>
              </a:r>
              <a:endParaRPr 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213539" y="2294313"/>
              <a:ext cx="1751438" cy="502277"/>
            </a:xfrm>
            <a:prstGeom prst="rect">
              <a:avLst/>
            </a:prstGeom>
            <a:solidFill>
              <a:srgbClr val="B9B9BB"/>
            </a:solidFill>
            <a:ln>
              <a:solidFill>
                <a:srgbClr val="B9B8B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Collectors</a:t>
              </a:r>
              <a:endParaRPr lang="en-US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365939" y="2408613"/>
              <a:ext cx="1751438" cy="502277"/>
            </a:xfrm>
            <a:prstGeom prst="rect">
              <a:avLst/>
            </a:prstGeom>
            <a:solidFill>
              <a:srgbClr val="87898B"/>
            </a:solidFill>
            <a:ln>
              <a:solidFill>
                <a:srgbClr val="87898B"/>
              </a:solidFill>
            </a:ln>
            <a:effectLst>
              <a:innerShdw blurRad="63500" dist="50800" dir="27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E" sz="14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Collection centres</a:t>
              </a:r>
              <a:r>
                <a:rPr lang="en-IE" sz="14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 X 50</a:t>
              </a:r>
              <a:endPara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3" name="Circular Arrow 12"/>
          <p:cNvSpPr/>
          <p:nvPr/>
        </p:nvSpPr>
        <p:spPr>
          <a:xfrm rot="11158550">
            <a:off x="2955307" y="2725631"/>
            <a:ext cx="1237282" cy="854296"/>
          </a:xfrm>
          <a:prstGeom prst="circularArrow">
            <a:avLst>
              <a:gd name="adj1" fmla="val 12500"/>
              <a:gd name="adj2" fmla="val 2055865"/>
              <a:gd name="adj3" fmla="val 20457681"/>
              <a:gd name="adj4" fmla="val 12865930"/>
              <a:gd name="adj5" fmla="val 12500"/>
            </a:avLst>
          </a:prstGeom>
          <a:solidFill>
            <a:srgbClr val="F05332"/>
          </a:solidFill>
          <a:ln>
            <a:solidFill>
              <a:srgbClr val="F05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Circular Arrow 19"/>
          <p:cNvSpPr/>
          <p:nvPr/>
        </p:nvSpPr>
        <p:spPr>
          <a:xfrm rot="11158550">
            <a:off x="5531098" y="3647596"/>
            <a:ext cx="1237282" cy="854296"/>
          </a:xfrm>
          <a:prstGeom prst="circularArrow">
            <a:avLst>
              <a:gd name="adj1" fmla="val 12500"/>
              <a:gd name="adj2" fmla="val 2055865"/>
              <a:gd name="adj3" fmla="val 20457681"/>
              <a:gd name="adj4" fmla="val 12865930"/>
              <a:gd name="adj5" fmla="val 12500"/>
            </a:avLst>
          </a:prstGeom>
          <a:solidFill>
            <a:srgbClr val="F05332"/>
          </a:solidFill>
          <a:ln>
            <a:solidFill>
              <a:srgbClr val="F053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6870079" y="3663481"/>
            <a:ext cx="2067154" cy="2089843"/>
            <a:chOff x="6870079" y="2885175"/>
            <a:chExt cx="2067154" cy="1567382"/>
          </a:xfrm>
        </p:grpSpPr>
        <p:pic>
          <p:nvPicPr>
            <p:cNvPr id="15" name="Picture 10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0079" y="2885175"/>
              <a:ext cx="847725" cy="714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1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2485" y="2999475"/>
              <a:ext cx="847725" cy="714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1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4886" y="3113775"/>
              <a:ext cx="847725" cy="714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" name="Picture 1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8627" y="3192566"/>
              <a:ext cx="847725" cy="714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8748" y="3320426"/>
              <a:ext cx="847725" cy="714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7259876" y="4002434"/>
              <a:ext cx="1677357" cy="4501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IE" sz="1100" b="1" dirty="0" smtClean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20 scavengers for each collection point</a:t>
              </a:r>
              <a:endParaRPr lang="en-US" sz="1100" b="1" dirty="0">
                <a:solidFill>
                  <a:prstClr val="black"/>
                </a:solidFill>
                <a:latin typeface="+mn-lt"/>
                <a:cs typeface="Arial" pitchFamily="34" charset="0"/>
              </a:endParaRPr>
            </a:p>
          </p:txBody>
        </p:sp>
      </p:grpSp>
      <p:sp>
        <p:nvSpPr>
          <p:cNvPr id="3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139207" y="4797152"/>
            <a:ext cx="6437686" cy="1327848"/>
          </a:xfrm>
          <a:solidFill>
            <a:srgbClr val="E5E8E8"/>
          </a:solidFill>
        </p:spPr>
        <p:txBody>
          <a:bodyPr/>
          <a:lstStyle/>
          <a:p>
            <a:r>
              <a:rPr lang="en-US" sz="1600" dirty="0" smtClean="0">
                <a:cs typeface="Arial" pitchFamily="34" charset="0"/>
              </a:rPr>
              <a:t>Scope : all e-waste, including ‘problematic fractions’</a:t>
            </a:r>
          </a:p>
          <a:p>
            <a:r>
              <a:rPr lang="en-US" sz="1600" dirty="0">
                <a:cs typeface="Arial" pitchFamily="34" charset="0"/>
              </a:rPr>
              <a:t>Goal : self sustaining business </a:t>
            </a:r>
            <a:r>
              <a:rPr lang="en-US" sz="1600" dirty="0" smtClean="0">
                <a:cs typeface="Arial" pitchFamily="34" charset="0"/>
              </a:rPr>
              <a:t>model, supporting “EAC”</a:t>
            </a:r>
            <a:endParaRPr lang="en-US" sz="1600" i="1" dirty="0">
              <a:cs typeface="Arial" pitchFamily="34" charset="0"/>
            </a:endParaRPr>
          </a:p>
          <a:p>
            <a:r>
              <a:rPr lang="en-US" sz="1600" dirty="0" smtClean="0">
                <a:cs typeface="Arial" pitchFamily="34" charset="0"/>
              </a:rPr>
              <a:t>Enabled by draft regulation</a:t>
            </a:r>
            <a:endParaRPr lang="en-US" sz="1600" dirty="0">
              <a:cs typeface="Arial" pitchFamily="34" charset="0"/>
            </a:endParaRPr>
          </a:p>
          <a:p>
            <a:r>
              <a:rPr lang="en-US" sz="1600" b="1" dirty="0" smtClean="0">
                <a:cs typeface="Arial" pitchFamily="34" charset="0"/>
              </a:rPr>
              <a:t>Creating  THOUSANDS of </a:t>
            </a:r>
            <a:r>
              <a:rPr lang="en-US" sz="1600" b="1" dirty="0" smtClean="0">
                <a:solidFill>
                  <a:srgbClr val="00B050"/>
                </a:solidFill>
                <a:cs typeface="Arial" pitchFamily="34" charset="0"/>
              </a:rPr>
              <a:t>green jobs </a:t>
            </a:r>
            <a:r>
              <a:rPr lang="en-US" sz="1600" b="1" dirty="0" smtClean="0">
                <a:cs typeface="Arial" pitchFamily="34" charset="0"/>
              </a:rPr>
              <a:t>in Kenya</a:t>
            </a:r>
          </a:p>
          <a:p>
            <a:endParaRPr lang="en-US" sz="1600" b="1" dirty="0" smtClean="0">
              <a:solidFill>
                <a:srgbClr val="00B050"/>
              </a:solidFill>
              <a:cs typeface="Arial" pitchFamily="34" charset="0"/>
            </a:endParaRPr>
          </a:p>
          <a:p>
            <a:pPr marL="0" indent="0">
              <a:buNone/>
            </a:pPr>
            <a:endParaRPr lang="en-US" sz="1600" dirty="0" smtClean="0">
              <a:cs typeface="Arial" pitchFamily="34" charset="0"/>
            </a:endParaRPr>
          </a:p>
          <a:p>
            <a:endParaRPr lang="en-US" sz="1600" dirty="0" smtClean="0">
              <a:cs typeface="Arial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985298" y="1385718"/>
            <a:ext cx="1237282" cy="1215187"/>
            <a:chOff x="2985298" y="1176853"/>
            <a:chExt cx="1237282" cy="911390"/>
          </a:xfrm>
        </p:grpSpPr>
        <p:sp>
          <p:nvSpPr>
            <p:cNvPr id="12" name="Circular Arrow 11"/>
            <p:cNvSpPr/>
            <p:nvPr/>
          </p:nvSpPr>
          <p:spPr>
            <a:xfrm>
              <a:off x="2985298" y="1447521"/>
              <a:ext cx="1237282" cy="640722"/>
            </a:xfrm>
            <a:prstGeom prst="circularArrow">
              <a:avLst>
                <a:gd name="adj1" fmla="val 12500"/>
                <a:gd name="adj2" fmla="val 1142319"/>
                <a:gd name="adj3" fmla="val 20457681"/>
                <a:gd name="adj4" fmla="val 12865930"/>
                <a:gd name="adj5" fmla="val 12500"/>
              </a:avLst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45511" y="1176853"/>
              <a:ext cx="463228" cy="2308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 smtClean="0">
                  <a:latin typeface="+mn-lt"/>
                  <a:cs typeface="Arial" pitchFamily="34" charset="0"/>
                </a:rPr>
                <a:t>$$</a:t>
              </a:r>
              <a:endParaRPr lang="en-US" sz="1400" b="1" dirty="0">
                <a:latin typeface="+mn-lt"/>
                <a:cs typeface="Arial" pitchFamily="34" charset="0"/>
              </a:endParaRPr>
            </a:p>
          </p:txBody>
        </p:sp>
      </p:grpSp>
      <p:sp>
        <p:nvSpPr>
          <p:cNvPr id="19" name="Circular Arrow 18"/>
          <p:cNvSpPr/>
          <p:nvPr/>
        </p:nvSpPr>
        <p:spPr>
          <a:xfrm>
            <a:off x="6068744" y="2731215"/>
            <a:ext cx="1237282" cy="854296"/>
          </a:xfrm>
          <a:prstGeom prst="circularArrow">
            <a:avLst>
              <a:gd name="adj1" fmla="val 12500"/>
              <a:gd name="adj2" fmla="val 1142319"/>
              <a:gd name="adj3" fmla="val 20457681"/>
              <a:gd name="adj4" fmla="val 12865930"/>
              <a:gd name="adj5" fmla="val 125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6472" y="4077072"/>
            <a:ext cx="1940104" cy="689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209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Rectangle 24"/>
          <p:cNvSpPr/>
          <p:nvPr/>
        </p:nvSpPr>
        <p:spPr>
          <a:xfrm>
            <a:off x="6576893" y="2355769"/>
            <a:ext cx="4411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cs typeface="Arial" pitchFamily="34" charset="0"/>
              </a:rPr>
              <a:t>$$</a:t>
            </a:r>
          </a:p>
        </p:txBody>
      </p:sp>
      <p:sp>
        <p:nvSpPr>
          <p:cNvPr id="33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7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2330536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 animBg="1"/>
      <p:bldP spid="20" grpId="0" animBg="1"/>
      <p:bldP spid="30" grpId="0" build="p" animBg="1"/>
      <p:bldP spid="19" grpId="0" animBg="1"/>
      <p:bldP spid="2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-108520" y="-99392"/>
            <a:ext cx="8782872" cy="819992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0E438A"/>
                </a:solidFill>
                <a:cs typeface="Arial" pitchFamily="34" charset="0"/>
              </a:rPr>
              <a:t>”E-waste solutions </a:t>
            </a:r>
            <a:r>
              <a:rPr lang="en-US" sz="3200" dirty="0">
                <a:solidFill>
                  <a:srgbClr val="0E438A"/>
                </a:solidFill>
                <a:cs typeface="Arial" pitchFamily="34" charset="0"/>
              </a:rPr>
              <a:t>Alliance for </a:t>
            </a:r>
            <a:r>
              <a:rPr lang="en-US" sz="3200" dirty="0" smtClean="0">
                <a:solidFill>
                  <a:srgbClr val="0E438A"/>
                </a:solidFill>
                <a:cs typeface="Arial" pitchFamily="34" charset="0"/>
              </a:rPr>
              <a:t>Africa”</a:t>
            </a:r>
            <a:endParaRPr lang="en-US" sz="3200" dirty="0">
              <a:solidFill>
                <a:srgbClr val="0E438A"/>
              </a:solidFill>
              <a:cs typeface="Arial" pitchFamily="34" charset="0"/>
            </a:endParaRPr>
          </a:p>
        </p:txBody>
      </p:sp>
      <p:pic>
        <p:nvPicPr>
          <p:cNvPr id="8" name="Picture 28" descr="http://www.google.co.uk/images?q=tbn:ANd9GcQXfGUXh2mOkWQNQDCkndwCPB7R38quKTAQvf50siYpub3FPavPYnoTObWG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138509" y="3652712"/>
            <a:ext cx="1769108" cy="396525"/>
          </a:xfrm>
          <a:prstGeom prst="rect">
            <a:avLst/>
          </a:prstGeom>
          <a:noFill/>
        </p:spPr>
      </p:pic>
      <p:pic>
        <p:nvPicPr>
          <p:cNvPr id="9" name="Picture 30" descr="http://www.google.co.uk/images?q=tbn:ANd9GcSfzPAZtEqgkpO_PJG-ELSS_t6kEFb_OLet-0O-PXE3mquYEFrizXx0zCVe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699792" y="4653136"/>
            <a:ext cx="1780184" cy="899462"/>
          </a:xfrm>
          <a:prstGeom prst="rect">
            <a:avLst/>
          </a:prstGeom>
          <a:noFill/>
        </p:spPr>
      </p:pic>
      <p:grpSp>
        <p:nvGrpSpPr>
          <p:cNvPr id="13" name="Group 38"/>
          <p:cNvGrpSpPr/>
          <p:nvPr/>
        </p:nvGrpSpPr>
        <p:grpSpPr>
          <a:xfrm>
            <a:off x="4788024" y="3918026"/>
            <a:ext cx="2268832" cy="1455190"/>
            <a:chOff x="4190129" y="477493"/>
            <a:chExt cx="2243958" cy="1341342"/>
          </a:xfrm>
        </p:grpSpPr>
        <p:pic>
          <p:nvPicPr>
            <p:cNvPr id="14" name="Picture 47" descr="http://www.reclaimed-appliances.co.uk/image/root/logo/height/100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48200" y="477493"/>
              <a:ext cx="990600" cy="952501"/>
            </a:xfrm>
            <a:prstGeom prst="rect">
              <a:avLst/>
            </a:prstGeom>
            <a:noFill/>
          </p:spPr>
        </p:pic>
        <p:sp>
          <p:nvSpPr>
            <p:cNvPr id="15" name="Rectangle 14"/>
            <p:cNvSpPr/>
            <p:nvPr/>
          </p:nvSpPr>
          <p:spPr>
            <a:xfrm>
              <a:off x="4190129" y="1447801"/>
              <a:ext cx="2243958" cy="3710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900" dirty="0" smtClean="0">
                  <a:latin typeface="Arial" pitchFamily="34" charset="0"/>
                  <a:cs typeface="Arial" pitchFamily="34" charset="0"/>
                </a:rPr>
                <a:t>Reclaimed Appliances (UK) Ltd </a:t>
              </a:r>
            </a:p>
            <a:p>
              <a:pPr algn="ctr"/>
              <a:r>
                <a:rPr lang="en-US" sz="900" i="1" dirty="0" smtClean="0">
                  <a:latin typeface="Arial" pitchFamily="34" charset="0"/>
                  <a:cs typeface="Arial" pitchFamily="34" charset="0"/>
                </a:rPr>
                <a:t>Leading, not following</a:t>
              </a:r>
              <a:r>
                <a:rPr lang="en-US" sz="900" dirty="0" smtClean="0">
                  <a:latin typeface="Arial" pitchFamily="34" charset="0"/>
                  <a:cs typeface="Arial" pitchFamily="34" charset="0"/>
                </a:rPr>
                <a:t> </a:t>
              </a:r>
              <a:endParaRPr lang="en-US" sz="900" dirty="0">
                <a:latin typeface="Arial" pitchFamily="34" charset="0"/>
                <a:cs typeface="Arial" pitchFamily="34" charset="0"/>
              </a:endParaRPr>
            </a:p>
          </p:txBody>
        </p:sp>
      </p:grpSp>
      <p:pic>
        <p:nvPicPr>
          <p:cNvPr id="16" name="Picture 15" descr="HP_Blue_RGB_150_LG.png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483768" y="2053187"/>
            <a:ext cx="1141849" cy="1123783"/>
          </a:xfrm>
          <a:prstGeom prst="rect">
            <a:avLst/>
          </a:prstGeom>
        </p:spPr>
      </p:pic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4478461" y="2029243"/>
            <a:ext cx="1749723" cy="13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3261093" y="6288960"/>
            <a:ext cx="2005579" cy="261610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 defTabSz="430213">
              <a:spcAft>
                <a:spcPts val="400"/>
              </a:spcAft>
              <a:buSzPct val="100000"/>
            </a:pPr>
            <a:r>
              <a:rPr lang="en-US" sz="1100" dirty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Working with and supported </a:t>
            </a:r>
            <a:r>
              <a:rPr lang="en-US" sz="1100" dirty="0" smtClean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rPr>
              <a:t>by</a:t>
            </a:r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230448" y="6191856"/>
            <a:ext cx="532381" cy="569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203987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8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1551401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/>
          <p:cNvGraphicFramePr>
            <a:graphicFrameLocks noChangeAspect="1"/>
          </p:cNvGraphicFramePr>
          <p:nvPr/>
        </p:nvGraphicFramePr>
        <p:xfrm>
          <a:off x="0" y="1"/>
          <a:ext cx="158750" cy="158751"/>
        </p:xfrm>
        <a:graphic>
          <a:graphicData uri="http://schemas.openxmlformats.org/presentationml/2006/ole">
            <p:oleObj spid="_x0000_s28683" name="think-cell Slide" r:id="rId5" imgW="360" imgH="360" progId="">
              <p:embed/>
            </p:oleObj>
          </a:graphicData>
        </a:graphic>
      </p:graphicFrame>
      <p:sp>
        <p:nvSpPr>
          <p:cNvPr id="3076" name="Text Placeholder 270"/>
          <p:cNvSpPr>
            <a:spLocks noGrp="1"/>
          </p:cNvSpPr>
          <p:nvPr>
            <p:ph type="body" sz="quarter" idx="4294967295"/>
            <p:custDataLst>
              <p:tags r:id="rId2"/>
            </p:custDataLst>
          </p:nvPr>
        </p:nvSpPr>
        <p:spPr>
          <a:xfrm>
            <a:off x="-10096" y="140263"/>
            <a:ext cx="9118600" cy="766045"/>
          </a:xfrm>
        </p:spPr>
        <p:txBody>
          <a:bodyPr lIns="0" tIns="91440" bIns="0">
            <a:noAutofit/>
          </a:bodyPr>
          <a:lstStyle/>
          <a:p>
            <a:pPr marL="0" eaLnBrk="1" hangingPunct="1">
              <a:lnSpc>
                <a:spcPct val="100000"/>
              </a:lnSpc>
              <a:spcBef>
                <a:spcPct val="0"/>
              </a:spcBef>
              <a:buFont typeface="Futura Bk" pitchFamily="34" charset="0"/>
              <a:buNone/>
            </a:pPr>
            <a:r>
              <a:rPr lang="en-US" b="1" dirty="0" smtClean="0">
                <a:latin typeface="+mj-lt"/>
                <a:cs typeface="Arial" pitchFamily="34" charset="0"/>
              </a:rPr>
              <a:t> </a:t>
            </a:r>
            <a:r>
              <a:rPr lang="en-US" b="1" dirty="0">
                <a:latin typeface="+mj-lt"/>
                <a:cs typeface="Arial" pitchFamily="34" charset="0"/>
              </a:rPr>
              <a:t>W</a:t>
            </a:r>
            <a:r>
              <a:rPr lang="en-US" b="1" dirty="0" smtClean="0">
                <a:latin typeface="+mj-lt"/>
                <a:cs typeface="Arial" pitchFamily="34" charset="0"/>
              </a:rPr>
              <a:t>here does the Alliance act together?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824853" y="1413165"/>
            <a:ext cx="5499946" cy="5086164"/>
            <a:chOff x="1660568" y="1059873"/>
            <a:chExt cx="5948689" cy="3814623"/>
          </a:xfrm>
        </p:grpSpPr>
        <p:sp>
          <p:nvSpPr>
            <p:cNvPr id="3097" name="Freeform 4"/>
            <p:cNvSpPr>
              <a:spLocks/>
            </p:cNvSpPr>
            <p:nvPr/>
          </p:nvSpPr>
          <p:spPr bwMode="auto">
            <a:xfrm>
              <a:off x="5180766" y="1622047"/>
              <a:ext cx="34527" cy="64937"/>
            </a:xfrm>
            <a:custGeom>
              <a:avLst/>
              <a:gdLst>
                <a:gd name="T0" fmla="*/ 3 w 31"/>
                <a:gd name="T1" fmla="*/ 6 h 66"/>
                <a:gd name="T2" fmla="*/ 4 w 31"/>
                <a:gd name="T3" fmla="*/ 6 h 66"/>
                <a:gd name="T4" fmla="*/ 4 w 31"/>
                <a:gd name="T5" fmla="*/ 5 h 66"/>
                <a:gd name="T6" fmla="*/ 4 w 31"/>
                <a:gd name="T7" fmla="*/ 4 h 66"/>
                <a:gd name="T8" fmla="*/ 4 w 31"/>
                <a:gd name="T9" fmla="*/ 1 h 66"/>
                <a:gd name="T10" fmla="*/ 4 w 31"/>
                <a:gd name="T11" fmla="*/ 1 h 66"/>
                <a:gd name="T12" fmla="*/ 4 w 31"/>
                <a:gd name="T13" fmla="*/ 1 h 66"/>
                <a:gd name="T14" fmla="*/ 3 w 31"/>
                <a:gd name="T15" fmla="*/ 1 h 66"/>
                <a:gd name="T16" fmla="*/ 3 w 31"/>
                <a:gd name="T17" fmla="*/ 0 h 66"/>
                <a:gd name="T18" fmla="*/ 2 w 31"/>
                <a:gd name="T19" fmla="*/ 1 h 66"/>
                <a:gd name="T20" fmla="*/ 2 w 31"/>
                <a:gd name="T21" fmla="*/ 0 h 66"/>
                <a:gd name="T22" fmla="*/ 2 w 31"/>
                <a:gd name="T23" fmla="*/ 1 h 66"/>
                <a:gd name="T24" fmla="*/ 1 w 31"/>
                <a:gd name="T25" fmla="*/ 1 h 66"/>
                <a:gd name="T26" fmla="*/ 1 w 31"/>
                <a:gd name="T27" fmla="*/ 2 h 66"/>
                <a:gd name="T28" fmla="*/ 1 w 31"/>
                <a:gd name="T29" fmla="*/ 2 h 66"/>
                <a:gd name="T30" fmla="*/ 1 w 31"/>
                <a:gd name="T31" fmla="*/ 3 h 66"/>
                <a:gd name="T32" fmla="*/ 1 w 31"/>
                <a:gd name="T33" fmla="*/ 4 h 66"/>
                <a:gd name="T34" fmla="*/ 1 w 31"/>
                <a:gd name="T35" fmla="*/ 4 h 66"/>
                <a:gd name="T36" fmla="*/ 2 w 31"/>
                <a:gd name="T37" fmla="*/ 4 h 66"/>
                <a:gd name="T38" fmla="*/ 2 w 31"/>
                <a:gd name="T39" fmla="*/ 4 h 66"/>
                <a:gd name="T40" fmla="*/ 2 w 31"/>
                <a:gd name="T41" fmla="*/ 5 h 66"/>
                <a:gd name="T42" fmla="*/ 2 w 31"/>
                <a:gd name="T43" fmla="*/ 5 h 66"/>
                <a:gd name="T44" fmla="*/ 1 w 31"/>
                <a:gd name="T45" fmla="*/ 5 h 66"/>
                <a:gd name="T46" fmla="*/ 1 w 31"/>
                <a:gd name="T47" fmla="*/ 5 h 66"/>
                <a:gd name="T48" fmla="*/ 1 w 31"/>
                <a:gd name="T49" fmla="*/ 6 h 66"/>
                <a:gd name="T50" fmla="*/ 0 w 31"/>
                <a:gd name="T51" fmla="*/ 7 h 66"/>
                <a:gd name="T52" fmla="*/ 0 w 31"/>
                <a:gd name="T53" fmla="*/ 7 h 66"/>
                <a:gd name="T54" fmla="*/ 1 w 31"/>
                <a:gd name="T55" fmla="*/ 8 h 66"/>
                <a:gd name="T56" fmla="*/ 1 w 31"/>
                <a:gd name="T57" fmla="*/ 7 h 66"/>
                <a:gd name="T58" fmla="*/ 2 w 31"/>
                <a:gd name="T59" fmla="*/ 7 h 66"/>
                <a:gd name="T60" fmla="*/ 3 w 31"/>
                <a:gd name="T61" fmla="*/ 6 h 66"/>
                <a:gd name="T62" fmla="*/ 3 w 31"/>
                <a:gd name="T63" fmla="*/ 6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66"/>
                <a:gd name="T98" fmla="*/ 31 w 31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66">
                  <a:moveTo>
                    <a:pt x="25" y="56"/>
                  </a:moveTo>
                  <a:lnTo>
                    <a:pt x="27" y="53"/>
                  </a:lnTo>
                  <a:lnTo>
                    <a:pt x="29" y="41"/>
                  </a:lnTo>
                  <a:lnTo>
                    <a:pt x="28" y="33"/>
                  </a:lnTo>
                  <a:lnTo>
                    <a:pt x="31" y="8"/>
                  </a:lnTo>
                  <a:lnTo>
                    <a:pt x="28" y="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9" y="11"/>
                  </a:lnTo>
                  <a:lnTo>
                    <a:pt x="4" y="16"/>
                  </a:lnTo>
                  <a:lnTo>
                    <a:pt x="4" y="29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13" y="37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5" y="41"/>
                  </a:lnTo>
                  <a:lnTo>
                    <a:pt x="10" y="41"/>
                  </a:lnTo>
                  <a:lnTo>
                    <a:pt x="7" y="44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14" y="62"/>
                  </a:lnTo>
                  <a:lnTo>
                    <a:pt x="22" y="56"/>
                  </a:lnTo>
                  <a:lnTo>
                    <a:pt x="25" y="5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98" name="Freeform 5"/>
            <p:cNvSpPr>
              <a:spLocks/>
            </p:cNvSpPr>
            <p:nvPr/>
          </p:nvSpPr>
          <p:spPr bwMode="auto">
            <a:xfrm>
              <a:off x="5180766" y="1622047"/>
              <a:ext cx="34527" cy="64937"/>
            </a:xfrm>
            <a:custGeom>
              <a:avLst/>
              <a:gdLst>
                <a:gd name="T0" fmla="*/ 3 w 31"/>
                <a:gd name="T1" fmla="*/ 6 h 66"/>
                <a:gd name="T2" fmla="*/ 4 w 31"/>
                <a:gd name="T3" fmla="*/ 6 h 66"/>
                <a:gd name="T4" fmla="*/ 4 w 31"/>
                <a:gd name="T5" fmla="*/ 5 h 66"/>
                <a:gd name="T6" fmla="*/ 4 w 31"/>
                <a:gd name="T7" fmla="*/ 4 h 66"/>
                <a:gd name="T8" fmla="*/ 4 w 31"/>
                <a:gd name="T9" fmla="*/ 1 h 66"/>
                <a:gd name="T10" fmla="*/ 4 w 31"/>
                <a:gd name="T11" fmla="*/ 1 h 66"/>
                <a:gd name="T12" fmla="*/ 4 w 31"/>
                <a:gd name="T13" fmla="*/ 1 h 66"/>
                <a:gd name="T14" fmla="*/ 3 w 31"/>
                <a:gd name="T15" fmla="*/ 1 h 66"/>
                <a:gd name="T16" fmla="*/ 3 w 31"/>
                <a:gd name="T17" fmla="*/ 0 h 66"/>
                <a:gd name="T18" fmla="*/ 2 w 31"/>
                <a:gd name="T19" fmla="*/ 1 h 66"/>
                <a:gd name="T20" fmla="*/ 2 w 31"/>
                <a:gd name="T21" fmla="*/ 0 h 66"/>
                <a:gd name="T22" fmla="*/ 2 w 31"/>
                <a:gd name="T23" fmla="*/ 1 h 66"/>
                <a:gd name="T24" fmla="*/ 1 w 31"/>
                <a:gd name="T25" fmla="*/ 1 h 66"/>
                <a:gd name="T26" fmla="*/ 1 w 31"/>
                <a:gd name="T27" fmla="*/ 2 h 66"/>
                <a:gd name="T28" fmla="*/ 1 w 31"/>
                <a:gd name="T29" fmla="*/ 2 h 66"/>
                <a:gd name="T30" fmla="*/ 1 w 31"/>
                <a:gd name="T31" fmla="*/ 3 h 66"/>
                <a:gd name="T32" fmla="*/ 1 w 31"/>
                <a:gd name="T33" fmla="*/ 4 h 66"/>
                <a:gd name="T34" fmla="*/ 1 w 31"/>
                <a:gd name="T35" fmla="*/ 4 h 66"/>
                <a:gd name="T36" fmla="*/ 2 w 31"/>
                <a:gd name="T37" fmla="*/ 4 h 66"/>
                <a:gd name="T38" fmla="*/ 2 w 31"/>
                <a:gd name="T39" fmla="*/ 4 h 66"/>
                <a:gd name="T40" fmla="*/ 2 w 31"/>
                <a:gd name="T41" fmla="*/ 5 h 66"/>
                <a:gd name="T42" fmla="*/ 2 w 31"/>
                <a:gd name="T43" fmla="*/ 5 h 66"/>
                <a:gd name="T44" fmla="*/ 1 w 31"/>
                <a:gd name="T45" fmla="*/ 5 h 66"/>
                <a:gd name="T46" fmla="*/ 1 w 31"/>
                <a:gd name="T47" fmla="*/ 5 h 66"/>
                <a:gd name="T48" fmla="*/ 1 w 31"/>
                <a:gd name="T49" fmla="*/ 6 h 66"/>
                <a:gd name="T50" fmla="*/ 0 w 31"/>
                <a:gd name="T51" fmla="*/ 7 h 66"/>
                <a:gd name="T52" fmla="*/ 0 w 31"/>
                <a:gd name="T53" fmla="*/ 7 h 66"/>
                <a:gd name="T54" fmla="*/ 1 w 31"/>
                <a:gd name="T55" fmla="*/ 8 h 66"/>
                <a:gd name="T56" fmla="*/ 1 w 31"/>
                <a:gd name="T57" fmla="*/ 7 h 66"/>
                <a:gd name="T58" fmla="*/ 2 w 31"/>
                <a:gd name="T59" fmla="*/ 7 h 66"/>
                <a:gd name="T60" fmla="*/ 3 w 31"/>
                <a:gd name="T61" fmla="*/ 6 h 66"/>
                <a:gd name="T62" fmla="*/ 3 w 31"/>
                <a:gd name="T63" fmla="*/ 6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1"/>
                <a:gd name="T97" fmla="*/ 0 h 66"/>
                <a:gd name="T98" fmla="*/ 31 w 31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1" h="66">
                  <a:moveTo>
                    <a:pt x="25" y="56"/>
                  </a:moveTo>
                  <a:lnTo>
                    <a:pt x="27" y="53"/>
                  </a:lnTo>
                  <a:lnTo>
                    <a:pt x="29" y="41"/>
                  </a:lnTo>
                  <a:lnTo>
                    <a:pt x="28" y="33"/>
                  </a:lnTo>
                  <a:lnTo>
                    <a:pt x="31" y="8"/>
                  </a:lnTo>
                  <a:lnTo>
                    <a:pt x="28" y="8"/>
                  </a:lnTo>
                  <a:lnTo>
                    <a:pt x="25" y="5"/>
                  </a:lnTo>
                  <a:lnTo>
                    <a:pt x="24" y="0"/>
                  </a:lnTo>
                  <a:lnTo>
                    <a:pt x="20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9" y="11"/>
                  </a:lnTo>
                  <a:lnTo>
                    <a:pt x="4" y="16"/>
                  </a:lnTo>
                  <a:lnTo>
                    <a:pt x="4" y="29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13" y="37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5" y="41"/>
                  </a:lnTo>
                  <a:lnTo>
                    <a:pt x="10" y="41"/>
                  </a:lnTo>
                  <a:lnTo>
                    <a:pt x="7" y="44"/>
                  </a:lnTo>
                  <a:lnTo>
                    <a:pt x="4" y="55"/>
                  </a:lnTo>
                  <a:lnTo>
                    <a:pt x="0" y="58"/>
                  </a:lnTo>
                  <a:lnTo>
                    <a:pt x="0" y="62"/>
                  </a:lnTo>
                  <a:lnTo>
                    <a:pt x="4" y="66"/>
                  </a:lnTo>
                  <a:lnTo>
                    <a:pt x="5" y="64"/>
                  </a:lnTo>
                  <a:lnTo>
                    <a:pt x="14" y="62"/>
                  </a:lnTo>
                  <a:lnTo>
                    <a:pt x="22" y="56"/>
                  </a:lnTo>
                  <a:lnTo>
                    <a:pt x="25" y="5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99" name="Freeform 6"/>
            <p:cNvSpPr>
              <a:spLocks/>
            </p:cNvSpPr>
            <p:nvPr/>
          </p:nvSpPr>
          <p:spPr bwMode="auto">
            <a:xfrm>
              <a:off x="5138115" y="1675852"/>
              <a:ext cx="14216" cy="22265"/>
            </a:xfrm>
            <a:custGeom>
              <a:avLst/>
              <a:gdLst>
                <a:gd name="T0" fmla="*/ 0 w 16"/>
                <a:gd name="T1" fmla="*/ 4 h 20"/>
                <a:gd name="T2" fmla="*/ 0 w 16"/>
                <a:gd name="T3" fmla="*/ 3 h 20"/>
                <a:gd name="T4" fmla="*/ 0 w 16"/>
                <a:gd name="T5" fmla="*/ 2 h 20"/>
                <a:gd name="T6" fmla="*/ 1 w 16"/>
                <a:gd name="T7" fmla="*/ 1 h 20"/>
                <a:gd name="T8" fmla="*/ 1 w 16"/>
                <a:gd name="T9" fmla="*/ 0 h 20"/>
                <a:gd name="T10" fmla="*/ 0 w 16"/>
                <a:gd name="T11" fmla="*/ 2 h 20"/>
                <a:gd name="T12" fmla="*/ 0 w 16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2" y="20"/>
                  </a:moveTo>
                  <a:lnTo>
                    <a:pt x="8" y="17"/>
                  </a:lnTo>
                  <a:lnTo>
                    <a:pt x="8" y="13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0" y="12"/>
                  </a:lnTo>
                  <a:lnTo>
                    <a:pt x="2" y="2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0" name="Freeform 7"/>
            <p:cNvSpPr>
              <a:spLocks/>
            </p:cNvSpPr>
            <p:nvPr/>
          </p:nvSpPr>
          <p:spPr bwMode="auto">
            <a:xfrm>
              <a:off x="5138115" y="1675852"/>
              <a:ext cx="14216" cy="22265"/>
            </a:xfrm>
            <a:custGeom>
              <a:avLst/>
              <a:gdLst>
                <a:gd name="T0" fmla="*/ 0 w 16"/>
                <a:gd name="T1" fmla="*/ 4 h 20"/>
                <a:gd name="T2" fmla="*/ 0 w 16"/>
                <a:gd name="T3" fmla="*/ 3 h 20"/>
                <a:gd name="T4" fmla="*/ 0 w 16"/>
                <a:gd name="T5" fmla="*/ 2 h 20"/>
                <a:gd name="T6" fmla="*/ 1 w 16"/>
                <a:gd name="T7" fmla="*/ 1 h 20"/>
                <a:gd name="T8" fmla="*/ 1 w 16"/>
                <a:gd name="T9" fmla="*/ 0 h 20"/>
                <a:gd name="T10" fmla="*/ 0 w 16"/>
                <a:gd name="T11" fmla="*/ 2 h 20"/>
                <a:gd name="T12" fmla="*/ 0 w 16"/>
                <a:gd name="T13" fmla="*/ 4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2" y="20"/>
                  </a:moveTo>
                  <a:lnTo>
                    <a:pt x="8" y="17"/>
                  </a:lnTo>
                  <a:lnTo>
                    <a:pt x="8" y="13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0" y="12"/>
                  </a:lnTo>
                  <a:lnTo>
                    <a:pt x="2" y="2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1" name="Freeform 8"/>
            <p:cNvSpPr>
              <a:spLocks/>
            </p:cNvSpPr>
            <p:nvPr/>
          </p:nvSpPr>
          <p:spPr bwMode="auto">
            <a:xfrm>
              <a:off x="4614113" y="1152641"/>
              <a:ext cx="16248" cy="12987"/>
            </a:xfrm>
            <a:custGeom>
              <a:avLst/>
              <a:gdLst>
                <a:gd name="T0" fmla="*/ 1 w 14"/>
                <a:gd name="T1" fmla="*/ 2 h 13"/>
                <a:gd name="T2" fmla="*/ 2 w 14"/>
                <a:gd name="T3" fmla="*/ 1 h 13"/>
                <a:gd name="T4" fmla="*/ 2 w 14"/>
                <a:gd name="T5" fmla="*/ 1 h 13"/>
                <a:gd name="T6" fmla="*/ 2 w 14"/>
                <a:gd name="T7" fmla="*/ 1 h 13"/>
                <a:gd name="T8" fmla="*/ 1 w 14"/>
                <a:gd name="T9" fmla="*/ 0 h 13"/>
                <a:gd name="T10" fmla="*/ 0 w 14"/>
                <a:gd name="T11" fmla="*/ 1 h 13"/>
                <a:gd name="T12" fmla="*/ 1 w 14"/>
                <a:gd name="T13" fmla="*/ 1 h 13"/>
                <a:gd name="T14" fmla="*/ 1 w 14"/>
                <a:gd name="T15" fmla="*/ 2 h 13"/>
                <a:gd name="T16" fmla="*/ 1 w 14"/>
                <a:gd name="T17" fmla="*/ 2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3"/>
                <a:gd name="T29" fmla="*/ 14 w 1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3">
                  <a:moveTo>
                    <a:pt x="9" y="12"/>
                  </a:moveTo>
                  <a:lnTo>
                    <a:pt x="14" y="10"/>
                  </a:lnTo>
                  <a:lnTo>
                    <a:pt x="12" y="8"/>
                  </a:lnTo>
                  <a:lnTo>
                    <a:pt x="11" y="1"/>
                  </a:lnTo>
                  <a:lnTo>
                    <a:pt x="7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6" y="13"/>
                  </a:lnTo>
                  <a:lnTo>
                    <a:pt x="9" y="1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2" name="Freeform 9"/>
            <p:cNvSpPr>
              <a:spLocks/>
            </p:cNvSpPr>
            <p:nvPr/>
          </p:nvSpPr>
          <p:spPr bwMode="auto">
            <a:xfrm>
              <a:off x="4614113" y="1152641"/>
              <a:ext cx="16248" cy="12987"/>
            </a:xfrm>
            <a:custGeom>
              <a:avLst/>
              <a:gdLst>
                <a:gd name="T0" fmla="*/ 1 w 14"/>
                <a:gd name="T1" fmla="*/ 2 h 13"/>
                <a:gd name="T2" fmla="*/ 2 w 14"/>
                <a:gd name="T3" fmla="*/ 1 h 13"/>
                <a:gd name="T4" fmla="*/ 2 w 14"/>
                <a:gd name="T5" fmla="*/ 1 h 13"/>
                <a:gd name="T6" fmla="*/ 2 w 14"/>
                <a:gd name="T7" fmla="*/ 1 h 13"/>
                <a:gd name="T8" fmla="*/ 1 w 14"/>
                <a:gd name="T9" fmla="*/ 0 h 13"/>
                <a:gd name="T10" fmla="*/ 0 w 14"/>
                <a:gd name="T11" fmla="*/ 1 h 13"/>
                <a:gd name="T12" fmla="*/ 1 w 14"/>
                <a:gd name="T13" fmla="*/ 1 h 13"/>
                <a:gd name="T14" fmla="*/ 1 w 14"/>
                <a:gd name="T15" fmla="*/ 2 h 13"/>
                <a:gd name="T16" fmla="*/ 1 w 14"/>
                <a:gd name="T17" fmla="*/ 2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13"/>
                <a:gd name="T29" fmla="*/ 14 w 1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13">
                  <a:moveTo>
                    <a:pt x="9" y="12"/>
                  </a:moveTo>
                  <a:lnTo>
                    <a:pt x="14" y="10"/>
                  </a:lnTo>
                  <a:lnTo>
                    <a:pt x="12" y="8"/>
                  </a:lnTo>
                  <a:lnTo>
                    <a:pt x="11" y="1"/>
                  </a:lnTo>
                  <a:lnTo>
                    <a:pt x="7" y="0"/>
                  </a:lnTo>
                  <a:lnTo>
                    <a:pt x="0" y="6"/>
                  </a:lnTo>
                  <a:lnTo>
                    <a:pt x="1" y="11"/>
                  </a:lnTo>
                  <a:lnTo>
                    <a:pt x="6" y="13"/>
                  </a:lnTo>
                  <a:lnTo>
                    <a:pt x="9" y="12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3" name="Freeform 10"/>
            <p:cNvSpPr>
              <a:spLocks/>
            </p:cNvSpPr>
            <p:nvPr/>
          </p:nvSpPr>
          <p:spPr bwMode="auto">
            <a:xfrm>
              <a:off x="4640515" y="1202736"/>
              <a:ext cx="20310" cy="11132"/>
            </a:xfrm>
            <a:custGeom>
              <a:avLst/>
              <a:gdLst>
                <a:gd name="T0" fmla="*/ 4 w 15"/>
                <a:gd name="T1" fmla="*/ 1 h 11"/>
                <a:gd name="T2" fmla="*/ 4 w 15"/>
                <a:gd name="T3" fmla="*/ 1 h 11"/>
                <a:gd name="T4" fmla="*/ 3 w 15"/>
                <a:gd name="T5" fmla="*/ 1 h 11"/>
                <a:gd name="T6" fmla="*/ 2 w 15"/>
                <a:gd name="T7" fmla="*/ 0 h 11"/>
                <a:gd name="T8" fmla="*/ 1 w 15"/>
                <a:gd name="T9" fmla="*/ 1 h 11"/>
                <a:gd name="T10" fmla="*/ 0 w 15"/>
                <a:gd name="T11" fmla="*/ 1 h 11"/>
                <a:gd name="T12" fmla="*/ 1 w 15"/>
                <a:gd name="T13" fmla="*/ 2 h 11"/>
                <a:gd name="T14" fmla="*/ 1 w 15"/>
                <a:gd name="T15" fmla="*/ 1 h 11"/>
                <a:gd name="T16" fmla="*/ 3 w 15"/>
                <a:gd name="T17" fmla="*/ 2 h 11"/>
                <a:gd name="T18" fmla="*/ 4 w 15"/>
                <a:gd name="T19" fmla="*/ 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5" y="4"/>
                  </a:moveTo>
                  <a:lnTo>
                    <a:pt x="14" y="4"/>
                  </a:lnTo>
                  <a:lnTo>
                    <a:pt x="13" y="1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8"/>
                  </a:lnTo>
                  <a:lnTo>
                    <a:pt x="11" y="11"/>
                  </a:lnTo>
                  <a:lnTo>
                    <a:pt x="15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4" name="Freeform 11"/>
            <p:cNvSpPr>
              <a:spLocks/>
            </p:cNvSpPr>
            <p:nvPr/>
          </p:nvSpPr>
          <p:spPr bwMode="auto">
            <a:xfrm>
              <a:off x="4640515" y="1202736"/>
              <a:ext cx="20310" cy="11132"/>
            </a:xfrm>
            <a:custGeom>
              <a:avLst/>
              <a:gdLst>
                <a:gd name="T0" fmla="*/ 4 w 15"/>
                <a:gd name="T1" fmla="*/ 1 h 11"/>
                <a:gd name="T2" fmla="*/ 4 w 15"/>
                <a:gd name="T3" fmla="*/ 1 h 11"/>
                <a:gd name="T4" fmla="*/ 3 w 15"/>
                <a:gd name="T5" fmla="*/ 1 h 11"/>
                <a:gd name="T6" fmla="*/ 2 w 15"/>
                <a:gd name="T7" fmla="*/ 0 h 11"/>
                <a:gd name="T8" fmla="*/ 1 w 15"/>
                <a:gd name="T9" fmla="*/ 1 h 11"/>
                <a:gd name="T10" fmla="*/ 0 w 15"/>
                <a:gd name="T11" fmla="*/ 1 h 11"/>
                <a:gd name="T12" fmla="*/ 1 w 15"/>
                <a:gd name="T13" fmla="*/ 2 h 11"/>
                <a:gd name="T14" fmla="*/ 1 w 15"/>
                <a:gd name="T15" fmla="*/ 1 h 11"/>
                <a:gd name="T16" fmla="*/ 3 w 15"/>
                <a:gd name="T17" fmla="*/ 2 h 11"/>
                <a:gd name="T18" fmla="*/ 4 w 15"/>
                <a:gd name="T19" fmla="*/ 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11"/>
                <a:gd name="T32" fmla="*/ 15 w 1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11">
                  <a:moveTo>
                    <a:pt x="15" y="4"/>
                  </a:moveTo>
                  <a:lnTo>
                    <a:pt x="14" y="4"/>
                  </a:lnTo>
                  <a:lnTo>
                    <a:pt x="13" y="1"/>
                  </a:lnTo>
                  <a:lnTo>
                    <a:pt x="8" y="0"/>
                  </a:lnTo>
                  <a:lnTo>
                    <a:pt x="2" y="2"/>
                  </a:lnTo>
                  <a:lnTo>
                    <a:pt x="0" y="9"/>
                  </a:lnTo>
                  <a:lnTo>
                    <a:pt x="3" y="11"/>
                  </a:lnTo>
                  <a:lnTo>
                    <a:pt x="5" y="8"/>
                  </a:lnTo>
                  <a:lnTo>
                    <a:pt x="11" y="11"/>
                  </a:lnTo>
                  <a:lnTo>
                    <a:pt x="15" y="4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5" name="Freeform 12"/>
            <p:cNvSpPr>
              <a:spLocks/>
            </p:cNvSpPr>
            <p:nvPr/>
          </p:nvSpPr>
          <p:spPr bwMode="auto">
            <a:xfrm>
              <a:off x="4687230" y="1234276"/>
              <a:ext cx="42651" cy="25976"/>
            </a:xfrm>
            <a:custGeom>
              <a:avLst/>
              <a:gdLst>
                <a:gd name="T0" fmla="*/ 5 w 35"/>
                <a:gd name="T1" fmla="*/ 3 h 26"/>
                <a:gd name="T2" fmla="*/ 6 w 35"/>
                <a:gd name="T3" fmla="*/ 3 h 26"/>
                <a:gd name="T4" fmla="*/ 4 w 35"/>
                <a:gd name="T5" fmla="*/ 0 h 26"/>
                <a:gd name="T6" fmla="*/ 1 w 35"/>
                <a:gd name="T7" fmla="*/ 1 h 26"/>
                <a:gd name="T8" fmla="*/ 0 w 35"/>
                <a:gd name="T9" fmla="*/ 2 h 26"/>
                <a:gd name="T10" fmla="*/ 1 w 35"/>
                <a:gd name="T11" fmla="*/ 2 h 26"/>
                <a:gd name="T12" fmla="*/ 2 w 35"/>
                <a:gd name="T13" fmla="*/ 2 h 26"/>
                <a:gd name="T14" fmla="*/ 3 w 35"/>
                <a:gd name="T15" fmla="*/ 2 h 26"/>
                <a:gd name="T16" fmla="*/ 2 w 35"/>
                <a:gd name="T17" fmla="*/ 3 h 26"/>
                <a:gd name="T18" fmla="*/ 4 w 35"/>
                <a:gd name="T19" fmla="*/ 3 h 26"/>
                <a:gd name="T20" fmla="*/ 5 w 35"/>
                <a:gd name="T21" fmla="*/ 3 h 26"/>
                <a:gd name="T22" fmla="*/ 5 w 35"/>
                <a:gd name="T23" fmla="*/ 2 h 26"/>
                <a:gd name="T24" fmla="*/ 5 w 35"/>
                <a:gd name="T25" fmla="*/ 3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26"/>
                <a:gd name="T41" fmla="*/ 35 w 35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26">
                  <a:moveTo>
                    <a:pt x="30" y="23"/>
                  </a:moveTo>
                  <a:lnTo>
                    <a:pt x="35" y="23"/>
                  </a:lnTo>
                  <a:lnTo>
                    <a:pt x="23" y="0"/>
                  </a:lnTo>
                  <a:lnTo>
                    <a:pt x="2" y="9"/>
                  </a:lnTo>
                  <a:lnTo>
                    <a:pt x="0" y="16"/>
                  </a:lnTo>
                  <a:lnTo>
                    <a:pt x="5" y="18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2" y="23"/>
                  </a:lnTo>
                  <a:lnTo>
                    <a:pt x="19" y="26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30" y="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6" name="Freeform 13"/>
            <p:cNvSpPr>
              <a:spLocks/>
            </p:cNvSpPr>
            <p:nvPr/>
          </p:nvSpPr>
          <p:spPr bwMode="auto">
            <a:xfrm>
              <a:off x="4687230" y="1234276"/>
              <a:ext cx="42651" cy="25976"/>
            </a:xfrm>
            <a:custGeom>
              <a:avLst/>
              <a:gdLst>
                <a:gd name="T0" fmla="*/ 5 w 35"/>
                <a:gd name="T1" fmla="*/ 3 h 26"/>
                <a:gd name="T2" fmla="*/ 6 w 35"/>
                <a:gd name="T3" fmla="*/ 3 h 26"/>
                <a:gd name="T4" fmla="*/ 4 w 35"/>
                <a:gd name="T5" fmla="*/ 0 h 26"/>
                <a:gd name="T6" fmla="*/ 1 w 35"/>
                <a:gd name="T7" fmla="*/ 1 h 26"/>
                <a:gd name="T8" fmla="*/ 0 w 35"/>
                <a:gd name="T9" fmla="*/ 2 h 26"/>
                <a:gd name="T10" fmla="*/ 1 w 35"/>
                <a:gd name="T11" fmla="*/ 2 h 26"/>
                <a:gd name="T12" fmla="*/ 2 w 35"/>
                <a:gd name="T13" fmla="*/ 2 h 26"/>
                <a:gd name="T14" fmla="*/ 3 w 35"/>
                <a:gd name="T15" fmla="*/ 2 h 26"/>
                <a:gd name="T16" fmla="*/ 2 w 35"/>
                <a:gd name="T17" fmla="*/ 3 h 26"/>
                <a:gd name="T18" fmla="*/ 4 w 35"/>
                <a:gd name="T19" fmla="*/ 3 h 26"/>
                <a:gd name="T20" fmla="*/ 5 w 35"/>
                <a:gd name="T21" fmla="*/ 3 h 26"/>
                <a:gd name="T22" fmla="*/ 5 w 35"/>
                <a:gd name="T23" fmla="*/ 2 h 26"/>
                <a:gd name="T24" fmla="*/ 5 w 35"/>
                <a:gd name="T25" fmla="*/ 3 h 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5"/>
                <a:gd name="T40" fmla="*/ 0 h 26"/>
                <a:gd name="T41" fmla="*/ 35 w 35"/>
                <a:gd name="T42" fmla="*/ 26 h 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5" h="26">
                  <a:moveTo>
                    <a:pt x="30" y="23"/>
                  </a:moveTo>
                  <a:lnTo>
                    <a:pt x="35" y="23"/>
                  </a:lnTo>
                  <a:lnTo>
                    <a:pt x="23" y="0"/>
                  </a:lnTo>
                  <a:lnTo>
                    <a:pt x="2" y="9"/>
                  </a:lnTo>
                  <a:lnTo>
                    <a:pt x="0" y="16"/>
                  </a:lnTo>
                  <a:lnTo>
                    <a:pt x="5" y="18"/>
                  </a:lnTo>
                  <a:lnTo>
                    <a:pt x="11" y="14"/>
                  </a:lnTo>
                  <a:lnTo>
                    <a:pt x="16" y="14"/>
                  </a:lnTo>
                  <a:lnTo>
                    <a:pt x="12" y="23"/>
                  </a:lnTo>
                  <a:lnTo>
                    <a:pt x="19" y="26"/>
                  </a:lnTo>
                  <a:lnTo>
                    <a:pt x="27" y="23"/>
                  </a:lnTo>
                  <a:lnTo>
                    <a:pt x="27" y="19"/>
                  </a:lnTo>
                  <a:lnTo>
                    <a:pt x="30" y="2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7" name="Freeform 14"/>
            <p:cNvSpPr>
              <a:spLocks/>
            </p:cNvSpPr>
            <p:nvPr/>
          </p:nvSpPr>
          <p:spPr bwMode="auto">
            <a:xfrm>
              <a:off x="4687229" y="1280661"/>
              <a:ext cx="14216" cy="25976"/>
            </a:xfrm>
            <a:custGeom>
              <a:avLst/>
              <a:gdLst>
                <a:gd name="T0" fmla="*/ 1 w 11"/>
                <a:gd name="T1" fmla="*/ 4 h 24"/>
                <a:gd name="T2" fmla="*/ 2 w 11"/>
                <a:gd name="T3" fmla="*/ 4 h 24"/>
                <a:gd name="T4" fmla="*/ 3 w 11"/>
                <a:gd name="T5" fmla="*/ 1 h 24"/>
                <a:gd name="T6" fmla="*/ 2 w 11"/>
                <a:gd name="T7" fmla="*/ 1 h 24"/>
                <a:gd name="T8" fmla="*/ 0 w 11"/>
                <a:gd name="T9" fmla="*/ 0 h 24"/>
                <a:gd name="T10" fmla="*/ 0 w 11"/>
                <a:gd name="T11" fmla="*/ 1 h 24"/>
                <a:gd name="T12" fmla="*/ 1 w 11"/>
                <a:gd name="T13" fmla="*/ 2 h 24"/>
                <a:gd name="T14" fmla="*/ 1 w 11"/>
                <a:gd name="T15" fmla="*/ 4 h 24"/>
                <a:gd name="T16" fmla="*/ 1 w 11"/>
                <a:gd name="T17" fmla="*/ 4 h 24"/>
                <a:gd name="T18" fmla="*/ 1 w 11"/>
                <a:gd name="T19" fmla="*/ 4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24"/>
                <a:gd name="T32" fmla="*/ 11 w 11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24">
                  <a:moveTo>
                    <a:pt x="4" y="24"/>
                  </a:moveTo>
                  <a:lnTo>
                    <a:pt x="9" y="20"/>
                  </a:lnTo>
                  <a:lnTo>
                    <a:pt x="11" y="5"/>
                  </a:lnTo>
                  <a:lnTo>
                    <a:pt x="9" y="1"/>
                  </a:lnTo>
                  <a:lnTo>
                    <a:pt x="0" y="0"/>
                  </a:lnTo>
                  <a:lnTo>
                    <a:pt x="0" y="8"/>
                  </a:lnTo>
                  <a:lnTo>
                    <a:pt x="5" y="14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4" y="2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8" name="Freeform 15"/>
            <p:cNvSpPr>
              <a:spLocks/>
            </p:cNvSpPr>
            <p:nvPr/>
          </p:nvSpPr>
          <p:spPr bwMode="auto">
            <a:xfrm>
              <a:off x="4687229" y="1280661"/>
              <a:ext cx="14216" cy="25976"/>
            </a:xfrm>
            <a:custGeom>
              <a:avLst/>
              <a:gdLst>
                <a:gd name="T0" fmla="*/ 1 w 11"/>
                <a:gd name="T1" fmla="*/ 4 h 24"/>
                <a:gd name="T2" fmla="*/ 2 w 11"/>
                <a:gd name="T3" fmla="*/ 4 h 24"/>
                <a:gd name="T4" fmla="*/ 3 w 11"/>
                <a:gd name="T5" fmla="*/ 1 h 24"/>
                <a:gd name="T6" fmla="*/ 2 w 11"/>
                <a:gd name="T7" fmla="*/ 1 h 24"/>
                <a:gd name="T8" fmla="*/ 0 w 11"/>
                <a:gd name="T9" fmla="*/ 0 h 24"/>
                <a:gd name="T10" fmla="*/ 0 w 11"/>
                <a:gd name="T11" fmla="*/ 1 h 24"/>
                <a:gd name="T12" fmla="*/ 1 w 11"/>
                <a:gd name="T13" fmla="*/ 2 h 24"/>
                <a:gd name="T14" fmla="*/ 1 w 11"/>
                <a:gd name="T15" fmla="*/ 4 h 24"/>
                <a:gd name="T16" fmla="*/ 1 w 11"/>
                <a:gd name="T17" fmla="*/ 4 h 24"/>
                <a:gd name="T18" fmla="*/ 1 w 11"/>
                <a:gd name="T19" fmla="*/ 4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24"/>
                <a:gd name="T32" fmla="*/ 11 w 11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24">
                  <a:moveTo>
                    <a:pt x="4" y="24"/>
                  </a:moveTo>
                  <a:lnTo>
                    <a:pt x="9" y="20"/>
                  </a:lnTo>
                  <a:lnTo>
                    <a:pt x="11" y="5"/>
                  </a:lnTo>
                  <a:lnTo>
                    <a:pt x="9" y="1"/>
                  </a:lnTo>
                  <a:lnTo>
                    <a:pt x="0" y="0"/>
                  </a:lnTo>
                  <a:lnTo>
                    <a:pt x="0" y="8"/>
                  </a:lnTo>
                  <a:lnTo>
                    <a:pt x="5" y="14"/>
                  </a:lnTo>
                  <a:lnTo>
                    <a:pt x="1" y="20"/>
                  </a:lnTo>
                  <a:lnTo>
                    <a:pt x="1" y="23"/>
                  </a:lnTo>
                  <a:lnTo>
                    <a:pt x="4" y="2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09" name="Freeform 16"/>
            <p:cNvSpPr>
              <a:spLocks/>
            </p:cNvSpPr>
            <p:nvPr/>
          </p:nvSpPr>
          <p:spPr bwMode="auto">
            <a:xfrm>
              <a:off x="4792842" y="1406826"/>
              <a:ext cx="28434" cy="29686"/>
            </a:xfrm>
            <a:custGeom>
              <a:avLst/>
              <a:gdLst>
                <a:gd name="T0" fmla="*/ 2 w 25"/>
                <a:gd name="T1" fmla="*/ 3 h 30"/>
                <a:gd name="T2" fmla="*/ 2 w 25"/>
                <a:gd name="T3" fmla="*/ 3 h 30"/>
                <a:gd name="T4" fmla="*/ 2 w 25"/>
                <a:gd name="T5" fmla="*/ 2 h 30"/>
                <a:gd name="T6" fmla="*/ 3 w 25"/>
                <a:gd name="T7" fmla="*/ 1 h 30"/>
                <a:gd name="T8" fmla="*/ 3 w 25"/>
                <a:gd name="T9" fmla="*/ 0 h 30"/>
                <a:gd name="T10" fmla="*/ 2 w 25"/>
                <a:gd name="T11" fmla="*/ 1 h 30"/>
                <a:gd name="T12" fmla="*/ 1 w 25"/>
                <a:gd name="T13" fmla="*/ 2 h 30"/>
                <a:gd name="T14" fmla="*/ 0 w 25"/>
                <a:gd name="T15" fmla="*/ 3 h 30"/>
                <a:gd name="T16" fmla="*/ 0 w 25"/>
                <a:gd name="T17" fmla="*/ 4 h 30"/>
                <a:gd name="T18" fmla="*/ 2 w 25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0"/>
                <a:gd name="T32" fmla="*/ 25 w 25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0">
                  <a:moveTo>
                    <a:pt x="16" y="22"/>
                  </a:moveTo>
                  <a:lnTo>
                    <a:pt x="19" y="21"/>
                  </a:lnTo>
                  <a:lnTo>
                    <a:pt x="20" y="16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13" y="5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6" y="2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0" name="Freeform 17"/>
            <p:cNvSpPr>
              <a:spLocks/>
            </p:cNvSpPr>
            <p:nvPr/>
          </p:nvSpPr>
          <p:spPr bwMode="auto">
            <a:xfrm>
              <a:off x="4792842" y="1406826"/>
              <a:ext cx="28434" cy="29686"/>
            </a:xfrm>
            <a:custGeom>
              <a:avLst/>
              <a:gdLst>
                <a:gd name="T0" fmla="*/ 2 w 25"/>
                <a:gd name="T1" fmla="*/ 3 h 30"/>
                <a:gd name="T2" fmla="*/ 2 w 25"/>
                <a:gd name="T3" fmla="*/ 3 h 30"/>
                <a:gd name="T4" fmla="*/ 2 w 25"/>
                <a:gd name="T5" fmla="*/ 2 h 30"/>
                <a:gd name="T6" fmla="*/ 3 w 25"/>
                <a:gd name="T7" fmla="*/ 1 h 30"/>
                <a:gd name="T8" fmla="*/ 3 w 25"/>
                <a:gd name="T9" fmla="*/ 0 h 30"/>
                <a:gd name="T10" fmla="*/ 2 w 25"/>
                <a:gd name="T11" fmla="*/ 1 h 30"/>
                <a:gd name="T12" fmla="*/ 1 w 25"/>
                <a:gd name="T13" fmla="*/ 2 h 30"/>
                <a:gd name="T14" fmla="*/ 0 w 25"/>
                <a:gd name="T15" fmla="*/ 3 h 30"/>
                <a:gd name="T16" fmla="*/ 0 w 25"/>
                <a:gd name="T17" fmla="*/ 4 h 30"/>
                <a:gd name="T18" fmla="*/ 2 w 25"/>
                <a:gd name="T19" fmla="*/ 3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0"/>
                <a:gd name="T32" fmla="*/ 25 w 25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0">
                  <a:moveTo>
                    <a:pt x="16" y="22"/>
                  </a:moveTo>
                  <a:lnTo>
                    <a:pt x="19" y="21"/>
                  </a:lnTo>
                  <a:lnTo>
                    <a:pt x="20" y="16"/>
                  </a:lnTo>
                  <a:lnTo>
                    <a:pt x="23" y="9"/>
                  </a:lnTo>
                  <a:lnTo>
                    <a:pt x="25" y="0"/>
                  </a:lnTo>
                  <a:lnTo>
                    <a:pt x="13" y="5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30"/>
                  </a:lnTo>
                  <a:lnTo>
                    <a:pt x="16" y="2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1" name="Freeform 18"/>
            <p:cNvSpPr>
              <a:spLocks/>
            </p:cNvSpPr>
            <p:nvPr/>
          </p:nvSpPr>
          <p:spPr bwMode="auto">
            <a:xfrm>
              <a:off x="4559275" y="1455064"/>
              <a:ext cx="152326" cy="38963"/>
            </a:xfrm>
            <a:custGeom>
              <a:avLst/>
              <a:gdLst>
                <a:gd name="T0" fmla="*/ 12 w 128"/>
                <a:gd name="T1" fmla="*/ 2 h 40"/>
                <a:gd name="T2" fmla="*/ 11 w 128"/>
                <a:gd name="T3" fmla="*/ 2 h 40"/>
                <a:gd name="T4" fmla="*/ 6 w 128"/>
                <a:gd name="T5" fmla="*/ 2 h 40"/>
                <a:gd name="T6" fmla="*/ 5 w 128"/>
                <a:gd name="T7" fmla="*/ 1 h 40"/>
                <a:gd name="T8" fmla="*/ 5 w 128"/>
                <a:gd name="T9" fmla="*/ 1 h 40"/>
                <a:gd name="T10" fmla="*/ 5 w 128"/>
                <a:gd name="T11" fmla="*/ 1 h 40"/>
                <a:gd name="T12" fmla="*/ 5 w 128"/>
                <a:gd name="T13" fmla="*/ 1 h 40"/>
                <a:gd name="T14" fmla="*/ 4 w 128"/>
                <a:gd name="T15" fmla="*/ 1 h 40"/>
                <a:gd name="T16" fmla="*/ 2 w 128"/>
                <a:gd name="T17" fmla="*/ 0 h 40"/>
                <a:gd name="T18" fmla="*/ 2 w 128"/>
                <a:gd name="T19" fmla="*/ 0 h 40"/>
                <a:gd name="T20" fmla="*/ 1 w 128"/>
                <a:gd name="T21" fmla="*/ 1 h 40"/>
                <a:gd name="T22" fmla="*/ 1 w 128"/>
                <a:gd name="T23" fmla="*/ 1 h 40"/>
                <a:gd name="T24" fmla="*/ 0 w 128"/>
                <a:gd name="T25" fmla="*/ 3 h 40"/>
                <a:gd name="T26" fmla="*/ 5 w 128"/>
                <a:gd name="T27" fmla="*/ 3 h 40"/>
                <a:gd name="T28" fmla="*/ 7 w 128"/>
                <a:gd name="T29" fmla="*/ 3 h 40"/>
                <a:gd name="T30" fmla="*/ 8 w 128"/>
                <a:gd name="T31" fmla="*/ 3 h 40"/>
                <a:gd name="T32" fmla="*/ 9 w 128"/>
                <a:gd name="T33" fmla="*/ 4 h 40"/>
                <a:gd name="T34" fmla="*/ 9 w 128"/>
                <a:gd name="T35" fmla="*/ 4 h 40"/>
                <a:gd name="T36" fmla="*/ 18 w 128"/>
                <a:gd name="T37" fmla="*/ 4 h 40"/>
                <a:gd name="T38" fmla="*/ 19 w 128"/>
                <a:gd name="T39" fmla="*/ 4 h 40"/>
                <a:gd name="T40" fmla="*/ 21 w 128"/>
                <a:gd name="T41" fmla="*/ 3 h 40"/>
                <a:gd name="T42" fmla="*/ 21 w 128"/>
                <a:gd name="T43" fmla="*/ 2 h 40"/>
                <a:gd name="T44" fmla="*/ 18 w 128"/>
                <a:gd name="T45" fmla="*/ 3 h 40"/>
                <a:gd name="T46" fmla="*/ 17 w 128"/>
                <a:gd name="T47" fmla="*/ 3 h 40"/>
                <a:gd name="T48" fmla="*/ 16 w 128"/>
                <a:gd name="T49" fmla="*/ 2 h 40"/>
                <a:gd name="T50" fmla="*/ 12 w 128"/>
                <a:gd name="T51" fmla="*/ 2 h 40"/>
                <a:gd name="T52" fmla="*/ 12 w 128"/>
                <a:gd name="T53" fmla="*/ 2 h 40"/>
                <a:gd name="T54" fmla="*/ 12 w 128"/>
                <a:gd name="T55" fmla="*/ 2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8"/>
                <a:gd name="T85" fmla="*/ 0 h 40"/>
                <a:gd name="T86" fmla="*/ 128 w 128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8" h="40">
                  <a:moveTo>
                    <a:pt x="71" y="13"/>
                  </a:moveTo>
                  <a:lnTo>
                    <a:pt x="64" y="11"/>
                  </a:lnTo>
                  <a:lnTo>
                    <a:pt x="39" y="15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30" y="5"/>
                  </a:lnTo>
                  <a:lnTo>
                    <a:pt x="27" y="1"/>
                  </a:lnTo>
                  <a:lnTo>
                    <a:pt x="22" y="5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6"/>
                  </a:lnTo>
                  <a:lnTo>
                    <a:pt x="4" y="5"/>
                  </a:lnTo>
                  <a:lnTo>
                    <a:pt x="0" y="23"/>
                  </a:lnTo>
                  <a:lnTo>
                    <a:pt x="30" y="22"/>
                  </a:lnTo>
                  <a:lnTo>
                    <a:pt x="43" y="25"/>
                  </a:lnTo>
                  <a:lnTo>
                    <a:pt x="48" y="30"/>
                  </a:lnTo>
                  <a:lnTo>
                    <a:pt x="55" y="32"/>
                  </a:lnTo>
                  <a:lnTo>
                    <a:pt x="59" y="40"/>
                  </a:lnTo>
                  <a:lnTo>
                    <a:pt x="112" y="33"/>
                  </a:lnTo>
                  <a:lnTo>
                    <a:pt x="120" y="37"/>
                  </a:lnTo>
                  <a:lnTo>
                    <a:pt x="128" y="24"/>
                  </a:lnTo>
                  <a:lnTo>
                    <a:pt x="126" y="20"/>
                  </a:lnTo>
                  <a:lnTo>
                    <a:pt x="111" y="25"/>
                  </a:lnTo>
                  <a:lnTo>
                    <a:pt x="104" y="23"/>
                  </a:lnTo>
                  <a:lnTo>
                    <a:pt x="100" y="17"/>
                  </a:lnTo>
                  <a:lnTo>
                    <a:pt x="76" y="17"/>
                  </a:lnTo>
                  <a:lnTo>
                    <a:pt x="71" y="16"/>
                  </a:lnTo>
                  <a:lnTo>
                    <a:pt x="71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2" name="Freeform 19"/>
            <p:cNvSpPr>
              <a:spLocks/>
            </p:cNvSpPr>
            <p:nvPr/>
          </p:nvSpPr>
          <p:spPr bwMode="auto">
            <a:xfrm>
              <a:off x="4559275" y="1455064"/>
              <a:ext cx="152326" cy="38963"/>
            </a:xfrm>
            <a:custGeom>
              <a:avLst/>
              <a:gdLst>
                <a:gd name="T0" fmla="*/ 12 w 128"/>
                <a:gd name="T1" fmla="*/ 2 h 40"/>
                <a:gd name="T2" fmla="*/ 11 w 128"/>
                <a:gd name="T3" fmla="*/ 2 h 40"/>
                <a:gd name="T4" fmla="*/ 6 w 128"/>
                <a:gd name="T5" fmla="*/ 2 h 40"/>
                <a:gd name="T6" fmla="*/ 5 w 128"/>
                <a:gd name="T7" fmla="*/ 1 h 40"/>
                <a:gd name="T8" fmla="*/ 5 w 128"/>
                <a:gd name="T9" fmla="*/ 1 h 40"/>
                <a:gd name="T10" fmla="*/ 5 w 128"/>
                <a:gd name="T11" fmla="*/ 1 h 40"/>
                <a:gd name="T12" fmla="*/ 5 w 128"/>
                <a:gd name="T13" fmla="*/ 1 h 40"/>
                <a:gd name="T14" fmla="*/ 4 w 128"/>
                <a:gd name="T15" fmla="*/ 1 h 40"/>
                <a:gd name="T16" fmla="*/ 2 w 128"/>
                <a:gd name="T17" fmla="*/ 0 h 40"/>
                <a:gd name="T18" fmla="*/ 2 w 128"/>
                <a:gd name="T19" fmla="*/ 0 h 40"/>
                <a:gd name="T20" fmla="*/ 1 w 128"/>
                <a:gd name="T21" fmla="*/ 1 h 40"/>
                <a:gd name="T22" fmla="*/ 1 w 128"/>
                <a:gd name="T23" fmla="*/ 1 h 40"/>
                <a:gd name="T24" fmla="*/ 0 w 128"/>
                <a:gd name="T25" fmla="*/ 3 h 40"/>
                <a:gd name="T26" fmla="*/ 5 w 128"/>
                <a:gd name="T27" fmla="*/ 3 h 40"/>
                <a:gd name="T28" fmla="*/ 7 w 128"/>
                <a:gd name="T29" fmla="*/ 3 h 40"/>
                <a:gd name="T30" fmla="*/ 8 w 128"/>
                <a:gd name="T31" fmla="*/ 3 h 40"/>
                <a:gd name="T32" fmla="*/ 9 w 128"/>
                <a:gd name="T33" fmla="*/ 4 h 40"/>
                <a:gd name="T34" fmla="*/ 9 w 128"/>
                <a:gd name="T35" fmla="*/ 4 h 40"/>
                <a:gd name="T36" fmla="*/ 18 w 128"/>
                <a:gd name="T37" fmla="*/ 4 h 40"/>
                <a:gd name="T38" fmla="*/ 19 w 128"/>
                <a:gd name="T39" fmla="*/ 4 h 40"/>
                <a:gd name="T40" fmla="*/ 21 w 128"/>
                <a:gd name="T41" fmla="*/ 3 h 40"/>
                <a:gd name="T42" fmla="*/ 21 w 128"/>
                <a:gd name="T43" fmla="*/ 2 h 40"/>
                <a:gd name="T44" fmla="*/ 18 w 128"/>
                <a:gd name="T45" fmla="*/ 3 h 40"/>
                <a:gd name="T46" fmla="*/ 17 w 128"/>
                <a:gd name="T47" fmla="*/ 3 h 40"/>
                <a:gd name="T48" fmla="*/ 16 w 128"/>
                <a:gd name="T49" fmla="*/ 2 h 40"/>
                <a:gd name="T50" fmla="*/ 12 w 128"/>
                <a:gd name="T51" fmla="*/ 2 h 40"/>
                <a:gd name="T52" fmla="*/ 12 w 128"/>
                <a:gd name="T53" fmla="*/ 2 h 40"/>
                <a:gd name="T54" fmla="*/ 12 w 128"/>
                <a:gd name="T55" fmla="*/ 2 h 4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8"/>
                <a:gd name="T85" fmla="*/ 0 h 40"/>
                <a:gd name="T86" fmla="*/ 128 w 128"/>
                <a:gd name="T87" fmla="*/ 40 h 4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8" h="40">
                  <a:moveTo>
                    <a:pt x="71" y="13"/>
                  </a:moveTo>
                  <a:lnTo>
                    <a:pt x="64" y="11"/>
                  </a:lnTo>
                  <a:lnTo>
                    <a:pt x="39" y="15"/>
                  </a:lnTo>
                  <a:lnTo>
                    <a:pt x="33" y="10"/>
                  </a:lnTo>
                  <a:lnTo>
                    <a:pt x="28" y="10"/>
                  </a:lnTo>
                  <a:lnTo>
                    <a:pt x="30" y="5"/>
                  </a:lnTo>
                  <a:lnTo>
                    <a:pt x="27" y="1"/>
                  </a:lnTo>
                  <a:lnTo>
                    <a:pt x="22" y="5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8" y="6"/>
                  </a:lnTo>
                  <a:lnTo>
                    <a:pt x="4" y="5"/>
                  </a:lnTo>
                  <a:lnTo>
                    <a:pt x="0" y="23"/>
                  </a:lnTo>
                  <a:lnTo>
                    <a:pt x="30" y="22"/>
                  </a:lnTo>
                  <a:lnTo>
                    <a:pt x="43" y="25"/>
                  </a:lnTo>
                  <a:lnTo>
                    <a:pt x="48" y="30"/>
                  </a:lnTo>
                  <a:lnTo>
                    <a:pt x="55" y="32"/>
                  </a:lnTo>
                  <a:lnTo>
                    <a:pt x="59" y="40"/>
                  </a:lnTo>
                  <a:lnTo>
                    <a:pt x="112" y="33"/>
                  </a:lnTo>
                  <a:lnTo>
                    <a:pt x="120" y="37"/>
                  </a:lnTo>
                  <a:lnTo>
                    <a:pt x="128" y="24"/>
                  </a:lnTo>
                  <a:lnTo>
                    <a:pt x="126" y="20"/>
                  </a:lnTo>
                  <a:lnTo>
                    <a:pt x="111" y="25"/>
                  </a:lnTo>
                  <a:lnTo>
                    <a:pt x="104" y="23"/>
                  </a:lnTo>
                  <a:lnTo>
                    <a:pt x="100" y="17"/>
                  </a:lnTo>
                  <a:lnTo>
                    <a:pt x="76" y="17"/>
                  </a:lnTo>
                  <a:lnTo>
                    <a:pt x="71" y="16"/>
                  </a:lnTo>
                  <a:lnTo>
                    <a:pt x="71" y="1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3" name="Freeform 20"/>
            <p:cNvSpPr>
              <a:spLocks/>
            </p:cNvSpPr>
            <p:nvPr/>
          </p:nvSpPr>
          <p:spPr bwMode="auto">
            <a:xfrm>
              <a:off x="4624267" y="1321479"/>
              <a:ext cx="16248" cy="16699"/>
            </a:xfrm>
            <a:custGeom>
              <a:avLst/>
              <a:gdLst>
                <a:gd name="T0" fmla="*/ 2 w 14"/>
                <a:gd name="T1" fmla="*/ 1 h 19"/>
                <a:gd name="T2" fmla="*/ 2 w 14"/>
                <a:gd name="T3" fmla="*/ 1 h 19"/>
                <a:gd name="T4" fmla="*/ 2 w 14"/>
                <a:gd name="T5" fmla="*/ 0 h 19"/>
                <a:gd name="T6" fmla="*/ 2 w 14"/>
                <a:gd name="T7" fmla="*/ 0 h 19"/>
                <a:gd name="T8" fmla="*/ 1 w 14"/>
                <a:gd name="T9" fmla="*/ 0 h 19"/>
                <a:gd name="T10" fmla="*/ 0 w 14"/>
                <a:gd name="T11" fmla="*/ 0 h 19"/>
                <a:gd name="T12" fmla="*/ 0 w 14"/>
                <a:gd name="T13" fmla="*/ 0 h 19"/>
                <a:gd name="T14" fmla="*/ 1 w 14"/>
                <a:gd name="T15" fmla="*/ 0 h 19"/>
                <a:gd name="T16" fmla="*/ 1 w 14"/>
                <a:gd name="T17" fmla="*/ 1 h 19"/>
                <a:gd name="T18" fmla="*/ 2 w 14"/>
                <a:gd name="T19" fmla="*/ 1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9"/>
                <a:gd name="T32" fmla="*/ 14 w 1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9">
                  <a:moveTo>
                    <a:pt x="10" y="19"/>
                  </a:moveTo>
                  <a:lnTo>
                    <a:pt x="14" y="16"/>
                  </a:lnTo>
                  <a:lnTo>
                    <a:pt x="14" y="10"/>
                  </a:lnTo>
                  <a:lnTo>
                    <a:pt x="13" y="6"/>
                  </a:lnTo>
                  <a:lnTo>
                    <a:pt x="6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4" y="9"/>
                  </a:lnTo>
                  <a:lnTo>
                    <a:pt x="8" y="18"/>
                  </a:lnTo>
                  <a:lnTo>
                    <a:pt x="10" y="1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4" name="Freeform 21"/>
            <p:cNvSpPr>
              <a:spLocks/>
            </p:cNvSpPr>
            <p:nvPr/>
          </p:nvSpPr>
          <p:spPr bwMode="auto">
            <a:xfrm>
              <a:off x="4624267" y="1321479"/>
              <a:ext cx="16248" cy="16699"/>
            </a:xfrm>
            <a:custGeom>
              <a:avLst/>
              <a:gdLst>
                <a:gd name="T0" fmla="*/ 2 w 14"/>
                <a:gd name="T1" fmla="*/ 1 h 19"/>
                <a:gd name="T2" fmla="*/ 2 w 14"/>
                <a:gd name="T3" fmla="*/ 1 h 19"/>
                <a:gd name="T4" fmla="*/ 2 w 14"/>
                <a:gd name="T5" fmla="*/ 0 h 19"/>
                <a:gd name="T6" fmla="*/ 2 w 14"/>
                <a:gd name="T7" fmla="*/ 0 h 19"/>
                <a:gd name="T8" fmla="*/ 1 w 14"/>
                <a:gd name="T9" fmla="*/ 0 h 19"/>
                <a:gd name="T10" fmla="*/ 0 w 14"/>
                <a:gd name="T11" fmla="*/ 0 h 19"/>
                <a:gd name="T12" fmla="*/ 0 w 14"/>
                <a:gd name="T13" fmla="*/ 0 h 19"/>
                <a:gd name="T14" fmla="*/ 1 w 14"/>
                <a:gd name="T15" fmla="*/ 0 h 19"/>
                <a:gd name="T16" fmla="*/ 1 w 14"/>
                <a:gd name="T17" fmla="*/ 1 h 19"/>
                <a:gd name="T18" fmla="*/ 2 w 14"/>
                <a:gd name="T19" fmla="*/ 1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19"/>
                <a:gd name="T32" fmla="*/ 14 w 1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19">
                  <a:moveTo>
                    <a:pt x="10" y="19"/>
                  </a:moveTo>
                  <a:lnTo>
                    <a:pt x="14" y="16"/>
                  </a:lnTo>
                  <a:lnTo>
                    <a:pt x="14" y="10"/>
                  </a:lnTo>
                  <a:lnTo>
                    <a:pt x="13" y="6"/>
                  </a:lnTo>
                  <a:lnTo>
                    <a:pt x="6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4" y="9"/>
                  </a:lnTo>
                  <a:lnTo>
                    <a:pt x="8" y="18"/>
                  </a:lnTo>
                  <a:lnTo>
                    <a:pt x="10" y="19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5" name="Freeform 22"/>
            <p:cNvSpPr>
              <a:spLocks/>
            </p:cNvSpPr>
            <p:nvPr/>
          </p:nvSpPr>
          <p:spPr bwMode="auto">
            <a:xfrm>
              <a:off x="4660826" y="1366007"/>
              <a:ext cx="12186" cy="14843"/>
            </a:xfrm>
            <a:custGeom>
              <a:avLst/>
              <a:gdLst>
                <a:gd name="T0" fmla="*/ 1 w 9"/>
                <a:gd name="T1" fmla="*/ 2 h 14"/>
                <a:gd name="T2" fmla="*/ 1 w 9"/>
                <a:gd name="T3" fmla="*/ 2 h 14"/>
                <a:gd name="T4" fmla="*/ 2 w 9"/>
                <a:gd name="T5" fmla="*/ 0 h 14"/>
                <a:gd name="T6" fmla="*/ 1 w 9"/>
                <a:gd name="T7" fmla="*/ 1 h 14"/>
                <a:gd name="T8" fmla="*/ 0 w 9"/>
                <a:gd name="T9" fmla="*/ 1 h 14"/>
                <a:gd name="T10" fmla="*/ 0 w 9"/>
                <a:gd name="T11" fmla="*/ 2 h 14"/>
                <a:gd name="T12" fmla="*/ 1 w 9"/>
                <a:gd name="T13" fmla="*/ 2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4"/>
                <a:gd name="T23" fmla="*/ 9 w 9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4">
                  <a:moveTo>
                    <a:pt x="2" y="14"/>
                  </a:moveTo>
                  <a:lnTo>
                    <a:pt x="7" y="13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3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6" name="Freeform 23"/>
            <p:cNvSpPr>
              <a:spLocks/>
            </p:cNvSpPr>
            <p:nvPr/>
          </p:nvSpPr>
          <p:spPr bwMode="auto">
            <a:xfrm>
              <a:off x="4660826" y="1366007"/>
              <a:ext cx="12186" cy="14843"/>
            </a:xfrm>
            <a:custGeom>
              <a:avLst/>
              <a:gdLst>
                <a:gd name="T0" fmla="*/ 1 w 9"/>
                <a:gd name="T1" fmla="*/ 2 h 14"/>
                <a:gd name="T2" fmla="*/ 1 w 9"/>
                <a:gd name="T3" fmla="*/ 2 h 14"/>
                <a:gd name="T4" fmla="*/ 2 w 9"/>
                <a:gd name="T5" fmla="*/ 0 h 14"/>
                <a:gd name="T6" fmla="*/ 1 w 9"/>
                <a:gd name="T7" fmla="*/ 1 h 14"/>
                <a:gd name="T8" fmla="*/ 0 w 9"/>
                <a:gd name="T9" fmla="*/ 1 h 14"/>
                <a:gd name="T10" fmla="*/ 0 w 9"/>
                <a:gd name="T11" fmla="*/ 2 h 14"/>
                <a:gd name="T12" fmla="*/ 1 w 9"/>
                <a:gd name="T13" fmla="*/ 2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4"/>
                <a:gd name="T23" fmla="*/ 9 w 9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4">
                  <a:moveTo>
                    <a:pt x="2" y="14"/>
                  </a:moveTo>
                  <a:lnTo>
                    <a:pt x="7" y="13"/>
                  </a:lnTo>
                  <a:lnTo>
                    <a:pt x="9" y="0"/>
                  </a:lnTo>
                  <a:lnTo>
                    <a:pt x="4" y="2"/>
                  </a:lnTo>
                  <a:lnTo>
                    <a:pt x="0" y="6"/>
                  </a:lnTo>
                  <a:lnTo>
                    <a:pt x="0" y="13"/>
                  </a:lnTo>
                  <a:lnTo>
                    <a:pt x="2" y="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7" name="Freeform 24"/>
            <p:cNvSpPr>
              <a:spLocks/>
            </p:cNvSpPr>
            <p:nvPr/>
          </p:nvSpPr>
          <p:spPr bwMode="auto">
            <a:xfrm>
              <a:off x="4427260" y="1301070"/>
              <a:ext cx="127953" cy="107612"/>
            </a:xfrm>
            <a:custGeom>
              <a:avLst/>
              <a:gdLst>
                <a:gd name="T0" fmla="*/ 6 w 107"/>
                <a:gd name="T1" fmla="*/ 0 h 109"/>
                <a:gd name="T2" fmla="*/ 5 w 107"/>
                <a:gd name="T3" fmla="*/ 1 h 109"/>
                <a:gd name="T4" fmla="*/ 3 w 107"/>
                <a:gd name="T5" fmla="*/ 1 h 109"/>
                <a:gd name="T6" fmla="*/ 2 w 107"/>
                <a:gd name="T7" fmla="*/ 1 h 109"/>
                <a:gd name="T8" fmla="*/ 1 w 107"/>
                <a:gd name="T9" fmla="*/ 3 h 109"/>
                <a:gd name="T10" fmla="*/ 0 w 107"/>
                <a:gd name="T11" fmla="*/ 3 h 109"/>
                <a:gd name="T12" fmla="*/ 1 w 107"/>
                <a:gd name="T13" fmla="*/ 5 h 109"/>
                <a:gd name="T14" fmla="*/ 3 w 107"/>
                <a:gd name="T15" fmla="*/ 5 h 109"/>
                <a:gd name="T16" fmla="*/ 4 w 107"/>
                <a:gd name="T17" fmla="*/ 7 h 109"/>
                <a:gd name="T18" fmla="*/ 4 w 107"/>
                <a:gd name="T19" fmla="*/ 8 h 109"/>
                <a:gd name="T20" fmla="*/ 4 w 107"/>
                <a:gd name="T21" fmla="*/ 10 h 109"/>
                <a:gd name="T22" fmla="*/ 5 w 107"/>
                <a:gd name="T23" fmla="*/ 10 h 109"/>
                <a:gd name="T24" fmla="*/ 5 w 107"/>
                <a:gd name="T25" fmla="*/ 11 h 109"/>
                <a:gd name="T26" fmla="*/ 6 w 107"/>
                <a:gd name="T27" fmla="*/ 10 h 109"/>
                <a:gd name="T28" fmla="*/ 6 w 107"/>
                <a:gd name="T29" fmla="*/ 9 h 109"/>
                <a:gd name="T30" fmla="*/ 7 w 107"/>
                <a:gd name="T31" fmla="*/ 10 h 109"/>
                <a:gd name="T32" fmla="*/ 9 w 107"/>
                <a:gd name="T33" fmla="*/ 10 h 109"/>
                <a:gd name="T34" fmla="*/ 9 w 107"/>
                <a:gd name="T35" fmla="*/ 12 h 109"/>
                <a:gd name="T36" fmla="*/ 10 w 107"/>
                <a:gd name="T37" fmla="*/ 13 h 109"/>
                <a:gd name="T38" fmla="*/ 11 w 107"/>
                <a:gd name="T39" fmla="*/ 11 h 109"/>
                <a:gd name="T40" fmla="*/ 12 w 107"/>
                <a:gd name="T41" fmla="*/ 11 h 109"/>
                <a:gd name="T42" fmla="*/ 13 w 107"/>
                <a:gd name="T43" fmla="*/ 11 h 109"/>
                <a:gd name="T44" fmla="*/ 14 w 107"/>
                <a:gd name="T45" fmla="*/ 12 h 109"/>
                <a:gd name="T46" fmla="*/ 15 w 107"/>
                <a:gd name="T47" fmla="*/ 12 h 109"/>
                <a:gd name="T48" fmla="*/ 14 w 107"/>
                <a:gd name="T49" fmla="*/ 7 h 109"/>
                <a:gd name="T50" fmla="*/ 13 w 107"/>
                <a:gd name="T51" fmla="*/ 6 h 109"/>
                <a:gd name="T52" fmla="*/ 12 w 107"/>
                <a:gd name="T53" fmla="*/ 5 h 109"/>
                <a:gd name="T54" fmla="*/ 15 w 107"/>
                <a:gd name="T55" fmla="*/ 6 h 109"/>
                <a:gd name="T56" fmla="*/ 15 w 107"/>
                <a:gd name="T57" fmla="*/ 7 h 109"/>
                <a:gd name="T58" fmla="*/ 15 w 107"/>
                <a:gd name="T59" fmla="*/ 7 h 109"/>
                <a:gd name="T60" fmla="*/ 16 w 107"/>
                <a:gd name="T61" fmla="*/ 6 h 109"/>
                <a:gd name="T62" fmla="*/ 18 w 107"/>
                <a:gd name="T63" fmla="*/ 6 h 109"/>
                <a:gd name="T64" fmla="*/ 18 w 107"/>
                <a:gd name="T65" fmla="*/ 5 h 109"/>
                <a:gd name="T66" fmla="*/ 16 w 107"/>
                <a:gd name="T67" fmla="*/ 5 h 109"/>
                <a:gd name="T68" fmla="*/ 15 w 107"/>
                <a:gd name="T69" fmla="*/ 3 h 109"/>
                <a:gd name="T70" fmla="*/ 15 w 107"/>
                <a:gd name="T71" fmla="*/ 3 h 109"/>
                <a:gd name="T72" fmla="*/ 9 w 107"/>
                <a:gd name="T73" fmla="*/ 1 h 109"/>
                <a:gd name="T74" fmla="*/ 8 w 107"/>
                <a:gd name="T75" fmla="*/ 1 h 109"/>
                <a:gd name="T76" fmla="*/ 6 w 107"/>
                <a:gd name="T77" fmla="*/ 0 h 10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7"/>
                <a:gd name="T118" fmla="*/ 0 h 109"/>
                <a:gd name="T119" fmla="*/ 107 w 107"/>
                <a:gd name="T120" fmla="*/ 109 h 10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7" h="109">
                  <a:moveTo>
                    <a:pt x="41" y="0"/>
                  </a:moveTo>
                  <a:lnTo>
                    <a:pt x="31" y="1"/>
                  </a:lnTo>
                  <a:lnTo>
                    <a:pt x="19" y="9"/>
                  </a:lnTo>
                  <a:lnTo>
                    <a:pt x="11" y="7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6" y="41"/>
                  </a:lnTo>
                  <a:lnTo>
                    <a:pt x="19" y="47"/>
                  </a:lnTo>
                  <a:lnTo>
                    <a:pt x="25" y="58"/>
                  </a:lnTo>
                  <a:lnTo>
                    <a:pt x="21" y="71"/>
                  </a:lnTo>
                  <a:lnTo>
                    <a:pt x="23" y="82"/>
                  </a:lnTo>
                  <a:lnTo>
                    <a:pt x="27" y="88"/>
                  </a:lnTo>
                  <a:lnTo>
                    <a:pt x="34" y="91"/>
                  </a:lnTo>
                  <a:lnTo>
                    <a:pt x="36" y="81"/>
                  </a:lnTo>
                  <a:lnTo>
                    <a:pt x="41" y="74"/>
                  </a:lnTo>
                  <a:lnTo>
                    <a:pt x="44" y="80"/>
                  </a:lnTo>
                  <a:lnTo>
                    <a:pt x="52" y="86"/>
                  </a:lnTo>
                  <a:lnTo>
                    <a:pt x="56" y="108"/>
                  </a:lnTo>
                  <a:lnTo>
                    <a:pt x="60" y="109"/>
                  </a:lnTo>
                  <a:lnTo>
                    <a:pt x="64" y="92"/>
                  </a:lnTo>
                  <a:lnTo>
                    <a:pt x="71" y="89"/>
                  </a:lnTo>
                  <a:lnTo>
                    <a:pt x="76" y="97"/>
                  </a:lnTo>
                  <a:lnTo>
                    <a:pt x="83" y="103"/>
                  </a:lnTo>
                  <a:lnTo>
                    <a:pt x="90" y="107"/>
                  </a:lnTo>
                  <a:lnTo>
                    <a:pt x="83" y="64"/>
                  </a:lnTo>
                  <a:lnTo>
                    <a:pt x="76" y="55"/>
                  </a:lnTo>
                  <a:lnTo>
                    <a:pt x="74" y="45"/>
                  </a:lnTo>
                  <a:lnTo>
                    <a:pt x="89" y="55"/>
                  </a:lnTo>
                  <a:lnTo>
                    <a:pt x="91" y="60"/>
                  </a:lnTo>
                  <a:lnTo>
                    <a:pt x="95" y="59"/>
                  </a:lnTo>
                  <a:lnTo>
                    <a:pt x="100" y="54"/>
                  </a:lnTo>
                  <a:lnTo>
                    <a:pt x="107" y="53"/>
                  </a:lnTo>
                  <a:lnTo>
                    <a:pt x="106" y="46"/>
                  </a:lnTo>
                  <a:lnTo>
                    <a:pt x="96" y="39"/>
                  </a:lnTo>
                  <a:lnTo>
                    <a:pt x="90" y="28"/>
                  </a:lnTo>
                  <a:lnTo>
                    <a:pt x="90" y="21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8" name="Freeform 25"/>
            <p:cNvSpPr>
              <a:spLocks/>
            </p:cNvSpPr>
            <p:nvPr/>
          </p:nvSpPr>
          <p:spPr bwMode="auto">
            <a:xfrm>
              <a:off x="4427260" y="1301070"/>
              <a:ext cx="127953" cy="107612"/>
            </a:xfrm>
            <a:custGeom>
              <a:avLst/>
              <a:gdLst>
                <a:gd name="T0" fmla="*/ 6 w 107"/>
                <a:gd name="T1" fmla="*/ 0 h 109"/>
                <a:gd name="T2" fmla="*/ 5 w 107"/>
                <a:gd name="T3" fmla="*/ 1 h 109"/>
                <a:gd name="T4" fmla="*/ 3 w 107"/>
                <a:gd name="T5" fmla="*/ 1 h 109"/>
                <a:gd name="T6" fmla="*/ 2 w 107"/>
                <a:gd name="T7" fmla="*/ 1 h 109"/>
                <a:gd name="T8" fmla="*/ 1 w 107"/>
                <a:gd name="T9" fmla="*/ 3 h 109"/>
                <a:gd name="T10" fmla="*/ 0 w 107"/>
                <a:gd name="T11" fmla="*/ 3 h 109"/>
                <a:gd name="T12" fmla="*/ 1 w 107"/>
                <a:gd name="T13" fmla="*/ 5 h 109"/>
                <a:gd name="T14" fmla="*/ 3 w 107"/>
                <a:gd name="T15" fmla="*/ 5 h 109"/>
                <a:gd name="T16" fmla="*/ 4 w 107"/>
                <a:gd name="T17" fmla="*/ 7 h 109"/>
                <a:gd name="T18" fmla="*/ 4 w 107"/>
                <a:gd name="T19" fmla="*/ 8 h 109"/>
                <a:gd name="T20" fmla="*/ 4 w 107"/>
                <a:gd name="T21" fmla="*/ 10 h 109"/>
                <a:gd name="T22" fmla="*/ 5 w 107"/>
                <a:gd name="T23" fmla="*/ 10 h 109"/>
                <a:gd name="T24" fmla="*/ 5 w 107"/>
                <a:gd name="T25" fmla="*/ 11 h 109"/>
                <a:gd name="T26" fmla="*/ 6 w 107"/>
                <a:gd name="T27" fmla="*/ 10 h 109"/>
                <a:gd name="T28" fmla="*/ 6 w 107"/>
                <a:gd name="T29" fmla="*/ 9 h 109"/>
                <a:gd name="T30" fmla="*/ 7 w 107"/>
                <a:gd name="T31" fmla="*/ 10 h 109"/>
                <a:gd name="T32" fmla="*/ 9 w 107"/>
                <a:gd name="T33" fmla="*/ 10 h 109"/>
                <a:gd name="T34" fmla="*/ 9 w 107"/>
                <a:gd name="T35" fmla="*/ 12 h 109"/>
                <a:gd name="T36" fmla="*/ 10 w 107"/>
                <a:gd name="T37" fmla="*/ 13 h 109"/>
                <a:gd name="T38" fmla="*/ 11 w 107"/>
                <a:gd name="T39" fmla="*/ 11 h 109"/>
                <a:gd name="T40" fmla="*/ 12 w 107"/>
                <a:gd name="T41" fmla="*/ 11 h 109"/>
                <a:gd name="T42" fmla="*/ 13 w 107"/>
                <a:gd name="T43" fmla="*/ 11 h 109"/>
                <a:gd name="T44" fmla="*/ 14 w 107"/>
                <a:gd name="T45" fmla="*/ 12 h 109"/>
                <a:gd name="T46" fmla="*/ 15 w 107"/>
                <a:gd name="T47" fmla="*/ 12 h 109"/>
                <a:gd name="T48" fmla="*/ 14 w 107"/>
                <a:gd name="T49" fmla="*/ 7 h 109"/>
                <a:gd name="T50" fmla="*/ 13 w 107"/>
                <a:gd name="T51" fmla="*/ 6 h 109"/>
                <a:gd name="T52" fmla="*/ 12 w 107"/>
                <a:gd name="T53" fmla="*/ 5 h 109"/>
                <a:gd name="T54" fmla="*/ 15 w 107"/>
                <a:gd name="T55" fmla="*/ 6 h 109"/>
                <a:gd name="T56" fmla="*/ 15 w 107"/>
                <a:gd name="T57" fmla="*/ 7 h 109"/>
                <a:gd name="T58" fmla="*/ 15 w 107"/>
                <a:gd name="T59" fmla="*/ 7 h 109"/>
                <a:gd name="T60" fmla="*/ 16 w 107"/>
                <a:gd name="T61" fmla="*/ 6 h 109"/>
                <a:gd name="T62" fmla="*/ 18 w 107"/>
                <a:gd name="T63" fmla="*/ 6 h 109"/>
                <a:gd name="T64" fmla="*/ 18 w 107"/>
                <a:gd name="T65" fmla="*/ 5 h 109"/>
                <a:gd name="T66" fmla="*/ 16 w 107"/>
                <a:gd name="T67" fmla="*/ 5 h 109"/>
                <a:gd name="T68" fmla="*/ 15 w 107"/>
                <a:gd name="T69" fmla="*/ 3 h 109"/>
                <a:gd name="T70" fmla="*/ 15 w 107"/>
                <a:gd name="T71" fmla="*/ 3 h 109"/>
                <a:gd name="T72" fmla="*/ 9 w 107"/>
                <a:gd name="T73" fmla="*/ 1 h 109"/>
                <a:gd name="T74" fmla="*/ 8 w 107"/>
                <a:gd name="T75" fmla="*/ 1 h 109"/>
                <a:gd name="T76" fmla="*/ 6 w 107"/>
                <a:gd name="T77" fmla="*/ 0 h 10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7"/>
                <a:gd name="T118" fmla="*/ 0 h 109"/>
                <a:gd name="T119" fmla="*/ 107 w 107"/>
                <a:gd name="T120" fmla="*/ 109 h 10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7" h="109">
                  <a:moveTo>
                    <a:pt x="41" y="0"/>
                  </a:moveTo>
                  <a:lnTo>
                    <a:pt x="31" y="1"/>
                  </a:lnTo>
                  <a:lnTo>
                    <a:pt x="19" y="9"/>
                  </a:lnTo>
                  <a:lnTo>
                    <a:pt x="11" y="7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6" y="41"/>
                  </a:lnTo>
                  <a:lnTo>
                    <a:pt x="19" y="47"/>
                  </a:lnTo>
                  <a:lnTo>
                    <a:pt x="25" y="58"/>
                  </a:lnTo>
                  <a:lnTo>
                    <a:pt x="21" y="71"/>
                  </a:lnTo>
                  <a:lnTo>
                    <a:pt x="23" y="82"/>
                  </a:lnTo>
                  <a:lnTo>
                    <a:pt x="27" y="88"/>
                  </a:lnTo>
                  <a:lnTo>
                    <a:pt x="34" y="91"/>
                  </a:lnTo>
                  <a:lnTo>
                    <a:pt x="36" y="81"/>
                  </a:lnTo>
                  <a:lnTo>
                    <a:pt x="41" y="74"/>
                  </a:lnTo>
                  <a:lnTo>
                    <a:pt x="44" y="80"/>
                  </a:lnTo>
                  <a:lnTo>
                    <a:pt x="52" y="86"/>
                  </a:lnTo>
                  <a:lnTo>
                    <a:pt x="56" y="108"/>
                  </a:lnTo>
                  <a:lnTo>
                    <a:pt x="60" y="109"/>
                  </a:lnTo>
                  <a:lnTo>
                    <a:pt x="64" y="92"/>
                  </a:lnTo>
                  <a:lnTo>
                    <a:pt x="71" y="89"/>
                  </a:lnTo>
                  <a:lnTo>
                    <a:pt x="76" y="97"/>
                  </a:lnTo>
                  <a:lnTo>
                    <a:pt x="83" y="103"/>
                  </a:lnTo>
                  <a:lnTo>
                    <a:pt x="90" y="107"/>
                  </a:lnTo>
                  <a:lnTo>
                    <a:pt x="83" y="64"/>
                  </a:lnTo>
                  <a:lnTo>
                    <a:pt x="76" y="55"/>
                  </a:lnTo>
                  <a:lnTo>
                    <a:pt x="74" y="45"/>
                  </a:lnTo>
                  <a:lnTo>
                    <a:pt x="89" y="55"/>
                  </a:lnTo>
                  <a:lnTo>
                    <a:pt x="91" y="60"/>
                  </a:lnTo>
                  <a:lnTo>
                    <a:pt x="95" y="59"/>
                  </a:lnTo>
                  <a:lnTo>
                    <a:pt x="100" y="54"/>
                  </a:lnTo>
                  <a:lnTo>
                    <a:pt x="107" y="53"/>
                  </a:lnTo>
                  <a:lnTo>
                    <a:pt x="106" y="46"/>
                  </a:lnTo>
                  <a:lnTo>
                    <a:pt x="96" y="39"/>
                  </a:lnTo>
                  <a:lnTo>
                    <a:pt x="90" y="28"/>
                  </a:lnTo>
                  <a:lnTo>
                    <a:pt x="90" y="21"/>
                  </a:lnTo>
                  <a:lnTo>
                    <a:pt x="52" y="6"/>
                  </a:lnTo>
                  <a:lnTo>
                    <a:pt x="48" y="6"/>
                  </a:lnTo>
                  <a:lnTo>
                    <a:pt x="41" y="0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19" name="Freeform 26"/>
            <p:cNvSpPr>
              <a:spLocks/>
            </p:cNvSpPr>
            <p:nvPr/>
          </p:nvSpPr>
          <p:spPr bwMode="auto">
            <a:xfrm>
              <a:off x="4384608" y="1295504"/>
              <a:ext cx="22341" cy="20409"/>
            </a:xfrm>
            <a:custGeom>
              <a:avLst/>
              <a:gdLst>
                <a:gd name="T0" fmla="*/ 3 w 19"/>
                <a:gd name="T1" fmla="*/ 3 h 19"/>
                <a:gd name="T2" fmla="*/ 3 w 19"/>
                <a:gd name="T3" fmla="*/ 2 h 19"/>
                <a:gd name="T4" fmla="*/ 2 w 19"/>
                <a:gd name="T5" fmla="*/ 1 h 19"/>
                <a:gd name="T6" fmla="*/ 2 w 19"/>
                <a:gd name="T7" fmla="*/ 0 h 19"/>
                <a:gd name="T8" fmla="*/ 0 w 19"/>
                <a:gd name="T9" fmla="*/ 1 h 19"/>
                <a:gd name="T10" fmla="*/ 1 w 19"/>
                <a:gd name="T11" fmla="*/ 3 h 19"/>
                <a:gd name="T12" fmla="*/ 2 w 19"/>
                <a:gd name="T13" fmla="*/ 3 h 19"/>
                <a:gd name="T14" fmla="*/ 3 w 19"/>
                <a:gd name="T15" fmla="*/ 3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9"/>
                <a:gd name="T26" fmla="*/ 19 w 19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9">
                  <a:moveTo>
                    <a:pt x="18" y="19"/>
                  </a:moveTo>
                  <a:lnTo>
                    <a:pt x="19" y="12"/>
                  </a:lnTo>
                  <a:lnTo>
                    <a:pt x="13" y="8"/>
                  </a:lnTo>
                  <a:lnTo>
                    <a:pt x="11" y="0"/>
                  </a:lnTo>
                  <a:lnTo>
                    <a:pt x="0" y="8"/>
                  </a:lnTo>
                  <a:lnTo>
                    <a:pt x="6" y="15"/>
                  </a:lnTo>
                  <a:lnTo>
                    <a:pt x="12" y="16"/>
                  </a:lnTo>
                  <a:lnTo>
                    <a:pt x="18" y="1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0" name="Freeform 27"/>
            <p:cNvSpPr>
              <a:spLocks/>
            </p:cNvSpPr>
            <p:nvPr/>
          </p:nvSpPr>
          <p:spPr bwMode="auto">
            <a:xfrm>
              <a:off x="4384608" y="1295504"/>
              <a:ext cx="22341" cy="20409"/>
            </a:xfrm>
            <a:custGeom>
              <a:avLst/>
              <a:gdLst>
                <a:gd name="T0" fmla="*/ 3 w 19"/>
                <a:gd name="T1" fmla="*/ 3 h 19"/>
                <a:gd name="T2" fmla="*/ 3 w 19"/>
                <a:gd name="T3" fmla="*/ 2 h 19"/>
                <a:gd name="T4" fmla="*/ 2 w 19"/>
                <a:gd name="T5" fmla="*/ 1 h 19"/>
                <a:gd name="T6" fmla="*/ 2 w 19"/>
                <a:gd name="T7" fmla="*/ 0 h 19"/>
                <a:gd name="T8" fmla="*/ 0 w 19"/>
                <a:gd name="T9" fmla="*/ 1 h 19"/>
                <a:gd name="T10" fmla="*/ 1 w 19"/>
                <a:gd name="T11" fmla="*/ 3 h 19"/>
                <a:gd name="T12" fmla="*/ 2 w 19"/>
                <a:gd name="T13" fmla="*/ 3 h 19"/>
                <a:gd name="T14" fmla="*/ 3 w 19"/>
                <a:gd name="T15" fmla="*/ 3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19"/>
                <a:gd name="T26" fmla="*/ 19 w 19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19">
                  <a:moveTo>
                    <a:pt x="18" y="19"/>
                  </a:moveTo>
                  <a:lnTo>
                    <a:pt x="19" y="12"/>
                  </a:lnTo>
                  <a:lnTo>
                    <a:pt x="13" y="8"/>
                  </a:lnTo>
                  <a:lnTo>
                    <a:pt x="11" y="0"/>
                  </a:lnTo>
                  <a:lnTo>
                    <a:pt x="0" y="8"/>
                  </a:lnTo>
                  <a:lnTo>
                    <a:pt x="6" y="15"/>
                  </a:lnTo>
                  <a:lnTo>
                    <a:pt x="12" y="16"/>
                  </a:lnTo>
                  <a:lnTo>
                    <a:pt x="18" y="19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1" name="Freeform 28"/>
            <p:cNvSpPr>
              <a:spLocks/>
            </p:cNvSpPr>
            <p:nvPr/>
          </p:nvSpPr>
          <p:spPr bwMode="auto">
            <a:xfrm>
              <a:off x="4526779" y="1260252"/>
              <a:ext cx="91395" cy="63083"/>
            </a:xfrm>
            <a:custGeom>
              <a:avLst/>
              <a:gdLst>
                <a:gd name="T0" fmla="*/ 13 w 75"/>
                <a:gd name="T1" fmla="*/ 6 h 64"/>
                <a:gd name="T2" fmla="*/ 13 w 75"/>
                <a:gd name="T3" fmla="*/ 7 h 64"/>
                <a:gd name="T4" fmla="*/ 13 w 75"/>
                <a:gd name="T5" fmla="*/ 6 h 64"/>
                <a:gd name="T6" fmla="*/ 11 w 75"/>
                <a:gd name="T7" fmla="*/ 6 h 64"/>
                <a:gd name="T8" fmla="*/ 10 w 75"/>
                <a:gd name="T9" fmla="*/ 4 h 64"/>
                <a:gd name="T10" fmla="*/ 10 w 75"/>
                <a:gd name="T11" fmla="*/ 3 h 64"/>
                <a:gd name="T12" fmla="*/ 9 w 75"/>
                <a:gd name="T13" fmla="*/ 3 h 64"/>
                <a:gd name="T14" fmla="*/ 7 w 75"/>
                <a:gd name="T15" fmla="*/ 3 h 64"/>
                <a:gd name="T16" fmla="*/ 6 w 75"/>
                <a:gd name="T17" fmla="*/ 2 h 64"/>
                <a:gd name="T18" fmla="*/ 3 w 75"/>
                <a:gd name="T19" fmla="*/ 1 h 64"/>
                <a:gd name="T20" fmla="*/ 3 w 75"/>
                <a:gd name="T21" fmla="*/ 0 h 64"/>
                <a:gd name="T22" fmla="*/ 2 w 75"/>
                <a:gd name="T23" fmla="*/ 0 h 64"/>
                <a:gd name="T24" fmla="*/ 0 w 75"/>
                <a:gd name="T25" fmla="*/ 2 h 64"/>
                <a:gd name="T26" fmla="*/ 1 w 75"/>
                <a:gd name="T27" fmla="*/ 2 h 64"/>
                <a:gd name="T28" fmla="*/ 5 w 75"/>
                <a:gd name="T29" fmla="*/ 3 h 64"/>
                <a:gd name="T30" fmla="*/ 5 w 75"/>
                <a:gd name="T31" fmla="*/ 4 h 64"/>
                <a:gd name="T32" fmla="*/ 6 w 75"/>
                <a:gd name="T33" fmla="*/ 4 h 64"/>
                <a:gd name="T34" fmla="*/ 8 w 75"/>
                <a:gd name="T35" fmla="*/ 5 h 64"/>
                <a:gd name="T36" fmla="*/ 10 w 75"/>
                <a:gd name="T37" fmla="*/ 5 h 64"/>
                <a:gd name="T38" fmla="*/ 10 w 75"/>
                <a:gd name="T39" fmla="*/ 6 h 64"/>
                <a:gd name="T40" fmla="*/ 10 w 75"/>
                <a:gd name="T41" fmla="*/ 7 h 64"/>
                <a:gd name="T42" fmla="*/ 11 w 75"/>
                <a:gd name="T43" fmla="*/ 7 h 64"/>
                <a:gd name="T44" fmla="*/ 13 w 75"/>
                <a:gd name="T45" fmla="*/ 7 h 64"/>
                <a:gd name="T46" fmla="*/ 13 w 75"/>
                <a:gd name="T47" fmla="*/ 6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64"/>
                <a:gd name="T74" fmla="*/ 75 w 75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64">
                  <a:moveTo>
                    <a:pt x="73" y="55"/>
                  </a:moveTo>
                  <a:lnTo>
                    <a:pt x="75" y="58"/>
                  </a:lnTo>
                  <a:lnTo>
                    <a:pt x="74" y="51"/>
                  </a:lnTo>
                  <a:lnTo>
                    <a:pt x="62" y="47"/>
                  </a:lnTo>
                  <a:lnTo>
                    <a:pt x="56" y="35"/>
                  </a:lnTo>
                  <a:lnTo>
                    <a:pt x="56" y="27"/>
                  </a:lnTo>
                  <a:lnTo>
                    <a:pt x="51" y="22"/>
                  </a:lnTo>
                  <a:lnTo>
                    <a:pt x="39" y="20"/>
                  </a:lnTo>
                  <a:lnTo>
                    <a:pt x="31" y="16"/>
                  </a:lnTo>
                  <a:lnTo>
                    <a:pt x="17" y="4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5" y="26"/>
                  </a:lnTo>
                  <a:lnTo>
                    <a:pt x="27" y="33"/>
                  </a:lnTo>
                  <a:lnTo>
                    <a:pt x="34" y="37"/>
                  </a:lnTo>
                  <a:lnTo>
                    <a:pt x="44" y="38"/>
                  </a:lnTo>
                  <a:lnTo>
                    <a:pt x="52" y="45"/>
                  </a:lnTo>
                  <a:lnTo>
                    <a:pt x="55" y="50"/>
                  </a:lnTo>
                  <a:lnTo>
                    <a:pt x="57" y="57"/>
                  </a:lnTo>
                  <a:lnTo>
                    <a:pt x="63" y="61"/>
                  </a:lnTo>
                  <a:lnTo>
                    <a:pt x="73" y="64"/>
                  </a:lnTo>
                  <a:lnTo>
                    <a:pt x="73" y="5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2" name="Freeform 29"/>
            <p:cNvSpPr>
              <a:spLocks/>
            </p:cNvSpPr>
            <p:nvPr/>
          </p:nvSpPr>
          <p:spPr bwMode="auto">
            <a:xfrm>
              <a:off x="4526779" y="1260252"/>
              <a:ext cx="91395" cy="63083"/>
            </a:xfrm>
            <a:custGeom>
              <a:avLst/>
              <a:gdLst>
                <a:gd name="T0" fmla="*/ 13 w 75"/>
                <a:gd name="T1" fmla="*/ 6 h 64"/>
                <a:gd name="T2" fmla="*/ 13 w 75"/>
                <a:gd name="T3" fmla="*/ 7 h 64"/>
                <a:gd name="T4" fmla="*/ 13 w 75"/>
                <a:gd name="T5" fmla="*/ 6 h 64"/>
                <a:gd name="T6" fmla="*/ 11 w 75"/>
                <a:gd name="T7" fmla="*/ 6 h 64"/>
                <a:gd name="T8" fmla="*/ 10 w 75"/>
                <a:gd name="T9" fmla="*/ 4 h 64"/>
                <a:gd name="T10" fmla="*/ 10 w 75"/>
                <a:gd name="T11" fmla="*/ 3 h 64"/>
                <a:gd name="T12" fmla="*/ 9 w 75"/>
                <a:gd name="T13" fmla="*/ 3 h 64"/>
                <a:gd name="T14" fmla="*/ 7 w 75"/>
                <a:gd name="T15" fmla="*/ 3 h 64"/>
                <a:gd name="T16" fmla="*/ 6 w 75"/>
                <a:gd name="T17" fmla="*/ 2 h 64"/>
                <a:gd name="T18" fmla="*/ 3 w 75"/>
                <a:gd name="T19" fmla="*/ 1 h 64"/>
                <a:gd name="T20" fmla="*/ 3 w 75"/>
                <a:gd name="T21" fmla="*/ 0 h 64"/>
                <a:gd name="T22" fmla="*/ 2 w 75"/>
                <a:gd name="T23" fmla="*/ 0 h 64"/>
                <a:gd name="T24" fmla="*/ 0 w 75"/>
                <a:gd name="T25" fmla="*/ 2 h 64"/>
                <a:gd name="T26" fmla="*/ 1 w 75"/>
                <a:gd name="T27" fmla="*/ 2 h 64"/>
                <a:gd name="T28" fmla="*/ 5 w 75"/>
                <a:gd name="T29" fmla="*/ 3 h 64"/>
                <a:gd name="T30" fmla="*/ 5 w 75"/>
                <a:gd name="T31" fmla="*/ 4 h 64"/>
                <a:gd name="T32" fmla="*/ 6 w 75"/>
                <a:gd name="T33" fmla="*/ 4 h 64"/>
                <a:gd name="T34" fmla="*/ 8 w 75"/>
                <a:gd name="T35" fmla="*/ 5 h 64"/>
                <a:gd name="T36" fmla="*/ 10 w 75"/>
                <a:gd name="T37" fmla="*/ 5 h 64"/>
                <a:gd name="T38" fmla="*/ 10 w 75"/>
                <a:gd name="T39" fmla="*/ 6 h 64"/>
                <a:gd name="T40" fmla="*/ 10 w 75"/>
                <a:gd name="T41" fmla="*/ 7 h 64"/>
                <a:gd name="T42" fmla="*/ 11 w 75"/>
                <a:gd name="T43" fmla="*/ 7 h 64"/>
                <a:gd name="T44" fmla="*/ 13 w 75"/>
                <a:gd name="T45" fmla="*/ 7 h 64"/>
                <a:gd name="T46" fmla="*/ 13 w 75"/>
                <a:gd name="T47" fmla="*/ 6 h 6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5"/>
                <a:gd name="T73" fmla="*/ 0 h 64"/>
                <a:gd name="T74" fmla="*/ 75 w 75"/>
                <a:gd name="T75" fmla="*/ 64 h 6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5" h="64">
                  <a:moveTo>
                    <a:pt x="73" y="55"/>
                  </a:moveTo>
                  <a:lnTo>
                    <a:pt x="75" y="58"/>
                  </a:lnTo>
                  <a:lnTo>
                    <a:pt x="74" y="51"/>
                  </a:lnTo>
                  <a:lnTo>
                    <a:pt x="62" y="47"/>
                  </a:lnTo>
                  <a:lnTo>
                    <a:pt x="56" y="35"/>
                  </a:lnTo>
                  <a:lnTo>
                    <a:pt x="56" y="27"/>
                  </a:lnTo>
                  <a:lnTo>
                    <a:pt x="51" y="22"/>
                  </a:lnTo>
                  <a:lnTo>
                    <a:pt x="39" y="20"/>
                  </a:lnTo>
                  <a:lnTo>
                    <a:pt x="31" y="16"/>
                  </a:lnTo>
                  <a:lnTo>
                    <a:pt x="17" y="4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8" y="11"/>
                  </a:lnTo>
                  <a:lnTo>
                    <a:pt x="25" y="26"/>
                  </a:lnTo>
                  <a:lnTo>
                    <a:pt x="27" y="33"/>
                  </a:lnTo>
                  <a:lnTo>
                    <a:pt x="34" y="37"/>
                  </a:lnTo>
                  <a:lnTo>
                    <a:pt x="44" y="38"/>
                  </a:lnTo>
                  <a:lnTo>
                    <a:pt x="52" y="45"/>
                  </a:lnTo>
                  <a:lnTo>
                    <a:pt x="55" y="50"/>
                  </a:lnTo>
                  <a:lnTo>
                    <a:pt x="57" y="57"/>
                  </a:lnTo>
                  <a:lnTo>
                    <a:pt x="63" y="61"/>
                  </a:lnTo>
                  <a:lnTo>
                    <a:pt x="73" y="64"/>
                  </a:lnTo>
                  <a:lnTo>
                    <a:pt x="73" y="55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3" name="Freeform 30"/>
            <p:cNvSpPr>
              <a:spLocks/>
            </p:cNvSpPr>
            <p:nvPr/>
          </p:nvSpPr>
          <p:spPr bwMode="auto">
            <a:xfrm>
              <a:off x="4346019" y="1215722"/>
              <a:ext cx="24372" cy="20409"/>
            </a:xfrm>
            <a:custGeom>
              <a:avLst/>
              <a:gdLst>
                <a:gd name="T0" fmla="*/ 4 w 19"/>
                <a:gd name="T1" fmla="*/ 1 h 24"/>
                <a:gd name="T2" fmla="*/ 4 w 19"/>
                <a:gd name="T3" fmla="*/ 1 h 24"/>
                <a:gd name="T4" fmla="*/ 3 w 19"/>
                <a:gd name="T5" fmla="*/ 0 h 24"/>
                <a:gd name="T6" fmla="*/ 1 w 19"/>
                <a:gd name="T7" fmla="*/ 0 h 24"/>
                <a:gd name="T8" fmla="*/ 0 w 19"/>
                <a:gd name="T9" fmla="*/ 0 h 24"/>
                <a:gd name="T10" fmla="*/ 2 w 19"/>
                <a:gd name="T11" fmla="*/ 1 h 24"/>
                <a:gd name="T12" fmla="*/ 3 w 19"/>
                <a:gd name="T13" fmla="*/ 1 h 24"/>
                <a:gd name="T14" fmla="*/ 4 w 19"/>
                <a:gd name="T15" fmla="*/ 1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4"/>
                <a:gd name="T26" fmla="*/ 19 w 1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4">
                  <a:moveTo>
                    <a:pt x="18" y="23"/>
                  </a:moveTo>
                  <a:lnTo>
                    <a:pt x="19" y="20"/>
                  </a:lnTo>
                  <a:lnTo>
                    <a:pt x="10" y="4"/>
                  </a:lnTo>
                  <a:lnTo>
                    <a:pt x="5" y="0"/>
                  </a:lnTo>
                  <a:lnTo>
                    <a:pt x="0" y="2"/>
                  </a:lnTo>
                  <a:lnTo>
                    <a:pt x="7" y="18"/>
                  </a:lnTo>
                  <a:lnTo>
                    <a:pt x="12" y="24"/>
                  </a:lnTo>
                  <a:lnTo>
                    <a:pt x="18" y="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4" name="Freeform 31"/>
            <p:cNvSpPr>
              <a:spLocks/>
            </p:cNvSpPr>
            <p:nvPr/>
          </p:nvSpPr>
          <p:spPr bwMode="auto">
            <a:xfrm>
              <a:off x="4346019" y="1215722"/>
              <a:ext cx="24372" cy="20409"/>
            </a:xfrm>
            <a:custGeom>
              <a:avLst/>
              <a:gdLst>
                <a:gd name="T0" fmla="*/ 4 w 19"/>
                <a:gd name="T1" fmla="*/ 1 h 24"/>
                <a:gd name="T2" fmla="*/ 4 w 19"/>
                <a:gd name="T3" fmla="*/ 1 h 24"/>
                <a:gd name="T4" fmla="*/ 3 w 19"/>
                <a:gd name="T5" fmla="*/ 0 h 24"/>
                <a:gd name="T6" fmla="*/ 1 w 19"/>
                <a:gd name="T7" fmla="*/ 0 h 24"/>
                <a:gd name="T8" fmla="*/ 0 w 19"/>
                <a:gd name="T9" fmla="*/ 0 h 24"/>
                <a:gd name="T10" fmla="*/ 2 w 19"/>
                <a:gd name="T11" fmla="*/ 1 h 24"/>
                <a:gd name="T12" fmla="*/ 3 w 19"/>
                <a:gd name="T13" fmla="*/ 1 h 24"/>
                <a:gd name="T14" fmla="*/ 4 w 19"/>
                <a:gd name="T15" fmla="*/ 1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24"/>
                <a:gd name="T26" fmla="*/ 19 w 19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24">
                  <a:moveTo>
                    <a:pt x="18" y="23"/>
                  </a:moveTo>
                  <a:lnTo>
                    <a:pt x="19" y="20"/>
                  </a:lnTo>
                  <a:lnTo>
                    <a:pt x="10" y="4"/>
                  </a:lnTo>
                  <a:lnTo>
                    <a:pt x="5" y="0"/>
                  </a:lnTo>
                  <a:lnTo>
                    <a:pt x="0" y="2"/>
                  </a:lnTo>
                  <a:lnTo>
                    <a:pt x="7" y="18"/>
                  </a:lnTo>
                  <a:lnTo>
                    <a:pt x="12" y="24"/>
                  </a:lnTo>
                  <a:lnTo>
                    <a:pt x="18" y="2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5" name="Freeform 32"/>
            <p:cNvSpPr>
              <a:spLocks/>
            </p:cNvSpPr>
            <p:nvPr/>
          </p:nvSpPr>
          <p:spPr bwMode="auto">
            <a:xfrm>
              <a:off x="6301887" y="1918905"/>
              <a:ext cx="48744" cy="18554"/>
            </a:xfrm>
            <a:custGeom>
              <a:avLst/>
              <a:gdLst>
                <a:gd name="T0" fmla="*/ 6 w 42"/>
                <a:gd name="T1" fmla="*/ 0 h 22"/>
                <a:gd name="T2" fmla="*/ 6 w 42"/>
                <a:gd name="T3" fmla="*/ 0 h 22"/>
                <a:gd name="T4" fmla="*/ 3 w 42"/>
                <a:gd name="T5" fmla="*/ 0 h 22"/>
                <a:gd name="T6" fmla="*/ 3 w 42"/>
                <a:gd name="T7" fmla="*/ 0 h 22"/>
                <a:gd name="T8" fmla="*/ 0 w 42"/>
                <a:gd name="T9" fmla="*/ 1 h 22"/>
                <a:gd name="T10" fmla="*/ 1 w 42"/>
                <a:gd name="T11" fmla="*/ 1 h 22"/>
                <a:gd name="T12" fmla="*/ 3 w 42"/>
                <a:gd name="T13" fmla="*/ 1 h 22"/>
                <a:gd name="T14" fmla="*/ 6 w 42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22"/>
                <a:gd name="T26" fmla="*/ 42 w 42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22">
                  <a:moveTo>
                    <a:pt x="42" y="1"/>
                  </a:moveTo>
                  <a:lnTo>
                    <a:pt x="38" y="0"/>
                  </a:lnTo>
                  <a:lnTo>
                    <a:pt x="23" y="1"/>
                  </a:lnTo>
                  <a:lnTo>
                    <a:pt x="19" y="8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3" y="16"/>
                  </a:lnTo>
                  <a:lnTo>
                    <a:pt x="42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6" name="Freeform 33"/>
            <p:cNvSpPr>
              <a:spLocks/>
            </p:cNvSpPr>
            <p:nvPr/>
          </p:nvSpPr>
          <p:spPr bwMode="auto">
            <a:xfrm>
              <a:off x="6301887" y="1918905"/>
              <a:ext cx="48744" cy="18554"/>
            </a:xfrm>
            <a:custGeom>
              <a:avLst/>
              <a:gdLst>
                <a:gd name="T0" fmla="*/ 6 w 42"/>
                <a:gd name="T1" fmla="*/ 0 h 22"/>
                <a:gd name="T2" fmla="*/ 6 w 42"/>
                <a:gd name="T3" fmla="*/ 0 h 22"/>
                <a:gd name="T4" fmla="*/ 3 w 42"/>
                <a:gd name="T5" fmla="*/ 0 h 22"/>
                <a:gd name="T6" fmla="*/ 3 w 42"/>
                <a:gd name="T7" fmla="*/ 0 h 22"/>
                <a:gd name="T8" fmla="*/ 0 w 42"/>
                <a:gd name="T9" fmla="*/ 1 h 22"/>
                <a:gd name="T10" fmla="*/ 1 w 42"/>
                <a:gd name="T11" fmla="*/ 1 h 22"/>
                <a:gd name="T12" fmla="*/ 3 w 42"/>
                <a:gd name="T13" fmla="*/ 1 h 22"/>
                <a:gd name="T14" fmla="*/ 6 w 42"/>
                <a:gd name="T15" fmla="*/ 0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22"/>
                <a:gd name="T26" fmla="*/ 42 w 42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22">
                  <a:moveTo>
                    <a:pt x="42" y="1"/>
                  </a:moveTo>
                  <a:lnTo>
                    <a:pt x="38" y="0"/>
                  </a:lnTo>
                  <a:lnTo>
                    <a:pt x="23" y="1"/>
                  </a:lnTo>
                  <a:lnTo>
                    <a:pt x="19" y="8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3" y="16"/>
                  </a:lnTo>
                  <a:lnTo>
                    <a:pt x="42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7" name="Freeform 34"/>
            <p:cNvSpPr>
              <a:spLocks/>
            </p:cNvSpPr>
            <p:nvPr/>
          </p:nvSpPr>
          <p:spPr bwMode="auto">
            <a:xfrm>
              <a:off x="6484679" y="2226895"/>
              <a:ext cx="16248" cy="22265"/>
            </a:xfrm>
            <a:custGeom>
              <a:avLst/>
              <a:gdLst>
                <a:gd name="T0" fmla="*/ 1 w 15"/>
                <a:gd name="T1" fmla="*/ 3 h 21"/>
                <a:gd name="T2" fmla="*/ 1 w 15"/>
                <a:gd name="T3" fmla="*/ 3 h 21"/>
                <a:gd name="T4" fmla="*/ 1 w 15"/>
                <a:gd name="T5" fmla="*/ 3 h 21"/>
                <a:gd name="T6" fmla="*/ 1 w 15"/>
                <a:gd name="T7" fmla="*/ 3 h 21"/>
                <a:gd name="T8" fmla="*/ 1 w 15"/>
                <a:gd name="T9" fmla="*/ 2 h 21"/>
                <a:gd name="T10" fmla="*/ 1 w 15"/>
                <a:gd name="T11" fmla="*/ 2 h 21"/>
                <a:gd name="T12" fmla="*/ 2 w 15"/>
                <a:gd name="T13" fmla="*/ 1 h 21"/>
                <a:gd name="T14" fmla="*/ 2 w 15"/>
                <a:gd name="T15" fmla="*/ 1 h 21"/>
                <a:gd name="T16" fmla="*/ 2 w 15"/>
                <a:gd name="T17" fmla="*/ 1 h 21"/>
                <a:gd name="T18" fmla="*/ 2 w 15"/>
                <a:gd name="T19" fmla="*/ 1 h 21"/>
                <a:gd name="T20" fmla="*/ 2 w 15"/>
                <a:gd name="T21" fmla="*/ 0 h 21"/>
                <a:gd name="T22" fmla="*/ 1 w 15"/>
                <a:gd name="T23" fmla="*/ 1 h 21"/>
                <a:gd name="T24" fmla="*/ 1 w 15"/>
                <a:gd name="T25" fmla="*/ 2 h 21"/>
                <a:gd name="T26" fmla="*/ 1 w 15"/>
                <a:gd name="T27" fmla="*/ 2 h 21"/>
                <a:gd name="T28" fmla="*/ 1 w 15"/>
                <a:gd name="T29" fmla="*/ 2 h 21"/>
                <a:gd name="T30" fmla="*/ 0 w 15"/>
                <a:gd name="T31" fmla="*/ 3 h 21"/>
                <a:gd name="T32" fmla="*/ 1 w 15"/>
                <a:gd name="T33" fmla="*/ 3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21"/>
                <a:gd name="T53" fmla="*/ 15 w 15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21">
                  <a:moveTo>
                    <a:pt x="1" y="21"/>
                  </a:moveTo>
                  <a:lnTo>
                    <a:pt x="2" y="20"/>
                  </a:lnTo>
                  <a:lnTo>
                    <a:pt x="4" y="19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5"/>
                  </a:lnTo>
                  <a:lnTo>
                    <a:pt x="15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9"/>
                  </a:lnTo>
                  <a:lnTo>
                    <a:pt x="1" y="2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8" name="Freeform 35"/>
            <p:cNvSpPr>
              <a:spLocks/>
            </p:cNvSpPr>
            <p:nvPr/>
          </p:nvSpPr>
          <p:spPr bwMode="auto">
            <a:xfrm>
              <a:off x="6484679" y="2226895"/>
              <a:ext cx="16248" cy="22265"/>
            </a:xfrm>
            <a:custGeom>
              <a:avLst/>
              <a:gdLst>
                <a:gd name="T0" fmla="*/ 1 w 15"/>
                <a:gd name="T1" fmla="*/ 3 h 21"/>
                <a:gd name="T2" fmla="*/ 1 w 15"/>
                <a:gd name="T3" fmla="*/ 3 h 21"/>
                <a:gd name="T4" fmla="*/ 1 w 15"/>
                <a:gd name="T5" fmla="*/ 3 h 21"/>
                <a:gd name="T6" fmla="*/ 1 w 15"/>
                <a:gd name="T7" fmla="*/ 3 h 21"/>
                <a:gd name="T8" fmla="*/ 1 w 15"/>
                <a:gd name="T9" fmla="*/ 2 h 21"/>
                <a:gd name="T10" fmla="*/ 1 w 15"/>
                <a:gd name="T11" fmla="*/ 2 h 21"/>
                <a:gd name="T12" fmla="*/ 2 w 15"/>
                <a:gd name="T13" fmla="*/ 1 h 21"/>
                <a:gd name="T14" fmla="*/ 2 w 15"/>
                <a:gd name="T15" fmla="*/ 1 h 21"/>
                <a:gd name="T16" fmla="*/ 2 w 15"/>
                <a:gd name="T17" fmla="*/ 1 h 21"/>
                <a:gd name="T18" fmla="*/ 2 w 15"/>
                <a:gd name="T19" fmla="*/ 1 h 21"/>
                <a:gd name="T20" fmla="*/ 2 w 15"/>
                <a:gd name="T21" fmla="*/ 0 h 21"/>
                <a:gd name="T22" fmla="*/ 1 w 15"/>
                <a:gd name="T23" fmla="*/ 1 h 21"/>
                <a:gd name="T24" fmla="*/ 1 w 15"/>
                <a:gd name="T25" fmla="*/ 2 h 21"/>
                <a:gd name="T26" fmla="*/ 1 w 15"/>
                <a:gd name="T27" fmla="*/ 2 h 21"/>
                <a:gd name="T28" fmla="*/ 1 w 15"/>
                <a:gd name="T29" fmla="*/ 2 h 21"/>
                <a:gd name="T30" fmla="*/ 0 w 15"/>
                <a:gd name="T31" fmla="*/ 3 h 21"/>
                <a:gd name="T32" fmla="*/ 1 w 15"/>
                <a:gd name="T33" fmla="*/ 3 h 2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21"/>
                <a:gd name="T53" fmla="*/ 15 w 15"/>
                <a:gd name="T54" fmla="*/ 21 h 2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21">
                  <a:moveTo>
                    <a:pt x="1" y="21"/>
                  </a:moveTo>
                  <a:lnTo>
                    <a:pt x="2" y="20"/>
                  </a:lnTo>
                  <a:lnTo>
                    <a:pt x="4" y="19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15" y="7"/>
                  </a:lnTo>
                  <a:lnTo>
                    <a:pt x="15" y="5"/>
                  </a:lnTo>
                  <a:lnTo>
                    <a:pt x="13" y="5"/>
                  </a:lnTo>
                  <a:lnTo>
                    <a:pt x="15" y="1"/>
                  </a:lnTo>
                  <a:lnTo>
                    <a:pt x="14" y="0"/>
                  </a:lnTo>
                  <a:lnTo>
                    <a:pt x="11" y="1"/>
                  </a:lnTo>
                  <a:lnTo>
                    <a:pt x="6" y="10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9"/>
                  </a:lnTo>
                  <a:lnTo>
                    <a:pt x="1" y="2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29" name="Freeform 36"/>
            <p:cNvSpPr>
              <a:spLocks/>
            </p:cNvSpPr>
            <p:nvPr/>
          </p:nvSpPr>
          <p:spPr bwMode="auto">
            <a:xfrm>
              <a:off x="5641807" y="3705618"/>
              <a:ext cx="14216" cy="27831"/>
            </a:xfrm>
            <a:custGeom>
              <a:avLst/>
              <a:gdLst>
                <a:gd name="T0" fmla="*/ 1 w 13"/>
                <a:gd name="T1" fmla="*/ 1 h 28"/>
                <a:gd name="T2" fmla="*/ 1 w 13"/>
                <a:gd name="T3" fmla="*/ 1 h 28"/>
                <a:gd name="T4" fmla="*/ 1 w 13"/>
                <a:gd name="T5" fmla="*/ 2 h 28"/>
                <a:gd name="T6" fmla="*/ 2 w 13"/>
                <a:gd name="T7" fmla="*/ 3 h 28"/>
                <a:gd name="T8" fmla="*/ 2 w 13"/>
                <a:gd name="T9" fmla="*/ 3 h 28"/>
                <a:gd name="T10" fmla="*/ 1 w 13"/>
                <a:gd name="T11" fmla="*/ 3 h 28"/>
                <a:gd name="T12" fmla="*/ 1 w 13"/>
                <a:gd name="T13" fmla="*/ 3 h 28"/>
                <a:gd name="T14" fmla="*/ 1 w 13"/>
                <a:gd name="T15" fmla="*/ 3 h 28"/>
                <a:gd name="T16" fmla="*/ 1 w 13"/>
                <a:gd name="T17" fmla="*/ 3 h 28"/>
                <a:gd name="T18" fmla="*/ 0 w 13"/>
                <a:gd name="T19" fmla="*/ 2 h 28"/>
                <a:gd name="T20" fmla="*/ 1 w 13"/>
                <a:gd name="T21" fmla="*/ 2 h 28"/>
                <a:gd name="T22" fmla="*/ 1 w 13"/>
                <a:gd name="T23" fmla="*/ 1 h 28"/>
                <a:gd name="T24" fmla="*/ 1 w 13"/>
                <a:gd name="T25" fmla="*/ 1 h 28"/>
                <a:gd name="T26" fmla="*/ 1 w 13"/>
                <a:gd name="T27" fmla="*/ 0 h 28"/>
                <a:gd name="T28" fmla="*/ 1 w 13"/>
                <a:gd name="T29" fmla="*/ 1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28"/>
                <a:gd name="T47" fmla="*/ 13 w 13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28">
                  <a:moveTo>
                    <a:pt x="7" y="1"/>
                  </a:moveTo>
                  <a:lnTo>
                    <a:pt x="9" y="3"/>
                  </a:lnTo>
                  <a:lnTo>
                    <a:pt x="9" y="13"/>
                  </a:lnTo>
                  <a:lnTo>
                    <a:pt x="13" y="23"/>
                  </a:lnTo>
                  <a:lnTo>
                    <a:pt x="13" y="26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2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1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0" name="Freeform 37"/>
            <p:cNvSpPr>
              <a:spLocks/>
            </p:cNvSpPr>
            <p:nvPr/>
          </p:nvSpPr>
          <p:spPr bwMode="auto">
            <a:xfrm>
              <a:off x="5641807" y="3705618"/>
              <a:ext cx="14216" cy="27831"/>
            </a:xfrm>
            <a:custGeom>
              <a:avLst/>
              <a:gdLst>
                <a:gd name="T0" fmla="*/ 1 w 13"/>
                <a:gd name="T1" fmla="*/ 1 h 28"/>
                <a:gd name="T2" fmla="*/ 1 w 13"/>
                <a:gd name="T3" fmla="*/ 1 h 28"/>
                <a:gd name="T4" fmla="*/ 1 w 13"/>
                <a:gd name="T5" fmla="*/ 2 h 28"/>
                <a:gd name="T6" fmla="*/ 2 w 13"/>
                <a:gd name="T7" fmla="*/ 3 h 28"/>
                <a:gd name="T8" fmla="*/ 2 w 13"/>
                <a:gd name="T9" fmla="*/ 3 h 28"/>
                <a:gd name="T10" fmla="*/ 1 w 13"/>
                <a:gd name="T11" fmla="*/ 3 h 28"/>
                <a:gd name="T12" fmla="*/ 1 w 13"/>
                <a:gd name="T13" fmla="*/ 3 h 28"/>
                <a:gd name="T14" fmla="*/ 1 w 13"/>
                <a:gd name="T15" fmla="*/ 3 h 28"/>
                <a:gd name="T16" fmla="*/ 1 w 13"/>
                <a:gd name="T17" fmla="*/ 3 h 28"/>
                <a:gd name="T18" fmla="*/ 0 w 13"/>
                <a:gd name="T19" fmla="*/ 2 h 28"/>
                <a:gd name="T20" fmla="*/ 1 w 13"/>
                <a:gd name="T21" fmla="*/ 2 h 28"/>
                <a:gd name="T22" fmla="*/ 1 w 13"/>
                <a:gd name="T23" fmla="*/ 1 h 28"/>
                <a:gd name="T24" fmla="*/ 1 w 13"/>
                <a:gd name="T25" fmla="*/ 1 h 28"/>
                <a:gd name="T26" fmla="*/ 1 w 13"/>
                <a:gd name="T27" fmla="*/ 0 h 28"/>
                <a:gd name="T28" fmla="*/ 1 w 13"/>
                <a:gd name="T29" fmla="*/ 1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3"/>
                <a:gd name="T46" fmla="*/ 0 h 28"/>
                <a:gd name="T47" fmla="*/ 13 w 13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3" h="28">
                  <a:moveTo>
                    <a:pt x="7" y="1"/>
                  </a:moveTo>
                  <a:lnTo>
                    <a:pt x="9" y="3"/>
                  </a:lnTo>
                  <a:lnTo>
                    <a:pt x="9" y="13"/>
                  </a:lnTo>
                  <a:lnTo>
                    <a:pt x="13" y="23"/>
                  </a:lnTo>
                  <a:lnTo>
                    <a:pt x="13" y="26"/>
                  </a:lnTo>
                  <a:lnTo>
                    <a:pt x="10" y="28"/>
                  </a:lnTo>
                  <a:lnTo>
                    <a:pt x="8" y="26"/>
                  </a:lnTo>
                  <a:lnTo>
                    <a:pt x="6" y="22"/>
                  </a:lnTo>
                  <a:lnTo>
                    <a:pt x="3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1" y="3"/>
                  </a:lnTo>
                  <a:lnTo>
                    <a:pt x="1" y="2"/>
                  </a:lnTo>
                  <a:lnTo>
                    <a:pt x="7" y="0"/>
                  </a:lnTo>
                  <a:lnTo>
                    <a:pt x="7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1" name="Freeform 38"/>
            <p:cNvSpPr>
              <a:spLocks/>
            </p:cNvSpPr>
            <p:nvPr/>
          </p:nvSpPr>
          <p:spPr bwMode="auto">
            <a:xfrm>
              <a:off x="5664148" y="3752002"/>
              <a:ext cx="12186" cy="5567"/>
            </a:xfrm>
            <a:custGeom>
              <a:avLst/>
              <a:gdLst>
                <a:gd name="T0" fmla="*/ 2 w 12"/>
                <a:gd name="T1" fmla="*/ 1 h 6"/>
                <a:gd name="T2" fmla="*/ 1 w 12"/>
                <a:gd name="T3" fmla="*/ 1 h 6"/>
                <a:gd name="T4" fmla="*/ 1 w 12"/>
                <a:gd name="T5" fmla="*/ 1 h 6"/>
                <a:gd name="T6" fmla="*/ 1 w 12"/>
                <a:gd name="T7" fmla="*/ 1 h 6"/>
                <a:gd name="T8" fmla="*/ 1 w 12"/>
                <a:gd name="T9" fmla="*/ 1 h 6"/>
                <a:gd name="T10" fmla="*/ 0 w 12"/>
                <a:gd name="T11" fmla="*/ 1 h 6"/>
                <a:gd name="T12" fmla="*/ 1 w 12"/>
                <a:gd name="T13" fmla="*/ 0 h 6"/>
                <a:gd name="T14" fmla="*/ 1 w 12"/>
                <a:gd name="T15" fmla="*/ 1 h 6"/>
                <a:gd name="T16" fmla="*/ 2 w 12"/>
                <a:gd name="T17" fmla="*/ 1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6"/>
                <a:gd name="T29" fmla="*/ 12 w 12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6">
                  <a:moveTo>
                    <a:pt x="12" y="5"/>
                  </a:moveTo>
                  <a:lnTo>
                    <a:pt x="9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10" y="3"/>
                  </a:lnTo>
                  <a:lnTo>
                    <a:pt x="12" y="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2" name="Freeform 39"/>
            <p:cNvSpPr>
              <a:spLocks/>
            </p:cNvSpPr>
            <p:nvPr/>
          </p:nvSpPr>
          <p:spPr bwMode="auto">
            <a:xfrm>
              <a:off x="5664148" y="3752002"/>
              <a:ext cx="12186" cy="5567"/>
            </a:xfrm>
            <a:custGeom>
              <a:avLst/>
              <a:gdLst>
                <a:gd name="T0" fmla="*/ 2 w 12"/>
                <a:gd name="T1" fmla="*/ 1 h 6"/>
                <a:gd name="T2" fmla="*/ 1 w 12"/>
                <a:gd name="T3" fmla="*/ 1 h 6"/>
                <a:gd name="T4" fmla="*/ 1 w 12"/>
                <a:gd name="T5" fmla="*/ 1 h 6"/>
                <a:gd name="T6" fmla="*/ 1 w 12"/>
                <a:gd name="T7" fmla="*/ 1 h 6"/>
                <a:gd name="T8" fmla="*/ 1 w 12"/>
                <a:gd name="T9" fmla="*/ 1 h 6"/>
                <a:gd name="T10" fmla="*/ 0 w 12"/>
                <a:gd name="T11" fmla="*/ 1 h 6"/>
                <a:gd name="T12" fmla="*/ 1 w 12"/>
                <a:gd name="T13" fmla="*/ 0 h 6"/>
                <a:gd name="T14" fmla="*/ 1 w 12"/>
                <a:gd name="T15" fmla="*/ 1 h 6"/>
                <a:gd name="T16" fmla="*/ 2 w 12"/>
                <a:gd name="T17" fmla="*/ 1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6"/>
                <a:gd name="T29" fmla="*/ 12 w 12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6">
                  <a:moveTo>
                    <a:pt x="12" y="5"/>
                  </a:moveTo>
                  <a:lnTo>
                    <a:pt x="9" y="6"/>
                  </a:lnTo>
                  <a:lnTo>
                    <a:pt x="6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10" y="3"/>
                  </a:lnTo>
                  <a:lnTo>
                    <a:pt x="12" y="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3" name="Freeform 40"/>
            <p:cNvSpPr>
              <a:spLocks/>
            </p:cNvSpPr>
            <p:nvPr/>
          </p:nvSpPr>
          <p:spPr bwMode="auto">
            <a:xfrm>
              <a:off x="5698676" y="3742725"/>
              <a:ext cx="16248" cy="14843"/>
            </a:xfrm>
            <a:custGeom>
              <a:avLst/>
              <a:gdLst>
                <a:gd name="T0" fmla="*/ 4 w 11"/>
                <a:gd name="T1" fmla="*/ 0 h 13"/>
                <a:gd name="T2" fmla="*/ 4 w 11"/>
                <a:gd name="T3" fmla="*/ 1 h 13"/>
                <a:gd name="T4" fmla="*/ 4 w 11"/>
                <a:gd name="T5" fmla="*/ 2 h 13"/>
                <a:gd name="T6" fmla="*/ 4 w 11"/>
                <a:gd name="T7" fmla="*/ 2 h 13"/>
                <a:gd name="T8" fmla="*/ 3 w 11"/>
                <a:gd name="T9" fmla="*/ 2 h 13"/>
                <a:gd name="T10" fmla="*/ 2 w 11"/>
                <a:gd name="T11" fmla="*/ 1 h 13"/>
                <a:gd name="T12" fmla="*/ 1 w 11"/>
                <a:gd name="T13" fmla="*/ 1 h 13"/>
                <a:gd name="T14" fmla="*/ 0 w 11"/>
                <a:gd name="T15" fmla="*/ 1 h 13"/>
                <a:gd name="T16" fmla="*/ 0 w 11"/>
                <a:gd name="T17" fmla="*/ 1 h 13"/>
                <a:gd name="T18" fmla="*/ 2 w 11"/>
                <a:gd name="T19" fmla="*/ 1 h 13"/>
                <a:gd name="T20" fmla="*/ 3 w 11"/>
                <a:gd name="T21" fmla="*/ 1 h 13"/>
                <a:gd name="T22" fmla="*/ 4 w 11"/>
                <a:gd name="T23" fmla="*/ 0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"/>
                <a:gd name="T37" fmla="*/ 0 h 13"/>
                <a:gd name="T38" fmla="*/ 11 w 11"/>
                <a:gd name="T39" fmla="*/ 13 h 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" h="13">
                  <a:moveTo>
                    <a:pt x="10" y="0"/>
                  </a:moveTo>
                  <a:lnTo>
                    <a:pt x="11" y="2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5" y="4"/>
                  </a:lnTo>
                  <a:lnTo>
                    <a:pt x="8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4" name="Freeform 41"/>
            <p:cNvSpPr>
              <a:spLocks/>
            </p:cNvSpPr>
            <p:nvPr/>
          </p:nvSpPr>
          <p:spPr bwMode="auto">
            <a:xfrm>
              <a:off x="5698676" y="3742725"/>
              <a:ext cx="16248" cy="14843"/>
            </a:xfrm>
            <a:custGeom>
              <a:avLst/>
              <a:gdLst>
                <a:gd name="T0" fmla="*/ 4 w 11"/>
                <a:gd name="T1" fmla="*/ 0 h 13"/>
                <a:gd name="T2" fmla="*/ 4 w 11"/>
                <a:gd name="T3" fmla="*/ 1 h 13"/>
                <a:gd name="T4" fmla="*/ 4 w 11"/>
                <a:gd name="T5" fmla="*/ 2 h 13"/>
                <a:gd name="T6" fmla="*/ 4 w 11"/>
                <a:gd name="T7" fmla="*/ 2 h 13"/>
                <a:gd name="T8" fmla="*/ 3 w 11"/>
                <a:gd name="T9" fmla="*/ 2 h 13"/>
                <a:gd name="T10" fmla="*/ 2 w 11"/>
                <a:gd name="T11" fmla="*/ 1 h 13"/>
                <a:gd name="T12" fmla="*/ 1 w 11"/>
                <a:gd name="T13" fmla="*/ 1 h 13"/>
                <a:gd name="T14" fmla="*/ 0 w 11"/>
                <a:gd name="T15" fmla="*/ 1 h 13"/>
                <a:gd name="T16" fmla="*/ 0 w 11"/>
                <a:gd name="T17" fmla="*/ 1 h 13"/>
                <a:gd name="T18" fmla="*/ 2 w 11"/>
                <a:gd name="T19" fmla="*/ 1 h 13"/>
                <a:gd name="T20" fmla="*/ 3 w 11"/>
                <a:gd name="T21" fmla="*/ 1 h 13"/>
                <a:gd name="T22" fmla="*/ 4 w 11"/>
                <a:gd name="T23" fmla="*/ 0 h 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1"/>
                <a:gd name="T37" fmla="*/ 0 h 13"/>
                <a:gd name="T38" fmla="*/ 11 w 11"/>
                <a:gd name="T39" fmla="*/ 13 h 1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1" h="13">
                  <a:moveTo>
                    <a:pt x="10" y="0"/>
                  </a:moveTo>
                  <a:lnTo>
                    <a:pt x="11" y="2"/>
                  </a:lnTo>
                  <a:lnTo>
                    <a:pt x="11" y="10"/>
                  </a:lnTo>
                  <a:lnTo>
                    <a:pt x="10" y="13"/>
                  </a:lnTo>
                  <a:lnTo>
                    <a:pt x="8" y="11"/>
                  </a:lnTo>
                  <a:lnTo>
                    <a:pt x="6" y="8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5" y="4"/>
                  </a:lnTo>
                  <a:lnTo>
                    <a:pt x="8" y="1"/>
                  </a:lnTo>
                  <a:lnTo>
                    <a:pt x="1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5" name="Freeform 42"/>
            <p:cNvSpPr>
              <a:spLocks/>
            </p:cNvSpPr>
            <p:nvPr/>
          </p:nvSpPr>
          <p:spPr bwMode="auto">
            <a:xfrm>
              <a:off x="2379994" y="2679604"/>
              <a:ext cx="14216" cy="11132"/>
            </a:xfrm>
            <a:custGeom>
              <a:avLst/>
              <a:gdLst>
                <a:gd name="T0" fmla="*/ 3 w 11"/>
                <a:gd name="T1" fmla="*/ 1 h 8"/>
                <a:gd name="T2" fmla="*/ 1 w 11"/>
                <a:gd name="T3" fmla="*/ 0 h 8"/>
                <a:gd name="T4" fmla="*/ 0 w 11"/>
                <a:gd name="T5" fmla="*/ 2 h 8"/>
                <a:gd name="T6" fmla="*/ 1 w 11"/>
                <a:gd name="T7" fmla="*/ 3 h 8"/>
                <a:gd name="T8" fmla="*/ 2 w 11"/>
                <a:gd name="T9" fmla="*/ 2 h 8"/>
                <a:gd name="T10" fmla="*/ 3 w 11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11" y="1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9" y="4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6" name="Freeform 43"/>
            <p:cNvSpPr>
              <a:spLocks/>
            </p:cNvSpPr>
            <p:nvPr/>
          </p:nvSpPr>
          <p:spPr bwMode="auto">
            <a:xfrm>
              <a:off x="2379994" y="2679604"/>
              <a:ext cx="14216" cy="11132"/>
            </a:xfrm>
            <a:custGeom>
              <a:avLst/>
              <a:gdLst>
                <a:gd name="T0" fmla="*/ 3 w 11"/>
                <a:gd name="T1" fmla="*/ 1 h 8"/>
                <a:gd name="T2" fmla="*/ 1 w 11"/>
                <a:gd name="T3" fmla="*/ 0 h 8"/>
                <a:gd name="T4" fmla="*/ 0 w 11"/>
                <a:gd name="T5" fmla="*/ 2 h 8"/>
                <a:gd name="T6" fmla="*/ 1 w 11"/>
                <a:gd name="T7" fmla="*/ 3 h 8"/>
                <a:gd name="T8" fmla="*/ 2 w 11"/>
                <a:gd name="T9" fmla="*/ 2 h 8"/>
                <a:gd name="T10" fmla="*/ 3 w 11"/>
                <a:gd name="T11" fmla="*/ 1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8"/>
                <a:gd name="T20" fmla="*/ 11 w 11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8">
                  <a:moveTo>
                    <a:pt x="11" y="1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9" y="4"/>
                  </a:lnTo>
                  <a:lnTo>
                    <a:pt x="11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7" name="Freeform 44"/>
            <p:cNvSpPr>
              <a:spLocks/>
            </p:cNvSpPr>
            <p:nvPr/>
          </p:nvSpPr>
          <p:spPr bwMode="auto">
            <a:xfrm>
              <a:off x="3728589" y="3017279"/>
              <a:ext cx="24372" cy="24119"/>
            </a:xfrm>
            <a:custGeom>
              <a:avLst/>
              <a:gdLst>
                <a:gd name="T0" fmla="*/ 3 w 21"/>
                <a:gd name="T1" fmla="*/ 1 h 26"/>
                <a:gd name="T2" fmla="*/ 3 w 21"/>
                <a:gd name="T3" fmla="*/ 2 h 26"/>
                <a:gd name="T4" fmla="*/ 2 w 21"/>
                <a:gd name="T5" fmla="*/ 3 h 26"/>
                <a:gd name="T6" fmla="*/ 2 w 21"/>
                <a:gd name="T7" fmla="*/ 3 h 26"/>
                <a:gd name="T8" fmla="*/ 2 w 21"/>
                <a:gd name="T9" fmla="*/ 3 h 26"/>
                <a:gd name="T10" fmla="*/ 1 w 21"/>
                <a:gd name="T11" fmla="*/ 3 h 26"/>
                <a:gd name="T12" fmla="*/ 0 w 21"/>
                <a:gd name="T13" fmla="*/ 3 h 26"/>
                <a:gd name="T14" fmla="*/ 0 w 21"/>
                <a:gd name="T15" fmla="*/ 2 h 26"/>
                <a:gd name="T16" fmla="*/ 1 w 21"/>
                <a:gd name="T17" fmla="*/ 0 h 26"/>
                <a:gd name="T18" fmla="*/ 2 w 21"/>
                <a:gd name="T19" fmla="*/ 0 h 26"/>
                <a:gd name="T20" fmla="*/ 3 w 21"/>
                <a:gd name="T21" fmla="*/ 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6"/>
                <a:gd name="T35" fmla="*/ 21 w 2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6">
                  <a:moveTo>
                    <a:pt x="21" y="8"/>
                  </a:moveTo>
                  <a:lnTo>
                    <a:pt x="21" y="14"/>
                  </a:lnTo>
                  <a:lnTo>
                    <a:pt x="17" y="23"/>
                  </a:lnTo>
                  <a:lnTo>
                    <a:pt x="14" y="24"/>
                  </a:lnTo>
                  <a:lnTo>
                    <a:pt x="11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8" y="0"/>
                  </a:lnTo>
                  <a:lnTo>
                    <a:pt x="13" y="0"/>
                  </a:lnTo>
                  <a:lnTo>
                    <a:pt x="21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8" name="Freeform 45"/>
            <p:cNvSpPr>
              <a:spLocks/>
            </p:cNvSpPr>
            <p:nvPr/>
          </p:nvSpPr>
          <p:spPr bwMode="auto">
            <a:xfrm>
              <a:off x="3728589" y="3017279"/>
              <a:ext cx="24372" cy="24119"/>
            </a:xfrm>
            <a:custGeom>
              <a:avLst/>
              <a:gdLst>
                <a:gd name="T0" fmla="*/ 3 w 21"/>
                <a:gd name="T1" fmla="*/ 1 h 26"/>
                <a:gd name="T2" fmla="*/ 3 w 21"/>
                <a:gd name="T3" fmla="*/ 2 h 26"/>
                <a:gd name="T4" fmla="*/ 2 w 21"/>
                <a:gd name="T5" fmla="*/ 3 h 26"/>
                <a:gd name="T6" fmla="*/ 2 w 21"/>
                <a:gd name="T7" fmla="*/ 3 h 26"/>
                <a:gd name="T8" fmla="*/ 2 w 21"/>
                <a:gd name="T9" fmla="*/ 3 h 26"/>
                <a:gd name="T10" fmla="*/ 1 w 21"/>
                <a:gd name="T11" fmla="*/ 3 h 26"/>
                <a:gd name="T12" fmla="*/ 0 w 21"/>
                <a:gd name="T13" fmla="*/ 3 h 26"/>
                <a:gd name="T14" fmla="*/ 0 w 21"/>
                <a:gd name="T15" fmla="*/ 2 h 26"/>
                <a:gd name="T16" fmla="*/ 1 w 21"/>
                <a:gd name="T17" fmla="*/ 0 h 26"/>
                <a:gd name="T18" fmla="*/ 2 w 21"/>
                <a:gd name="T19" fmla="*/ 0 h 26"/>
                <a:gd name="T20" fmla="*/ 3 w 21"/>
                <a:gd name="T21" fmla="*/ 1 h 2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26"/>
                <a:gd name="T35" fmla="*/ 21 w 21"/>
                <a:gd name="T36" fmla="*/ 26 h 2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26">
                  <a:moveTo>
                    <a:pt x="21" y="8"/>
                  </a:moveTo>
                  <a:lnTo>
                    <a:pt x="21" y="14"/>
                  </a:lnTo>
                  <a:lnTo>
                    <a:pt x="17" y="23"/>
                  </a:lnTo>
                  <a:lnTo>
                    <a:pt x="14" y="24"/>
                  </a:lnTo>
                  <a:lnTo>
                    <a:pt x="11" y="26"/>
                  </a:lnTo>
                  <a:lnTo>
                    <a:pt x="4" y="26"/>
                  </a:lnTo>
                  <a:lnTo>
                    <a:pt x="0" y="22"/>
                  </a:lnTo>
                  <a:lnTo>
                    <a:pt x="0" y="18"/>
                  </a:lnTo>
                  <a:lnTo>
                    <a:pt x="8" y="0"/>
                  </a:lnTo>
                  <a:lnTo>
                    <a:pt x="13" y="0"/>
                  </a:lnTo>
                  <a:lnTo>
                    <a:pt x="21" y="8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39" name="Freeform 46"/>
            <p:cNvSpPr>
              <a:spLocks/>
            </p:cNvSpPr>
            <p:nvPr/>
          </p:nvSpPr>
          <p:spPr bwMode="auto">
            <a:xfrm>
              <a:off x="3572201" y="3249199"/>
              <a:ext cx="6092" cy="9277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0 h 5"/>
                <a:gd name="T4" fmla="*/ 2 w 4"/>
                <a:gd name="T5" fmla="*/ 3 h 5"/>
                <a:gd name="T6" fmla="*/ 2 w 4"/>
                <a:gd name="T7" fmla="*/ 7 h 5"/>
                <a:gd name="T8" fmla="*/ 1 w 4"/>
                <a:gd name="T9" fmla="*/ 6 h 5"/>
                <a:gd name="T10" fmla="*/ 0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0" name="Freeform 47"/>
            <p:cNvSpPr>
              <a:spLocks/>
            </p:cNvSpPr>
            <p:nvPr/>
          </p:nvSpPr>
          <p:spPr bwMode="auto">
            <a:xfrm>
              <a:off x="3572201" y="3249199"/>
              <a:ext cx="6092" cy="9277"/>
            </a:xfrm>
            <a:custGeom>
              <a:avLst/>
              <a:gdLst>
                <a:gd name="T0" fmla="*/ 0 w 4"/>
                <a:gd name="T1" fmla="*/ 0 h 5"/>
                <a:gd name="T2" fmla="*/ 2 w 4"/>
                <a:gd name="T3" fmla="*/ 0 h 5"/>
                <a:gd name="T4" fmla="*/ 2 w 4"/>
                <a:gd name="T5" fmla="*/ 3 h 5"/>
                <a:gd name="T6" fmla="*/ 2 w 4"/>
                <a:gd name="T7" fmla="*/ 7 h 5"/>
                <a:gd name="T8" fmla="*/ 1 w 4"/>
                <a:gd name="T9" fmla="*/ 6 h 5"/>
                <a:gd name="T10" fmla="*/ 0 w 4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5"/>
                <a:gd name="T20" fmla="*/ 4 w 4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5">
                  <a:moveTo>
                    <a:pt x="0" y="0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4" y="5"/>
                  </a:lnTo>
                  <a:lnTo>
                    <a:pt x="1" y="4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1" name="Freeform 48"/>
            <p:cNvSpPr>
              <a:spLocks/>
            </p:cNvSpPr>
            <p:nvPr/>
          </p:nvSpPr>
          <p:spPr bwMode="auto">
            <a:xfrm>
              <a:off x="5461046" y="2447683"/>
              <a:ext cx="6092" cy="556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0 h 8"/>
                <a:gd name="T6" fmla="*/ 0 w 7"/>
                <a:gd name="T7" fmla="*/ 0 h 8"/>
                <a:gd name="T8" fmla="*/ 0 w 7"/>
                <a:gd name="T9" fmla="*/ 0 h 8"/>
                <a:gd name="T10" fmla="*/ 0 w 7"/>
                <a:gd name="T11" fmla="*/ 0 h 8"/>
                <a:gd name="T12" fmla="*/ 0 w 7"/>
                <a:gd name="T13" fmla="*/ 0 h 8"/>
                <a:gd name="T14" fmla="*/ 0 w 7"/>
                <a:gd name="T15" fmla="*/ 0 h 8"/>
                <a:gd name="T16" fmla="*/ 0 w 7"/>
                <a:gd name="T17" fmla="*/ 0 h 8"/>
                <a:gd name="T18" fmla="*/ 0 w 7"/>
                <a:gd name="T19" fmla="*/ 0 h 8"/>
                <a:gd name="T20" fmla="*/ 0 w 7"/>
                <a:gd name="T21" fmla="*/ 0 h 8"/>
                <a:gd name="T22" fmla="*/ 0 w 7"/>
                <a:gd name="T23" fmla="*/ 0 h 8"/>
                <a:gd name="T24" fmla="*/ 0 w 7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"/>
                <a:gd name="T40" fmla="*/ 0 h 8"/>
                <a:gd name="T41" fmla="*/ 7 w 7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" h="8">
                  <a:moveTo>
                    <a:pt x="3" y="3"/>
                  </a:moveTo>
                  <a:lnTo>
                    <a:pt x="4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8"/>
                  </a:lnTo>
                  <a:lnTo>
                    <a:pt x="6" y="8"/>
                  </a:lnTo>
                  <a:lnTo>
                    <a:pt x="7" y="6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2" name="Freeform 49"/>
            <p:cNvSpPr>
              <a:spLocks/>
            </p:cNvSpPr>
            <p:nvPr/>
          </p:nvSpPr>
          <p:spPr bwMode="auto">
            <a:xfrm>
              <a:off x="5461046" y="2447683"/>
              <a:ext cx="6092" cy="556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0 h 8"/>
                <a:gd name="T6" fmla="*/ 0 w 7"/>
                <a:gd name="T7" fmla="*/ 0 h 8"/>
                <a:gd name="T8" fmla="*/ 0 w 7"/>
                <a:gd name="T9" fmla="*/ 0 h 8"/>
                <a:gd name="T10" fmla="*/ 0 w 7"/>
                <a:gd name="T11" fmla="*/ 0 h 8"/>
                <a:gd name="T12" fmla="*/ 0 w 7"/>
                <a:gd name="T13" fmla="*/ 0 h 8"/>
                <a:gd name="T14" fmla="*/ 0 w 7"/>
                <a:gd name="T15" fmla="*/ 0 h 8"/>
                <a:gd name="T16" fmla="*/ 0 w 7"/>
                <a:gd name="T17" fmla="*/ 0 h 8"/>
                <a:gd name="T18" fmla="*/ 0 w 7"/>
                <a:gd name="T19" fmla="*/ 0 h 8"/>
                <a:gd name="T20" fmla="*/ 0 w 7"/>
                <a:gd name="T21" fmla="*/ 0 h 8"/>
                <a:gd name="T22" fmla="*/ 0 w 7"/>
                <a:gd name="T23" fmla="*/ 0 h 8"/>
                <a:gd name="T24" fmla="*/ 0 w 7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7"/>
                <a:gd name="T40" fmla="*/ 0 h 8"/>
                <a:gd name="T41" fmla="*/ 7 w 7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7" h="8">
                  <a:moveTo>
                    <a:pt x="3" y="3"/>
                  </a:moveTo>
                  <a:lnTo>
                    <a:pt x="4" y="3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8"/>
                  </a:lnTo>
                  <a:lnTo>
                    <a:pt x="6" y="8"/>
                  </a:lnTo>
                  <a:lnTo>
                    <a:pt x="7" y="6"/>
                  </a:lnTo>
                  <a:lnTo>
                    <a:pt x="5" y="2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3" name="Freeform 50"/>
            <p:cNvSpPr>
              <a:spLocks/>
            </p:cNvSpPr>
            <p:nvPr/>
          </p:nvSpPr>
          <p:spPr bwMode="auto">
            <a:xfrm>
              <a:off x="5454955" y="2460671"/>
              <a:ext cx="26403" cy="12987"/>
            </a:xfrm>
            <a:custGeom>
              <a:avLst/>
              <a:gdLst>
                <a:gd name="T0" fmla="*/ 2 w 23"/>
                <a:gd name="T1" fmla="*/ 1 h 14"/>
                <a:gd name="T2" fmla="*/ 2 w 23"/>
                <a:gd name="T3" fmla="*/ 1 h 14"/>
                <a:gd name="T4" fmla="*/ 2 w 23"/>
                <a:gd name="T5" fmla="*/ 1 h 14"/>
                <a:gd name="T6" fmla="*/ 2 w 23"/>
                <a:gd name="T7" fmla="*/ 1 h 14"/>
                <a:gd name="T8" fmla="*/ 2 w 23"/>
                <a:gd name="T9" fmla="*/ 1 h 14"/>
                <a:gd name="T10" fmla="*/ 1 w 23"/>
                <a:gd name="T11" fmla="*/ 0 h 14"/>
                <a:gd name="T12" fmla="*/ 1 w 23"/>
                <a:gd name="T13" fmla="*/ 0 h 14"/>
                <a:gd name="T14" fmla="*/ 1 w 23"/>
                <a:gd name="T15" fmla="*/ 1 h 14"/>
                <a:gd name="T16" fmla="*/ 0 w 23"/>
                <a:gd name="T17" fmla="*/ 1 h 14"/>
                <a:gd name="T18" fmla="*/ 0 w 23"/>
                <a:gd name="T19" fmla="*/ 1 h 14"/>
                <a:gd name="T20" fmla="*/ 1 w 23"/>
                <a:gd name="T21" fmla="*/ 1 h 14"/>
                <a:gd name="T22" fmla="*/ 1 w 23"/>
                <a:gd name="T23" fmla="*/ 1 h 14"/>
                <a:gd name="T24" fmla="*/ 1 w 23"/>
                <a:gd name="T25" fmla="*/ 1 h 14"/>
                <a:gd name="T26" fmla="*/ 1 w 23"/>
                <a:gd name="T27" fmla="*/ 1 h 14"/>
                <a:gd name="T28" fmla="*/ 1 w 23"/>
                <a:gd name="T29" fmla="*/ 1 h 14"/>
                <a:gd name="T30" fmla="*/ 1 w 23"/>
                <a:gd name="T31" fmla="*/ 1 h 14"/>
                <a:gd name="T32" fmla="*/ 1 w 23"/>
                <a:gd name="T33" fmla="*/ 1 h 14"/>
                <a:gd name="T34" fmla="*/ 3 w 23"/>
                <a:gd name="T35" fmla="*/ 2 h 14"/>
                <a:gd name="T36" fmla="*/ 3 w 23"/>
                <a:gd name="T37" fmla="*/ 1 h 14"/>
                <a:gd name="T38" fmla="*/ 3 w 23"/>
                <a:gd name="T39" fmla="*/ 1 h 14"/>
                <a:gd name="T40" fmla="*/ 3 w 23"/>
                <a:gd name="T41" fmla="*/ 1 h 14"/>
                <a:gd name="T42" fmla="*/ 3 w 23"/>
                <a:gd name="T43" fmla="*/ 1 h 14"/>
                <a:gd name="T44" fmla="*/ 2 w 23"/>
                <a:gd name="T45" fmla="*/ 1 h 14"/>
                <a:gd name="T46" fmla="*/ 2 w 23"/>
                <a:gd name="T47" fmla="*/ 1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4"/>
                <a:gd name="T74" fmla="*/ 23 w 23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4">
                  <a:moveTo>
                    <a:pt x="15" y="8"/>
                  </a:moveTo>
                  <a:lnTo>
                    <a:pt x="15" y="10"/>
                  </a:lnTo>
                  <a:lnTo>
                    <a:pt x="14" y="11"/>
                  </a:lnTo>
                  <a:lnTo>
                    <a:pt x="13" y="10"/>
                  </a:lnTo>
                  <a:lnTo>
                    <a:pt x="11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6" y="5"/>
                  </a:lnTo>
                  <a:lnTo>
                    <a:pt x="7" y="9"/>
                  </a:lnTo>
                  <a:lnTo>
                    <a:pt x="5" y="10"/>
                  </a:lnTo>
                  <a:lnTo>
                    <a:pt x="3" y="9"/>
                  </a:lnTo>
                  <a:lnTo>
                    <a:pt x="6" y="12"/>
                  </a:lnTo>
                  <a:lnTo>
                    <a:pt x="22" y="14"/>
                  </a:lnTo>
                  <a:lnTo>
                    <a:pt x="23" y="12"/>
                  </a:lnTo>
                  <a:lnTo>
                    <a:pt x="22" y="10"/>
                  </a:lnTo>
                  <a:lnTo>
                    <a:pt x="19" y="9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5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4" name="Freeform 51"/>
            <p:cNvSpPr>
              <a:spLocks/>
            </p:cNvSpPr>
            <p:nvPr/>
          </p:nvSpPr>
          <p:spPr bwMode="auto">
            <a:xfrm>
              <a:off x="5454955" y="2460671"/>
              <a:ext cx="26403" cy="12987"/>
            </a:xfrm>
            <a:custGeom>
              <a:avLst/>
              <a:gdLst>
                <a:gd name="T0" fmla="*/ 2 w 23"/>
                <a:gd name="T1" fmla="*/ 1 h 14"/>
                <a:gd name="T2" fmla="*/ 2 w 23"/>
                <a:gd name="T3" fmla="*/ 1 h 14"/>
                <a:gd name="T4" fmla="*/ 2 w 23"/>
                <a:gd name="T5" fmla="*/ 1 h 14"/>
                <a:gd name="T6" fmla="*/ 2 w 23"/>
                <a:gd name="T7" fmla="*/ 1 h 14"/>
                <a:gd name="T8" fmla="*/ 2 w 23"/>
                <a:gd name="T9" fmla="*/ 1 h 14"/>
                <a:gd name="T10" fmla="*/ 1 w 23"/>
                <a:gd name="T11" fmla="*/ 0 h 14"/>
                <a:gd name="T12" fmla="*/ 1 w 23"/>
                <a:gd name="T13" fmla="*/ 0 h 14"/>
                <a:gd name="T14" fmla="*/ 1 w 23"/>
                <a:gd name="T15" fmla="*/ 1 h 14"/>
                <a:gd name="T16" fmla="*/ 0 w 23"/>
                <a:gd name="T17" fmla="*/ 1 h 14"/>
                <a:gd name="T18" fmla="*/ 0 w 23"/>
                <a:gd name="T19" fmla="*/ 1 h 14"/>
                <a:gd name="T20" fmla="*/ 1 w 23"/>
                <a:gd name="T21" fmla="*/ 1 h 14"/>
                <a:gd name="T22" fmla="*/ 1 w 23"/>
                <a:gd name="T23" fmla="*/ 1 h 14"/>
                <a:gd name="T24" fmla="*/ 1 w 23"/>
                <a:gd name="T25" fmla="*/ 1 h 14"/>
                <a:gd name="T26" fmla="*/ 1 w 23"/>
                <a:gd name="T27" fmla="*/ 1 h 14"/>
                <a:gd name="T28" fmla="*/ 1 w 23"/>
                <a:gd name="T29" fmla="*/ 1 h 14"/>
                <a:gd name="T30" fmla="*/ 1 w 23"/>
                <a:gd name="T31" fmla="*/ 1 h 14"/>
                <a:gd name="T32" fmla="*/ 1 w 23"/>
                <a:gd name="T33" fmla="*/ 1 h 14"/>
                <a:gd name="T34" fmla="*/ 3 w 23"/>
                <a:gd name="T35" fmla="*/ 2 h 14"/>
                <a:gd name="T36" fmla="*/ 3 w 23"/>
                <a:gd name="T37" fmla="*/ 1 h 14"/>
                <a:gd name="T38" fmla="*/ 3 w 23"/>
                <a:gd name="T39" fmla="*/ 1 h 14"/>
                <a:gd name="T40" fmla="*/ 3 w 23"/>
                <a:gd name="T41" fmla="*/ 1 h 14"/>
                <a:gd name="T42" fmla="*/ 3 w 23"/>
                <a:gd name="T43" fmla="*/ 1 h 14"/>
                <a:gd name="T44" fmla="*/ 2 w 23"/>
                <a:gd name="T45" fmla="*/ 1 h 14"/>
                <a:gd name="T46" fmla="*/ 2 w 23"/>
                <a:gd name="T47" fmla="*/ 1 h 1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3"/>
                <a:gd name="T73" fmla="*/ 0 h 14"/>
                <a:gd name="T74" fmla="*/ 23 w 23"/>
                <a:gd name="T75" fmla="*/ 14 h 1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3" h="14">
                  <a:moveTo>
                    <a:pt x="15" y="8"/>
                  </a:moveTo>
                  <a:lnTo>
                    <a:pt x="15" y="10"/>
                  </a:lnTo>
                  <a:lnTo>
                    <a:pt x="14" y="11"/>
                  </a:lnTo>
                  <a:lnTo>
                    <a:pt x="13" y="10"/>
                  </a:lnTo>
                  <a:lnTo>
                    <a:pt x="11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5" y="4"/>
                  </a:lnTo>
                  <a:lnTo>
                    <a:pt x="6" y="5"/>
                  </a:lnTo>
                  <a:lnTo>
                    <a:pt x="7" y="9"/>
                  </a:lnTo>
                  <a:lnTo>
                    <a:pt x="5" y="10"/>
                  </a:lnTo>
                  <a:lnTo>
                    <a:pt x="3" y="9"/>
                  </a:lnTo>
                  <a:lnTo>
                    <a:pt x="6" y="12"/>
                  </a:lnTo>
                  <a:lnTo>
                    <a:pt x="22" y="14"/>
                  </a:lnTo>
                  <a:lnTo>
                    <a:pt x="23" y="12"/>
                  </a:lnTo>
                  <a:lnTo>
                    <a:pt x="22" y="10"/>
                  </a:lnTo>
                  <a:lnTo>
                    <a:pt x="19" y="9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5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5" name="Freeform 52"/>
            <p:cNvSpPr>
              <a:spLocks/>
            </p:cNvSpPr>
            <p:nvPr/>
          </p:nvSpPr>
          <p:spPr bwMode="auto">
            <a:xfrm>
              <a:off x="5808351" y="3616561"/>
              <a:ext cx="16248" cy="5567"/>
            </a:xfrm>
            <a:custGeom>
              <a:avLst/>
              <a:gdLst>
                <a:gd name="T0" fmla="*/ 2 w 12"/>
                <a:gd name="T1" fmla="*/ 1 h 4"/>
                <a:gd name="T2" fmla="*/ 2 w 12"/>
                <a:gd name="T3" fmla="*/ 0 h 4"/>
                <a:gd name="T4" fmla="*/ 1 w 12"/>
                <a:gd name="T5" fmla="*/ 0 h 4"/>
                <a:gd name="T6" fmla="*/ 0 w 12"/>
                <a:gd name="T7" fmla="*/ 2 h 4"/>
                <a:gd name="T8" fmla="*/ 2 w 12"/>
                <a:gd name="T9" fmla="*/ 2 h 4"/>
                <a:gd name="T10" fmla="*/ 3 w 12"/>
                <a:gd name="T11" fmla="*/ 0 h 4"/>
                <a:gd name="T12" fmla="*/ 2 w 12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4"/>
                <a:gd name="T23" fmla="*/ 12 w 12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4">
                  <a:moveTo>
                    <a:pt x="6" y="1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6" y="4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6" name="Freeform 53"/>
            <p:cNvSpPr>
              <a:spLocks/>
            </p:cNvSpPr>
            <p:nvPr/>
          </p:nvSpPr>
          <p:spPr bwMode="auto">
            <a:xfrm>
              <a:off x="5808351" y="3616561"/>
              <a:ext cx="16248" cy="5567"/>
            </a:xfrm>
            <a:custGeom>
              <a:avLst/>
              <a:gdLst>
                <a:gd name="T0" fmla="*/ 2 w 12"/>
                <a:gd name="T1" fmla="*/ 1 h 4"/>
                <a:gd name="T2" fmla="*/ 2 w 12"/>
                <a:gd name="T3" fmla="*/ 0 h 4"/>
                <a:gd name="T4" fmla="*/ 1 w 12"/>
                <a:gd name="T5" fmla="*/ 0 h 4"/>
                <a:gd name="T6" fmla="*/ 0 w 12"/>
                <a:gd name="T7" fmla="*/ 2 h 4"/>
                <a:gd name="T8" fmla="*/ 2 w 12"/>
                <a:gd name="T9" fmla="*/ 2 h 4"/>
                <a:gd name="T10" fmla="*/ 3 w 12"/>
                <a:gd name="T11" fmla="*/ 0 h 4"/>
                <a:gd name="T12" fmla="*/ 2 w 12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4"/>
                <a:gd name="T23" fmla="*/ 12 w 12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4">
                  <a:moveTo>
                    <a:pt x="6" y="1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6" y="4"/>
                  </a:lnTo>
                  <a:lnTo>
                    <a:pt x="12" y="0"/>
                  </a:lnTo>
                  <a:lnTo>
                    <a:pt x="6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7" name="Freeform 54"/>
            <p:cNvSpPr>
              <a:spLocks/>
            </p:cNvSpPr>
            <p:nvPr/>
          </p:nvSpPr>
          <p:spPr bwMode="auto">
            <a:xfrm>
              <a:off x="4002777" y="2095165"/>
              <a:ext cx="582901" cy="755132"/>
            </a:xfrm>
            <a:custGeom>
              <a:avLst/>
              <a:gdLst>
                <a:gd name="T0" fmla="*/ 13 w 489"/>
                <a:gd name="T1" fmla="*/ 12 h 756"/>
                <a:gd name="T2" fmla="*/ 15 w 489"/>
                <a:gd name="T3" fmla="*/ 15 h 756"/>
                <a:gd name="T4" fmla="*/ 20 w 489"/>
                <a:gd name="T5" fmla="*/ 17 h 756"/>
                <a:gd name="T6" fmla="*/ 15 w 489"/>
                <a:gd name="T7" fmla="*/ 38 h 756"/>
                <a:gd name="T8" fmla="*/ 2 w 489"/>
                <a:gd name="T9" fmla="*/ 50 h 756"/>
                <a:gd name="T10" fmla="*/ 2 w 489"/>
                <a:gd name="T11" fmla="*/ 51 h 756"/>
                <a:gd name="T12" fmla="*/ 0 w 489"/>
                <a:gd name="T13" fmla="*/ 52 h 756"/>
                <a:gd name="T14" fmla="*/ 2 w 489"/>
                <a:gd name="T15" fmla="*/ 53 h 756"/>
                <a:gd name="T16" fmla="*/ 4 w 489"/>
                <a:gd name="T17" fmla="*/ 54 h 756"/>
                <a:gd name="T18" fmla="*/ 5 w 489"/>
                <a:gd name="T19" fmla="*/ 58 h 756"/>
                <a:gd name="T20" fmla="*/ 9 w 489"/>
                <a:gd name="T21" fmla="*/ 58 h 756"/>
                <a:gd name="T22" fmla="*/ 12 w 489"/>
                <a:gd name="T23" fmla="*/ 58 h 756"/>
                <a:gd name="T24" fmla="*/ 13 w 489"/>
                <a:gd name="T25" fmla="*/ 60 h 756"/>
                <a:gd name="T26" fmla="*/ 11 w 489"/>
                <a:gd name="T27" fmla="*/ 61 h 756"/>
                <a:gd name="T28" fmla="*/ 9 w 489"/>
                <a:gd name="T29" fmla="*/ 62 h 756"/>
                <a:gd name="T30" fmla="*/ 11 w 489"/>
                <a:gd name="T31" fmla="*/ 67 h 756"/>
                <a:gd name="T32" fmla="*/ 14 w 489"/>
                <a:gd name="T33" fmla="*/ 76 h 756"/>
                <a:gd name="T34" fmla="*/ 15 w 489"/>
                <a:gd name="T35" fmla="*/ 78 h 756"/>
                <a:gd name="T36" fmla="*/ 9 w 489"/>
                <a:gd name="T37" fmla="*/ 78 h 756"/>
                <a:gd name="T38" fmla="*/ 6 w 489"/>
                <a:gd name="T39" fmla="*/ 78 h 756"/>
                <a:gd name="T40" fmla="*/ 5 w 489"/>
                <a:gd name="T41" fmla="*/ 80 h 756"/>
                <a:gd name="T42" fmla="*/ 7 w 489"/>
                <a:gd name="T43" fmla="*/ 83 h 756"/>
                <a:gd name="T44" fmla="*/ 11 w 489"/>
                <a:gd name="T45" fmla="*/ 84 h 756"/>
                <a:gd name="T46" fmla="*/ 15 w 489"/>
                <a:gd name="T47" fmla="*/ 92 h 756"/>
                <a:gd name="T48" fmla="*/ 15 w 489"/>
                <a:gd name="T49" fmla="*/ 92 h 756"/>
                <a:gd name="T50" fmla="*/ 19 w 489"/>
                <a:gd name="T51" fmla="*/ 92 h 756"/>
                <a:gd name="T52" fmla="*/ 21 w 489"/>
                <a:gd name="T53" fmla="*/ 91 h 756"/>
                <a:gd name="T54" fmla="*/ 23 w 489"/>
                <a:gd name="T55" fmla="*/ 90 h 756"/>
                <a:gd name="T56" fmla="*/ 24 w 489"/>
                <a:gd name="T57" fmla="*/ 90 h 756"/>
                <a:gd name="T58" fmla="*/ 25 w 489"/>
                <a:gd name="T59" fmla="*/ 90 h 756"/>
                <a:gd name="T60" fmla="*/ 26 w 489"/>
                <a:gd name="T61" fmla="*/ 91 h 756"/>
                <a:gd name="T62" fmla="*/ 27 w 489"/>
                <a:gd name="T63" fmla="*/ 92 h 756"/>
                <a:gd name="T64" fmla="*/ 29 w 489"/>
                <a:gd name="T65" fmla="*/ 90 h 756"/>
                <a:gd name="T66" fmla="*/ 33 w 489"/>
                <a:gd name="T67" fmla="*/ 89 h 756"/>
                <a:gd name="T68" fmla="*/ 36 w 489"/>
                <a:gd name="T69" fmla="*/ 88 h 756"/>
                <a:gd name="T70" fmla="*/ 40 w 489"/>
                <a:gd name="T71" fmla="*/ 88 h 756"/>
                <a:gd name="T72" fmla="*/ 40 w 489"/>
                <a:gd name="T73" fmla="*/ 88 h 756"/>
                <a:gd name="T74" fmla="*/ 42 w 489"/>
                <a:gd name="T75" fmla="*/ 87 h 756"/>
                <a:gd name="T76" fmla="*/ 43 w 489"/>
                <a:gd name="T77" fmla="*/ 86 h 756"/>
                <a:gd name="T78" fmla="*/ 43 w 489"/>
                <a:gd name="T79" fmla="*/ 85 h 756"/>
                <a:gd name="T80" fmla="*/ 42 w 489"/>
                <a:gd name="T81" fmla="*/ 84 h 756"/>
                <a:gd name="T82" fmla="*/ 52 w 489"/>
                <a:gd name="T83" fmla="*/ 82 h 756"/>
                <a:gd name="T84" fmla="*/ 54 w 489"/>
                <a:gd name="T85" fmla="*/ 82 h 756"/>
                <a:gd name="T86" fmla="*/ 57 w 489"/>
                <a:gd name="T87" fmla="*/ 81 h 756"/>
                <a:gd name="T88" fmla="*/ 58 w 489"/>
                <a:gd name="T89" fmla="*/ 79 h 756"/>
                <a:gd name="T90" fmla="*/ 60 w 489"/>
                <a:gd name="T91" fmla="*/ 78 h 756"/>
                <a:gd name="T92" fmla="*/ 62 w 489"/>
                <a:gd name="T93" fmla="*/ 76 h 756"/>
                <a:gd name="T94" fmla="*/ 63 w 489"/>
                <a:gd name="T95" fmla="*/ 74 h 756"/>
                <a:gd name="T96" fmla="*/ 65 w 489"/>
                <a:gd name="T97" fmla="*/ 73 h 756"/>
                <a:gd name="T98" fmla="*/ 71 w 489"/>
                <a:gd name="T99" fmla="*/ 69 h 756"/>
                <a:gd name="T100" fmla="*/ 70 w 489"/>
                <a:gd name="T101" fmla="*/ 69 h 756"/>
                <a:gd name="T102" fmla="*/ 67 w 489"/>
                <a:gd name="T103" fmla="*/ 64 h 756"/>
                <a:gd name="T104" fmla="*/ 65 w 489"/>
                <a:gd name="T105" fmla="*/ 62 h 756"/>
                <a:gd name="T106" fmla="*/ 65 w 489"/>
                <a:gd name="T107" fmla="*/ 60 h 756"/>
                <a:gd name="T108" fmla="*/ 66 w 489"/>
                <a:gd name="T109" fmla="*/ 55 h 756"/>
                <a:gd name="T110" fmla="*/ 67 w 489"/>
                <a:gd name="T111" fmla="*/ 55 h 756"/>
                <a:gd name="T112" fmla="*/ 67 w 489"/>
                <a:gd name="T113" fmla="*/ 54 h 756"/>
                <a:gd name="T114" fmla="*/ 72 w 489"/>
                <a:gd name="T115" fmla="*/ 47 h 756"/>
                <a:gd name="T116" fmla="*/ 73 w 489"/>
                <a:gd name="T117" fmla="*/ 45 h 756"/>
                <a:gd name="T118" fmla="*/ 80 w 489"/>
                <a:gd name="T119" fmla="*/ 23 h 756"/>
                <a:gd name="T120" fmla="*/ 20 w 489"/>
                <a:gd name="T121" fmla="*/ 0 h 756"/>
                <a:gd name="T122" fmla="*/ 12 w 489"/>
                <a:gd name="T123" fmla="*/ 11 h 7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89"/>
                <a:gd name="T187" fmla="*/ 0 h 756"/>
                <a:gd name="T188" fmla="*/ 489 w 489"/>
                <a:gd name="T189" fmla="*/ 756 h 7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89" h="756">
                  <a:moveTo>
                    <a:pt x="75" y="88"/>
                  </a:moveTo>
                  <a:lnTo>
                    <a:pt x="82" y="101"/>
                  </a:lnTo>
                  <a:lnTo>
                    <a:pt x="82" y="104"/>
                  </a:lnTo>
                  <a:lnTo>
                    <a:pt x="88" y="119"/>
                  </a:lnTo>
                  <a:lnTo>
                    <a:pt x="96" y="130"/>
                  </a:lnTo>
                  <a:lnTo>
                    <a:pt x="121" y="144"/>
                  </a:lnTo>
                  <a:lnTo>
                    <a:pt x="108" y="165"/>
                  </a:lnTo>
                  <a:lnTo>
                    <a:pt x="92" y="313"/>
                  </a:lnTo>
                  <a:lnTo>
                    <a:pt x="14" y="400"/>
                  </a:lnTo>
                  <a:lnTo>
                    <a:pt x="14" y="409"/>
                  </a:lnTo>
                  <a:lnTo>
                    <a:pt x="9" y="411"/>
                  </a:lnTo>
                  <a:lnTo>
                    <a:pt x="10" y="420"/>
                  </a:lnTo>
                  <a:lnTo>
                    <a:pt x="3" y="421"/>
                  </a:lnTo>
                  <a:lnTo>
                    <a:pt x="0" y="425"/>
                  </a:lnTo>
                  <a:lnTo>
                    <a:pt x="1" y="434"/>
                  </a:lnTo>
                  <a:lnTo>
                    <a:pt x="14" y="438"/>
                  </a:lnTo>
                  <a:lnTo>
                    <a:pt x="19" y="443"/>
                  </a:lnTo>
                  <a:lnTo>
                    <a:pt x="24" y="447"/>
                  </a:lnTo>
                  <a:lnTo>
                    <a:pt x="30" y="453"/>
                  </a:lnTo>
                  <a:lnTo>
                    <a:pt x="33" y="471"/>
                  </a:lnTo>
                  <a:lnTo>
                    <a:pt x="46" y="473"/>
                  </a:lnTo>
                  <a:lnTo>
                    <a:pt x="57" y="472"/>
                  </a:lnTo>
                  <a:lnTo>
                    <a:pt x="68" y="476"/>
                  </a:lnTo>
                  <a:lnTo>
                    <a:pt x="74" y="474"/>
                  </a:lnTo>
                  <a:lnTo>
                    <a:pt x="81" y="487"/>
                  </a:lnTo>
                  <a:lnTo>
                    <a:pt x="78" y="491"/>
                  </a:lnTo>
                  <a:lnTo>
                    <a:pt x="76" y="497"/>
                  </a:lnTo>
                  <a:lnTo>
                    <a:pt x="69" y="504"/>
                  </a:lnTo>
                  <a:lnTo>
                    <a:pt x="56" y="507"/>
                  </a:lnTo>
                  <a:lnTo>
                    <a:pt x="58" y="512"/>
                  </a:lnTo>
                  <a:lnTo>
                    <a:pt x="63" y="535"/>
                  </a:lnTo>
                  <a:lnTo>
                    <a:pt x="70" y="549"/>
                  </a:lnTo>
                  <a:lnTo>
                    <a:pt x="66" y="591"/>
                  </a:lnTo>
                  <a:lnTo>
                    <a:pt x="86" y="625"/>
                  </a:lnTo>
                  <a:lnTo>
                    <a:pt x="89" y="637"/>
                  </a:lnTo>
                  <a:lnTo>
                    <a:pt x="88" y="640"/>
                  </a:lnTo>
                  <a:lnTo>
                    <a:pt x="84" y="642"/>
                  </a:lnTo>
                  <a:lnTo>
                    <a:pt x="55" y="636"/>
                  </a:lnTo>
                  <a:lnTo>
                    <a:pt x="39" y="639"/>
                  </a:lnTo>
                  <a:lnTo>
                    <a:pt x="36" y="641"/>
                  </a:lnTo>
                  <a:lnTo>
                    <a:pt x="33" y="646"/>
                  </a:lnTo>
                  <a:lnTo>
                    <a:pt x="32" y="658"/>
                  </a:lnTo>
                  <a:lnTo>
                    <a:pt x="33" y="667"/>
                  </a:lnTo>
                  <a:lnTo>
                    <a:pt x="42" y="680"/>
                  </a:lnTo>
                  <a:lnTo>
                    <a:pt x="49" y="685"/>
                  </a:lnTo>
                  <a:lnTo>
                    <a:pt x="66" y="690"/>
                  </a:lnTo>
                  <a:lnTo>
                    <a:pt x="69" y="692"/>
                  </a:lnTo>
                  <a:lnTo>
                    <a:pt x="89" y="755"/>
                  </a:lnTo>
                  <a:lnTo>
                    <a:pt x="91" y="756"/>
                  </a:lnTo>
                  <a:lnTo>
                    <a:pt x="94" y="754"/>
                  </a:lnTo>
                  <a:lnTo>
                    <a:pt x="110" y="752"/>
                  </a:lnTo>
                  <a:lnTo>
                    <a:pt x="116" y="754"/>
                  </a:lnTo>
                  <a:lnTo>
                    <a:pt x="120" y="754"/>
                  </a:lnTo>
                  <a:lnTo>
                    <a:pt x="128" y="747"/>
                  </a:lnTo>
                  <a:lnTo>
                    <a:pt x="139" y="745"/>
                  </a:lnTo>
                  <a:lnTo>
                    <a:pt x="140" y="740"/>
                  </a:lnTo>
                  <a:lnTo>
                    <a:pt x="143" y="739"/>
                  </a:lnTo>
                  <a:lnTo>
                    <a:pt x="146" y="738"/>
                  </a:lnTo>
                  <a:lnTo>
                    <a:pt x="149" y="738"/>
                  </a:lnTo>
                  <a:lnTo>
                    <a:pt x="150" y="738"/>
                  </a:lnTo>
                  <a:lnTo>
                    <a:pt x="153" y="743"/>
                  </a:lnTo>
                  <a:lnTo>
                    <a:pt x="156" y="745"/>
                  </a:lnTo>
                  <a:lnTo>
                    <a:pt x="162" y="751"/>
                  </a:lnTo>
                  <a:lnTo>
                    <a:pt x="165" y="750"/>
                  </a:lnTo>
                  <a:lnTo>
                    <a:pt x="166" y="746"/>
                  </a:lnTo>
                  <a:lnTo>
                    <a:pt x="179" y="743"/>
                  </a:lnTo>
                  <a:lnTo>
                    <a:pt x="186" y="738"/>
                  </a:lnTo>
                  <a:lnTo>
                    <a:pt x="203" y="730"/>
                  </a:lnTo>
                  <a:lnTo>
                    <a:pt x="216" y="731"/>
                  </a:lnTo>
                  <a:lnTo>
                    <a:pt x="222" y="727"/>
                  </a:lnTo>
                  <a:lnTo>
                    <a:pt x="243" y="727"/>
                  </a:lnTo>
                  <a:lnTo>
                    <a:pt x="244" y="727"/>
                  </a:lnTo>
                  <a:lnTo>
                    <a:pt x="245" y="722"/>
                  </a:lnTo>
                  <a:lnTo>
                    <a:pt x="247" y="719"/>
                  </a:lnTo>
                  <a:lnTo>
                    <a:pt x="251" y="719"/>
                  </a:lnTo>
                  <a:lnTo>
                    <a:pt x="255" y="716"/>
                  </a:lnTo>
                  <a:lnTo>
                    <a:pt x="257" y="710"/>
                  </a:lnTo>
                  <a:lnTo>
                    <a:pt x="261" y="707"/>
                  </a:lnTo>
                  <a:lnTo>
                    <a:pt x="263" y="703"/>
                  </a:lnTo>
                  <a:lnTo>
                    <a:pt x="261" y="697"/>
                  </a:lnTo>
                  <a:lnTo>
                    <a:pt x="256" y="693"/>
                  </a:lnTo>
                  <a:lnTo>
                    <a:pt x="256" y="691"/>
                  </a:lnTo>
                  <a:lnTo>
                    <a:pt x="257" y="687"/>
                  </a:lnTo>
                  <a:lnTo>
                    <a:pt x="315" y="678"/>
                  </a:lnTo>
                  <a:lnTo>
                    <a:pt x="319" y="680"/>
                  </a:lnTo>
                  <a:lnTo>
                    <a:pt x="328" y="675"/>
                  </a:lnTo>
                  <a:lnTo>
                    <a:pt x="332" y="668"/>
                  </a:lnTo>
                  <a:lnTo>
                    <a:pt x="348" y="662"/>
                  </a:lnTo>
                  <a:lnTo>
                    <a:pt x="350" y="659"/>
                  </a:lnTo>
                  <a:lnTo>
                    <a:pt x="354" y="651"/>
                  </a:lnTo>
                  <a:lnTo>
                    <a:pt x="367" y="637"/>
                  </a:lnTo>
                  <a:lnTo>
                    <a:pt x="370" y="636"/>
                  </a:lnTo>
                  <a:lnTo>
                    <a:pt x="375" y="634"/>
                  </a:lnTo>
                  <a:lnTo>
                    <a:pt x="380" y="626"/>
                  </a:lnTo>
                  <a:lnTo>
                    <a:pt x="385" y="624"/>
                  </a:lnTo>
                  <a:lnTo>
                    <a:pt x="385" y="612"/>
                  </a:lnTo>
                  <a:lnTo>
                    <a:pt x="389" y="601"/>
                  </a:lnTo>
                  <a:lnTo>
                    <a:pt x="394" y="597"/>
                  </a:lnTo>
                  <a:lnTo>
                    <a:pt x="437" y="586"/>
                  </a:lnTo>
                  <a:lnTo>
                    <a:pt x="434" y="571"/>
                  </a:lnTo>
                  <a:lnTo>
                    <a:pt x="431" y="568"/>
                  </a:lnTo>
                  <a:lnTo>
                    <a:pt x="426" y="564"/>
                  </a:lnTo>
                  <a:lnTo>
                    <a:pt x="425" y="563"/>
                  </a:lnTo>
                  <a:lnTo>
                    <a:pt x="411" y="521"/>
                  </a:lnTo>
                  <a:lnTo>
                    <a:pt x="412" y="508"/>
                  </a:lnTo>
                  <a:lnTo>
                    <a:pt x="394" y="513"/>
                  </a:lnTo>
                  <a:lnTo>
                    <a:pt x="391" y="513"/>
                  </a:lnTo>
                  <a:lnTo>
                    <a:pt x="392" y="495"/>
                  </a:lnTo>
                  <a:lnTo>
                    <a:pt x="399" y="479"/>
                  </a:lnTo>
                  <a:lnTo>
                    <a:pt x="401" y="458"/>
                  </a:lnTo>
                  <a:lnTo>
                    <a:pt x="404" y="454"/>
                  </a:lnTo>
                  <a:lnTo>
                    <a:pt x="410" y="451"/>
                  </a:lnTo>
                  <a:lnTo>
                    <a:pt x="411" y="450"/>
                  </a:lnTo>
                  <a:lnTo>
                    <a:pt x="412" y="446"/>
                  </a:lnTo>
                  <a:lnTo>
                    <a:pt x="411" y="428"/>
                  </a:lnTo>
                  <a:lnTo>
                    <a:pt x="438" y="390"/>
                  </a:lnTo>
                  <a:lnTo>
                    <a:pt x="441" y="373"/>
                  </a:lnTo>
                  <a:lnTo>
                    <a:pt x="442" y="371"/>
                  </a:lnTo>
                  <a:lnTo>
                    <a:pt x="489" y="368"/>
                  </a:lnTo>
                  <a:lnTo>
                    <a:pt x="489" y="191"/>
                  </a:lnTo>
                  <a:lnTo>
                    <a:pt x="482" y="190"/>
                  </a:lnTo>
                  <a:lnTo>
                    <a:pt x="122" y="0"/>
                  </a:lnTo>
                  <a:lnTo>
                    <a:pt x="75" y="17"/>
                  </a:lnTo>
                  <a:lnTo>
                    <a:pt x="75" y="8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8" name="Freeform 55"/>
            <p:cNvSpPr>
              <a:spLocks/>
            </p:cNvSpPr>
            <p:nvPr/>
          </p:nvSpPr>
          <p:spPr bwMode="auto">
            <a:xfrm>
              <a:off x="4002777" y="2095165"/>
              <a:ext cx="582901" cy="755132"/>
            </a:xfrm>
            <a:custGeom>
              <a:avLst/>
              <a:gdLst>
                <a:gd name="T0" fmla="*/ 13 w 489"/>
                <a:gd name="T1" fmla="*/ 12 h 756"/>
                <a:gd name="T2" fmla="*/ 15 w 489"/>
                <a:gd name="T3" fmla="*/ 15 h 756"/>
                <a:gd name="T4" fmla="*/ 20 w 489"/>
                <a:gd name="T5" fmla="*/ 17 h 756"/>
                <a:gd name="T6" fmla="*/ 15 w 489"/>
                <a:gd name="T7" fmla="*/ 38 h 756"/>
                <a:gd name="T8" fmla="*/ 2 w 489"/>
                <a:gd name="T9" fmla="*/ 50 h 756"/>
                <a:gd name="T10" fmla="*/ 2 w 489"/>
                <a:gd name="T11" fmla="*/ 51 h 756"/>
                <a:gd name="T12" fmla="*/ 0 w 489"/>
                <a:gd name="T13" fmla="*/ 52 h 756"/>
                <a:gd name="T14" fmla="*/ 2 w 489"/>
                <a:gd name="T15" fmla="*/ 53 h 756"/>
                <a:gd name="T16" fmla="*/ 4 w 489"/>
                <a:gd name="T17" fmla="*/ 54 h 756"/>
                <a:gd name="T18" fmla="*/ 5 w 489"/>
                <a:gd name="T19" fmla="*/ 58 h 756"/>
                <a:gd name="T20" fmla="*/ 9 w 489"/>
                <a:gd name="T21" fmla="*/ 58 h 756"/>
                <a:gd name="T22" fmla="*/ 12 w 489"/>
                <a:gd name="T23" fmla="*/ 58 h 756"/>
                <a:gd name="T24" fmla="*/ 13 w 489"/>
                <a:gd name="T25" fmla="*/ 60 h 756"/>
                <a:gd name="T26" fmla="*/ 11 w 489"/>
                <a:gd name="T27" fmla="*/ 61 h 756"/>
                <a:gd name="T28" fmla="*/ 9 w 489"/>
                <a:gd name="T29" fmla="*/ 62 h 756"/>
                <a:gd name="T30" fmla="*/ 11 w 489"/>
                <a:gd name="T31" fmla="*/ 67 h 756"/>
                <a:gd name="T32" fmla="*/ 14 w 489"/>
                <a:gd name="T33" fmla="*/ 76 h 756"/>
                <a:gd name="T34" fmla="*/ 15 w 489"/>
                <a:gd name="T35" fmla="*/ 78 h 756"/>
                <a:gd name="T36" fmla="*/ 9 w 489"/>
                <a:gd name="T37" fmla="*/ 78 h 756"/>
                <a:gd name="T38" fmla="*/ 6 w 489"/>
                <a:gd name="T39" fmla="*/ 78 h 756"/>
                <a:gd name="T40" fmla="*/ 5 w 489"/>
                <a:gd name="T41" fmla="*/ 80 h 756"/>
                <a:gd name="T42" fmla="*/ 7 w 489"/>
                <a:gd name="T43" fmla="*/ 83 h 756"/>
                <a:gd name="T44" fmla="*/ 11 w 489"/>
                <a:gd name="T45" fmla="*/ 84 h 756"/>
                <a:gd name="T46" fmla="*/ 15 w 489"/>
                <a:gd name="T47" fmla="*/ 92 h 756"/>
                <a:gd name="T48" fmla="*/ 15 w 489"/>
                <a:gd name="T49" fmla="*/ 92 h 756"/>
                <a:gd name="T50" fmla="*/ 19 w 489"/>
                <a:gd name="T51" fmla="*/ 92 h 756"/>
                <a:gd name="T52" fmla="*/ 21 w 489"/>
                <a:gd name="T53" fmla="*/ 91 h 756"/>
                <a:gd name="T54" fmla="*/ 23 w 489"/>
                <a:gd name="T55" fmla="*/ 90 h 756"/>
                <a:gd name="T56" fmla="*/ 24 w 489"/>
                <a:gd name="T57" fmla="*/ 90 h 756"/>
                <a:gd name="T58" fmla="*/ 25 w 489"/>
                <a:gd name="T59" fmla="*/ 90 h 756"/>
                <a:gd name="T60" fmla="*/ 26 w 489"/>
                <a:gd name="T61" fmla="*/ 91 h 756"/>
                <a:gd name="T62" fmla="*/ 27 w 489"/>
                <a:gd name="T63" fmla="*/ 92 h 756"/>
                <a:gd name="T64" fmla="*/ 29 w 489"/>
                <a:gd name="T65" fmla="*/ 90 h 756"/>
                <a:gd name="T66" fmla="*/ 33 w 489"/>
                <a:gd name="T67" fmla="*/ 89 h 756"/>
                <a:gd name="T68" fmla="*/ 36 w 489"/>
                <a:gd name="T69" fmla="*/ 88 h 756"/>
                <a:gd name="T70" fmla="*/ 40 w 489"/>
                <a:gd name="T71" fmla="*/ 88 h 756"/>
                <a:gd name="T72" fmla="*/ 40 w 489"/>
                <a:gd name="T73" fmla="*/ 88 h 756"/>
                <a:gd name="T74" fmla="*/ 42 w 489"/>
                <a:gd name="T75" fmla="*/ 87 h 756"/>
                <a:gd name="T76" fmla="*/ 43 w 489"/>
                <a:gd name="T77" fmla="*/ 86 h 756"/>
                <a:gd name="T78" fmla="*/ 43 w 489"/>
                <a:gd name="T79" fmla="*/ 85 h 756"/>
                <a:gd name="T80" fmla="*/ 42 w 489"/>
                <a:gd name="T81" fmla="*/ 84 h 756"/>
                <a:gd name="T82" fmla="*/ 52 w 489"/>
                <a:gd name="T83" fmla="*/ 82 h 756"/>
                <a:gd name="T84" fmla="*/ 54 w 489"/>
                <a:gd name="T85" fmla="*/ 82 h 756"/>
                <a:gd name="T86" fmla="*/ 57 w 489"/>
                <a:gd name="T87" fmla="*/ 81 h 756"/>
                <a:gd name="T88" fmla="*/ 58 w 489"/>
                <a:gd name="T89" fmla="*/ 79 h 756"/>
                <a:gd name="T90" fmla="*/ 60 w 489"/>
                <a:gd name="T91" fmla="*/ 78 h 756"/>
                <a:gd name="T92" fmla="*/ 62 w 489"/>
                <a:gd name="T93" fmla="*/ 76 h 756"/>
                <a:gd name="T94" fmla="*/ 63 w 489"/>
                <a:gd name="T95" fmla="*/ 74 h 756"/>
                <a:gd name="T96" fmla="*/ 65 w 489"/>
                <a:gd name="T97" fmla="*/ 73 h 756"/>
                <a:gd name="T98" fmla="*/ 71 w 489"/>
                <a:gd name="T99" fmla="*/ 69 h 756"/>
                <a:gd name="T100" fmla="*/ 70 w 489"/>
                <a:gd name="T101" fmla="*/ 69 h 756"/>
                <a:gd name="T102" fmla="*/ 67 w 489"/>
                <a:gd name="T103" fmla="*/ 64 h 756"/>
                <a:gd name="T104" fmla="*/ 65 w 489"/>
                <a:gd name="T105" fmla="*/ 62 h 756"/>
                <a:gd name="T106" fmla="*/ 65 w 489"/>
                <a:gd name="T107" fmla="*/ 60 h 756"/>
                <a:gd name="T108" fmla="*/ 66 w 489"/>
                <a:gd name="T109" fmla="*/ 55 h 756"/>
                <a:gd name="T110" fmla="*/ 67 w 489"/>
                <a:gd name="T111" fmla="*/ 55 h 756"/>
                <a:gd name="T112" fmla="*/ 67 w 489"/>
                <a:gd name="T113" fmla="*/ 54 h 756"/>
                <a:gd name="T114" fmla="*/ 72 w 489"/>
                <a:gd name="T115" fmla="*/ 47 h 756"/>
                <a:gd name="T116" fmla="*/ 73 w 489"/>
                <a:gd name="T117" fmla="*/ 45 h 756"/>
                <a:gd name="T118" fmla="*/ 80 w 489"/>
                <a:gd name="T119" fmla="*/ 23 h 756"/>
                <a:gd name="T120" fmla="*/ 20 w 489"/>
                <a:gd name="T121" fmla="*/ 0 h 756"/>
                <a:gd name="T122" fmla="*/ 12 w 489"/>
                <a:gd name="T123" fmla="*/ 11 h 7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89"/>
                <a:gd name="T187" fmla="*/ 0 h 756"/>
                <a:gd name="T188" fmla="*/ 489 w 489"/>
                <a:gd name="T189" fmla="*/ 756 h 7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89" h="756">
                  <a:moveTo>
                    <a:pt x="75" y="88"/>
                  </a:moveTo>
                  <a:lnTo>
                    <a:pt x="82" y="101"/>
                  </a:lnTo>
                  <a:lnTo>
                    <a:pt x="82" y="104"/>
                  </a:lnTo>
                  <a:lnTo>
                    <a:pt x="88" y="119"/>
                  </a:lnTo>
                  <a:lnTo>
                    <a:pt x="96" y="130"/>
                  </a:lnTo>
                  <a:lnTo>
                    <a:pt x="121" y="144"/>
                  </a:lnTo>
                  <a:lnTo>
                    <a:pt x="108" y="165"/>
                  </a:lnTo>
                  <a:lnTo>
                    <a:pt x="92" y="313"/>
                  </a:lnTo>
                  <a:lnTo>
                    <a:pt x="14" y="400"/>
                  </a:lnTo>
                  <a:lnTo>
                    <a:pt x="14" y="409"/>
                  </a:lnTo>
                  <a:lnTo>
                    <a:pt x="9" y="411"/>
                  </a:lnTo>
                  <a:lnTo>
                    <a:pt x="10" y="420"/>
                  </a:lnTo>
                  <a:lnTo>
                    <a:pt x="3" y="421"/>
                  </a:lnTo>
                  <a:lnTo>
                    <a:pt x="0" y="425"/>
                  </a:lnTo>
                  <a:lnTo>
                    <a:pt x="1" y="434"/>
                  </a:lnTo>
                  <a:lnTo>
                    <a:pt x="14" y="438"/>
                  </a:lnTo>
                  <a:lnTo>
                    <a:pt x="19" y="443"/>
                  </a:lnTo>
                  <a:lnTo>
                    <a:pt x="24" y="447"/>
                  </a:lnTo>
                  <a:lnTo>
                    <a:pt x="30" y="453"/>
                  </a:lnTo>
                  <a:lnTo>
                    <a:pt x="33" y="471"/>
                  </a:lnTo>
                  <a:lnTo>
                    <a:pt x="46" y="473"/>
                  </a:lnTo>
                  <a:lnTo>
                    <a:pt x="57" y="472"/>
                  </a:lnTo>
                  <a:lnTo>
                    <a:pt x="68" y="476"/>
                  </a:lnTo>
                  <a:lnTo>
                    <a:pt x="74" y="474"/>
                  </a:lnTo>
                  <a:lnTo>
                    <a:pt x="81" y="487"/>
                  </a:lnTo>
                  <a:lnTo>
                    <a:pt x="78" y="491"/>
                  </a:lnTo>
                  <a:lnTo>
                    <a:pt x="76" y="497"/>
                  </a:lnTo>
                  <a:lnTo>
                    <a:pt x="69" y="504"/>
                  </a:lnTo>
                  <a:lnTo>
                    <a:pt x="56" y="507"/>
                  </a:lnTo>
                  <a:lnTo>
                    <a:pt x="58" y="512"/>
                  </a:lnTo>
                  <a:lnTo>
                    <a:pt x="63" y="535"/>
                  </a:lnTo>
                  <a:lnTo>
                    <a:pt x="70" y="549"/>
                  </a:lnTo>
                  <a:lnTo>
                    <a:pt x="66" y="591"/>
                  </a:lnTo>
                  <a:lnTo>
                    <a:pt x="86" y="625"/>
                  </a:lnTo>
                  <a:lnTo>
                    <a:pt x="89" y="637"/>
                  </a:lnTo>
                  <a:lnTo>
                    <a:pt x="88" y="640"/>
                  </a:lnTo>
                  <a:lnTo>
                    <a:pt x="84" y="642"/>
                  </a:lnTo>
                  <a:lnTo>
                    <a:pt x="55" y="636"/>
                  </a:lnTo>
                  <a:lnTo>
                    <a:pt x="39" y="639"/>
                  </a:lnTo>
                  <a:lnTo>
                    <a:pt x="36" y="641"/>
                  </a:lnTo>
                  <a:lnTo>
                    <a:pt x="33" y="646"/>
                  </a:lnTo>
                  <a:lnTo>
                    <a:pt x="32" y="658"/>
                  </a:lnTo>
                  <a:lnTo>
                    <a:pt x="33" y="667"/>
                  </a:lnTo>
                  <a:lnTo>
                    <a:pt x="42" y="680"/>
                  </a:lnTo>
                  <a:lnTo>
                    <a:pt x="49" y="685"/>
                  </a:lnTo>
                  <a:lnTo>
                    <a:pt x="66" y="690"/>
                  </a:lnTo>
                  <a:lnTo>
                    <a:pt x="69" y="692"/>
                  </a:lnTo>
                  <a:lnTo>
                    <a:pt x="89" y="755"/>
                  </a:lnTo>
                  <a:lnTo>
                    <a:pt x="91" y="756"/>
                  </a:lnTo>
                  <a:lnTo>
                    <a:pt x="94" y="754"/>
                  </a:lnTo>
                  <a:lnTo>
                    <a:pt x="110" y="752"/>
                  </a:lnTo>
                  <a:lnTo>
                    <a:pt x="116" y="754"/>
                  </a:lnTo>
                  <a:lnTo>
                    <a:pt x="120" y="754"/>
                  </a:lnTo>
                  <a:lnTo>
                    <a:pt x="128" y="747"/>
                  </a:lnTo>
                  <a:lnTo>
                    <a:pt x="139" y="745"/>
                  </a:lnTo>
                  <a:lnTo>
                    <a:pt x="140" y="740"/>
                  </a:lnTo>
                  <a:lnTo>
                    <a:pt x="143" y="739"/>
                  </a:lnTo>
                  <a:lnTo>
                    <a:pt x="146" y="738"/>
                  </a:lnTo>
                  <a:lnTo>
                    <a:pt x="149" y="738"/>
                  </a:lnTo>
                  <a:lnTo>
                    <a:pt x="150" y="738"/>
                  </a:lnTo>
                  <a:lnTo>
                    <a:pt x="153" y="743"/>
                  </a:lnTo>
                  <a:lnTo>
                    <a:pt x="156" y="745"/>
                  </a:lnTo>
                  <a:lnTo>
                    <a:pt x="162" y="751"/>
                  </a:lnTo>
                  <a:lnTo>
                    <a:pt x="165" y="750"/>
                  </a:lnTo>
                  <a:lnTo>
                    <a:pt x="166" y="746"/>
                  </a:lnTo>
                  <a:lnTo>
                    <a:pt x="179" y="743"/>
                  </a:lnTo>
                  <a:lnTo>
                    <a:pt x="186" y="738"/>
                  </a:lnTo>
                  <a:lnTo>
                    <a:pt x="203" y="730"/>
                  </a:lnTo>
                  <a:lnTo>
                    <a:pt x="216" y="731"/>
                  </a:lnTo>
                  <a:lnTo>
                    <a:pt x="222" y="727"/>
                  </a:lnTo>
                  <a:lnTo>
                    <a:pt x="243" y="727"/>
                  </a:lnTo>
                  <a:lnTo>
                    <a:pt x="244" y="727"/>
                  </a:lnTo>
                  <a:lnTo>
                    <a:pt x="245" y="722"/>
                  </a:lnTo>
                  <a:lnTo>
                    <a:pt x="247" y="719"/>
                  </a:lnTo>
                  <a:lnTo>
                    <a:pt x="251" y="719"/>
                  </a:lnTo>
                  <a:lnTo>
                    <a:pt x="255" y="716"/>
                  </a:lnTo>
                  <a:lnTo>
                    <a:pt x="257" y="710"/>
                  </a:lnTo>
                  <a:lnTo>
                    <a:pt x="261" y="707"/>
                  </a:lnTo>
                  <a:lnTo>
                    <a:pt x="263" y="703"/>
                  </a:lnTo>
                  <a:lnTo>
                    <a:pt x="261" y="697"/>
                  </a:lnTo>
                  <a:lnTo>
                    <a:pt x="256" y="693"/>
                  </a:lnTo>
                  <a:lnTo>
                    <a:pt x="256" y="691"/>
                  </a:lnTo>
                  <a:lnTo>
                    <a:pt x="257" y="687"/>
                  </a:lnTo>
                  <a:lnTo>
                    <a:pt x="315" y="678"/>
                  </a:lnTo>
                  <a:lnTo>
                    <a:pt x="319" y="680"/>
                  </a:lnTo>
                  <a:lnTo>
                    <a:pt x="328" y="675"/>
                  </a:lnTo>
                  <a:lnTo>
                    <a:pt x="332" y="668"/>
                  </a:lnTo>
                  <a:lnTo>
                    <a:pt x="348" y="662"/>
                  </a:lnTo>
                  <a:lnTo>
                    <a:pt x="350" y="659"/>
                  </a:lnTo>
                  <a:lnTo>
                    <a:pt x="354" y="651"/>
                  </a:lnTo>
                  <a:lnTo>
                    <a:pt x="367" y="637"/>
                  </a:lnTo>
                  <a:lnTo>
                    <a:pt x="370" y="636"/>
                  </a:lnTo>
                  <a:lnTo>
                    <a:pt x="375" y="634"/>
                  </a:lnTo>
                  <a:lnTo>
                    <a:pt x="380" y="626"/>
                  </a:lnTo>
                  <a:lnTo>
                    <a:pt x="385" y="624"/>
                  </a:lnTo>
                  <a:lnTo>
                    <a:pt x="385" y="612"/>
                  </a:lnTo>
                  <a:lnTo>
                    <a:pt x="389" y="601"/>
                  </a:lnTo>
                  <a:lnTo>
                    <a:pt x="394" y="597"/>
                  </a:lnTo>
                  <a:lnTo>
                    <a:pt x="437" y="586"/>
                  </a:lnTo>
                  <a:lnTo>
                    <a:pt x="434" y="571"/>
                  </a:lnTo>
                  <a:lnTo>
                    <a:pt x="431" y="568"/>
                  </a:lnTo>
                  <a:lnTo>
                    <a:pt x="426" y="564"/>
                  </a:lnTo>
                  <a:lnTo>
                    <a:pt x="425" y="563"/>
                  </a:lnTo>
                  <a:lnTo>
                    <a:pt x="411" y="521"/>
                  </a:lnTo>
                  <a:lnTo>
                    <a:pt x="412" y="508"/>
                  </a:lnTo>
                  <a:lnTo>
                    <a:pt x="394" y="513"/>
                  </a:lnTo>
                  <a:lnTo>
                    <a:pt x="391" y="513"/>
                  </a:lnTo>
                  <a:lnTo>
                    <a:pt x="392" y="495"/>
                  </a:lnTo>
                  <a:lnTo>
                    <a:pt x="399" y="479"/>
                  </a:lnTo>
                  <a:lnTo>
                    <a:pt x="401" y="458"/>
                  </a:lnTo>
                  <a:lnTo>
                    <a:pt x="404" y="454"/>
                  </a:lnTo>
                  <a:lnTo>
                    <a:pt x="410" y="451"/>
                  </a:lnTo>
                  <a:lnTo>
                    <a:pt x="411" y="450"/>
                  </a:lnTo>
                  <a:lnTo>
                    <a:pt x="412" y="446"/>
                  </a:lnTo>
                  <a:lnTo>
                    <a:pt x="411" y="428"/>
                  </a:lnTo>
                  <a:lnTo>
                    <a:pt x="438" y="390"/>
                  </a:lnTo>
                  <a:lnTo>
                    <a:pt x="441" y="373"/>
                  </a:lnTo>
                  <a:lnTo>
                    <a:pt x="442" y="371"/>
                  </a:lnTo>
                  <a:lnTo>
                    <a:pt x="489" y="368"/>
                  </a:lnTo>
                  <a:lnTo>
                    <a:pt x="489" y="191"/>
                  </a:lnTo>
                  <a:lnTo>
                    <a:pt x="482" y="190"/>
                  </a:lnTo>
                  <a:lnTo>
                    <a:pt x="122" y="0"/>
                  </a:lnTo>
                  <a:lnTo>
                    <a:pt x="75" y="17"/>
                  </a:lnTo>
                  <a:lnTo>
                    <a:pt x="75" y="8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49" name="Freeform 56"/>
            <p:cNvSpPr>
              <a:spLocks/>
            </p:cNvSpPr>
            <p:nvPr/>
          </p:nvSpPr>
          <p:spPr bwMode="auto">
            <a:xfrm>
              <a:off x="4374454" y="1095124"/>
              <a:ext cx="351365" cy="241198"/>
            </a:xfrm>
            <a:custGeom>
              <a:avLst/>
              <a:gdLst>
                <a:gd name="T0" fmla="*/ 44 w 294"/>
                <a:gd name="T1" fmla="*/ 7 h 245"/>
                <a:gd name="T2" fmla="*/ 35 w 294"/>
                <a:gd name="T3" fmla="*/ 6 h 245"/>
                <a:gd name="T4" fmla="*/ 32 w 294"/>
                <a:gd name="T5" fmla="*/ 6 h 245"/>
                <a:gd name="T6" fmla="*/ 28 w 294"/>
                <a:gd name="T7" fmla="*/ 7 h 245"/>
                <a:gd name="T8" fmla="*/ 28 w 294"/>
                <a:gd name="T9" fmla="*/ 9 h 245"/>
                <a:gd name="T10" fmla="*/ 31 w 294"/>
                <a:gd name="T11" fmla="*/ 11 h 245"/>
                <a:gd name="T12" fmla="*/ 30 w 294"/>
                <a:gd name="T13" fmla="*/ 11 h 245"/>
                <a:gd name="T14" fmla="*/ 27 w 294"/>
                <a:gd name="T15" fmla="*/ 11 h 245"/>
                <a:gd name="T16" fmla="*/ 29 w 294"/>
                <a:gd name="T17" fmla="*/ 13 h 245"/>
                <a:gd name="T18" fmla="*/ 26 w 294"/>
                <a:gd name="T19" fmla="*/ 11 h 245"/>
                <a:gd name="T20" fmla="*/ 25 w 294"/>
                <a:gd name="T21" fmla="*/ 12 h 245"/>
                <a:gd name="T22" fmla="*/ 26 w 294"/>
                <a:gd name="T23" fmla="*/ 13 h 245"/>
                <a:gd name="T24" fmla="*/ 24 w 294"/>
                <a:gd name="T25" fmla="*/ 11 h 245"/>
                <a:gd name="T26" fmla="*/ 20 w 294"/>
                <a:gd name="T27" fmla="*/ 9 h 245"/>
                <a:gd name="T28" fmla="*/ 19 w 294"/>
                <a:gd name="T29" fmla="*/ 8 h 245"/>
                <a:gd name="T30" fmla="*/ 19 w 294"/>
                <a:gd name="T31" fmla="*/ 13 h 245"/>
                <a:gd name="T32" fmla="*/ 22 w 294"/>
                <a:gd name="T33" fmla="*/ 16 h 245"/>
                <a:gd name="T34" fmla="*/ 23 w 294"/>
                <a:gd name="T35" fmla="*/ 19 h 245"/>
                <a:gd name="T36" fmla="*/ 22 w 294"/>
                <a:gd name="T37" fmla="*/ 18 h 245"/>
                <a:gd name="T38" fmla="*/ 21 w 294"/>
                <a:gd name="T39" fmla="*/ 17 h 245"/>
                <a:gd name="T40" fmla="*/ 21 w 294"/>
                <a:gd name="T41" fmla="*/ 20 h 245"/>
                <a:gd name="T42" fmla="*/ 18 w 294"/>
                <a:gd name="T43" fmla="*/ 20 h 245"/>
                <a:gd name="T44" fmla="*/ 22 w 294"/>
                <a:gd name="T45" fmla="*/ 21 h 245"/>
                <a:gd name="T46" fmla="*/ 24 w 294"/>
                <a:gd name="T47" fmla="*/ 23 h 245"/>
                <a:gd name="T48" fmla="*/ 27 w 294"/>
                <a:gd name="T49" fmla="*/ 24 h 245"/>
                <a:gd name="T50" fmla="*/ 29 w 294"/>
                <a:gd name="T51" fmla="*/ 25 h 245"/>
                <a:gd name="T52" fmla="*/ 27 w 294"/>
                <a:gd name="T53" fmla="*/ 28 h 245"/>
                <a:gd name="T54" fmla="*/ 22 w 294"/>
                <a:gd name="T55" fmla="*/ 27 h 245"/>
                <a:gd name="T56" fmla="*/ 22 w 294"/>
                <a:gd name="T57" fmla="*/ 25 h 245"/>
                <a:gd name="T58" fmla="*/ 21 w 294"/>
                <a:gd name="T59" fmla="*/ 25 h 245"/>
                <a:gd name="T60" fmla="*/ 18 w 294"/>
                <a:gd name="T61" fmla="*/ 24 h 245"/>
                <a:gd name="T62" fmla="*/ 15 w 294"/>
                <a:gd name="T63" fmla="*/ 24 h 245"/>
                <a:gd name="T64" fmla="*/ 11 w 294"/>
                <a:gd name="T65" fmla="*/ 24 h 245"/>
                <a:gd name="T66" fmla="*/ 9 w 294"/>
                <a:gd name="T67" fmla="*/ 23 h 245"/>
                <a:gd name="T68" fmla="*/ 8 w 294"/>
                <a:gd name="T69" fmla="*/ 24 h 245"/>
                <a:gd name="T70" fmla="*/ 6 w 294"/>
                <a:gd name="T71" fmla="*/ 20 h 245"/>
                <a:gd name="T72" fmla="*/ 6 w 294"/>
                <a:gd name="T73" fmla="*/ 20 h 245"/>
                <a:gd name="T74" fmla="*/ 5 w 294"/>
                <a:gd name="T75" fmla="*/ 20 h 245"/>
                <a:gd name="T76" fmla="*/ 1 w 294"/>
                <a:gd name="T77" fmla="*/ 16 h 245"/>
                <a:gd name="T78" fmla="*/ 1 w 294"/>
                <a:gd name="T79" fmla="*/ 15 h 245"/>
                <a:gd name="T80" fmla="*/ 1 w 294"/>
                <a:gd name="T81" fmla="*/ 15 h 245"/>
                <a:gd name="T82" fmla="*/ 2 w 294"/>
                <a:gd name="T83" fmla="*/ 13 h 245"/>
                <a:gd name="T84" fmla="*/ 4 w 294"/>
                <a:gd name="T85" fmla="*/ 12 h 245"/>
                <a:gd name="T86" fmla="*/ 6 w 294"/>
                <a:gd name="T87" fmla="*/ 8 h 245"/>
                <a:gd name="T88" fmla="*/ 11 w 294"/>
                <a:gd name="T89" fmla="*/ 6 h 245"/>
                <a:gd name="T90" fmla="*/ 15 w 294"/>
                <a:gd name="T91" fmla="*/ 4 h 245"/>
                <a:gd name="T92" fmla="*/ 20 w 294"/>
                <a:gd name="T93" fmla="*/ 3 h 245"/>
                <a:gd name="T94" fmla="*/ 35 w 294"/>
                <a:gd name="T95" fmla="*/ 2 h 245"/>
                <a:gd name="T96" fmla="*/ 43 w 294"/>
                <a:gd name="T97" fmla="*/ 3 h 245"/>
                <a:gd name="T98" fmla="*/ 45 w 294"/>
                <a:gd name="T99" fmla="*/ 1 h 245"/>
                <a:gd name="T100" fmla="*/ 48 w 294"/>
                <a:gd name="T101" fmla="*/ 1 h 245"/>
                <a:gd name="T102" fmla="*/ 48 w 294"/>
                <a:gd name="T103" fmla="*/ 2 h 245"/>
                <a:gd name="T104" fmla="*/ 46 w 294"/>
                <a:gd name="T105" fmla="*/ 6 h 24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94"/>
                <a:gd name="T160" fmla="*/ 0 h 245"/>
                <a:gd name="T161" fmla="*/ 294 w 294"/>
                <a:gd name="T162" fmla="*/ 245 h 24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94" h="245">
                  <a:moveTo>
                    <a:pt x="270" y="65"/>
                  </a:moveTo>
                  <a:lnTo>
                    <a:pt x="263" y="59"/>
                  </a:lnTo>
                  <a:lnTo>
                    <a:pt x="224" y="49"/>
                  </a:lnTo>
                  <a:lnTo>
                    <a:pt x="210" y="56"/>
                  </a:lnTo>
                  <a:lnTo>
                    <a:pt x="204" y="56"/>
                  </a:lnTo>
                  <a:lnTo>
                    <a:pt x="196" y="52"/>
                  </a:lnTo>
                  <a:lnTo>
                    <a:pt x="186" y="61"/>
                  </a:lnTo>
                  <a:lnTo>
                    <a:pt x="173" y="64"/>
                  </a:lnTo>
                  <a:lnTo>
                    <a:pt x="161" y="72"/>
                  </a:lnTo>
                  <a:lnTo>
                    <a:pt x="168" y="79"/>
                  </a:lnTo>
                  <a:lnTo>
                    <a:pt x="179" y="84"/>
                  </a:lnTo>
                  <a:lnTo>
                    <a:pt x="187" y="93"/>
                  </a:lnTo>
                  <a:lnTo>
                    <a:pt x="190" y="97"/>
                  </a:lnTo>
                  <a:lnTo>
                    <a:pt x="180" y="90"/>
                  </a:lnTo>
                  <a:lnTo>
                    <a:pt x="168" y="87"/>
                  </a:lnTo>
                  <a:lnTo>
                    <a:pt x="164" y="94"/>
                  </a:lnTo>
                  <a:lnTo>
                    <a:pt x="173" y="101"/>
                  </a:lnTo>
                  <a:lnTo>
                    <a:pt x="174" y="112"/>
                  </a:lnTo>
                  <a:lnTo>
                    <a:pt x="163" y="96"/>
                  </a:lnTo>
                  <a:lnTo>
                    <a:pt x="154" y="93"/>
                  </a:lnTo>
                  <a:lnTo>
                    <a:pt x="150" y="94"/>
                  </a:lnTo>
                  <a:lnTo>
                    <a:pt x="152" y="104"/>
                  </a:lnTo>
                  <a:lnTo>
                    <a:pt x="161" y="110"/>
                  </a:lnTo>
                  <a:lnTo>
                    <a:pt x="156" y="113"/>
                  </a:lnTo>
                  <a:lnTo>
                    <a:pt x="147" y="105"/>
                  </a:lnTo>
                  <a:lnTo>
                    <a:pt x="143" y="94"/>
                  </a:lnTo>
                  <a:lnTo>
                    <a:pt x="124" y="81"/>
                  </a:lnTo>
                  <a:lnTo>
                    <a:pt x="122" y="78"/>
                  </a:lnTo>
                  <a:lnTo>
                    <a:pt x="126" y="72"/>
                  </a:lnTo>
                  <a:lnTo>
                    <a:pt x="114" y="76"/>
                  </a:lnTo>
                  <a:lnTo>
                    <a:pt x="113" y="111"/>
                  </a:lnTo>
                  <a:lnTo>
                    <a:pt x="119" y="117"/>
                  </a:lnTo>
                  <a:lnTo>
                    <a:pt x="122" y="129"/>
                  </a:lnTo>
                  <a:lnTo>
                    <a:pt x="137" y="144"/>
                  </a:lnTo>
                  <a:lnTo>
                    <a:pt x="143" y="158"/>
                  </a:lnTo>
                  <a:lnTo>
                    <a:pt x="139" y="161"/>
                  </a:lnTo>
                  <a:lnTo>
                    <a:pt x="136" y="160"/>
                  </a:lnTo>
                  <a:lnTo>
                    <a:pt x="137" y="155"/>
                  </a:lnTo>
                  <a:lnTo>
                    <a:pt x="134" y="150"/>
                  </a:lnTo>
                  <a:lnTo>
                    <a:pt x="126" y="149"/>
                  </a:lnTo>
                  <a:lnTo>
                    <a:pt x="125" y="156"/>
                  </a:lnTo>
                  <a:lnTo>
                    <a:pt x="129" y="168"/>
                  </a:lnTo>
                  <a:lnTo>
                    <a:pt x="126" y="170"/>
                  </a:lnTo>
                  <a:lnTo>
                    <a:pt x="109" y="172"/>
                  </a:lnTo>
                  <a:lnTo>
                    <a:pt x="112" y="178"/>
                  </a:lnTo>
                  <a:lnTo>
                    <a:pt x="136" y="187"/>
                  </a:lnTo>
                  <a:lnTo>
                    <a:pt x="143" y="188"/>
                  </a:lnTo>
                  <a:lnTo>
                    <a:pt x="147" y="198"/>
                  </a:lnTo>
                  <a:lnTo>
                    <a:pt x="152" y="198"/>
                  </a:lnTo>
                  <a:lnTo>
                    <a:pt x="166" y="209"/>
                  </a:lnTo>
                  <a:lnTo>
                    <a:pt x="170" y="210"/>
                  </a:lnTo>
                  <a:lnTo>
                    <a:pt x="176" y="214"/>
                  </a:lnTo>
                  <a:lnTo>
                    <a:pt x="177" y="245"/>
                  </a:lnTo>
                  <a:lnTo>
                    <a:pt x="166" y="238"/>
                  </a:lnTo>
                  <a:lnTo>
                    <a:pt x="158" y="227"/>
                  </a:lnTo>
                  <a:lnTo>
                    <a:pt x="134" y="230"/>
                  </a:lnTo>
                  <a:lnTo>
                    <a:pt x="127" y="225"/>
                  </a:lnTo>
                  <a:lnTo>
                    <a:pt x="135" y="223"/>
                  </a:lnTo>
                  <a:lnTo>
                    <a:pt x="137" y="216"/>
                  </a:lnTo>
                  <a:lnTo>
                    <a:pt x="128" y="215"/>
                  </a:lnTo>
                  <a:lnTo>
                    <a:pt x="115" y="204"/>
                  </a:lnTo>
                  <a:lnTo>
                    <a:pt x="110" y="209"/>
                  </a:lnTo>
                  <a:lnTo>
                    <a:pt x="103" y="205"/>
                  </a:lnTo>
                  <a:lnTo>
                    <a:pt x="92" y="207"/>
                  </a:lnTo>
                  <a:lnTo>
                    <a:pt x="81" y="205"/>
                  </a:lnTo>
                  <a:lnTo>
                    <a:pt x="67" y="207"/>
                  </a:lnTo>
                  <a:lnTo>
                    <a:pt x="55" y="203"/>
                  </a:lnTo>
                  <a:lnTo>
                    <a:pt x="52" y="203"/>
                  </a:lnTo>
                  <a:lnTo>
                    <a:pt x="50" y="205"/>
                  </a:lnTo>
                  <a:lnTo>
                    <a:pt x="46" y="207"/>
                  </a:lnTo>
                  <a:lnTo>
                    <a:pt x="28" y="175"/>
                  </a:lnTo>
                  <a:lnTo>
                    <a:pt x="36" y="176"/>
                  </a:lnTo>
                  <a:lnTo>
                    <a:pt x="44" y="175"/>
                  </a:lnTo>
                  <a:lnTo>
                    <a:pt x="41" y="168"/>
                  </a:lnTo>
                  <a:lnTo>
                    <a:pt x="29" y="162"/>
                  </a:lnTo>
                  <a:lnTo>
                    <a:pt x="27" y="170"/>
                  </a:lnTo>
                  <a:lnTo>
                    <a:pt x="14" y="149"/>
                  </a:lnTo>
                  <a:lnTo>
                    <a:pt x="6" y="143"/>
                  </a:lnTo>
                  <a:lnTo>
                    <a:pt x="3" y="129"/>
                  </a:lnTo>
                  <a:lnTo>
                    <a:pt x="1" y="127"/>
                  </a:lnTo>
                  <a:lnTo>
                    <a:pt x="0" y="127"/>
                  </a:lnTo>
                  <a:lnTo>
                    <a:pt x="1" y="127"/>
                  </a:lnTo>
                  <a:lnTo>
                    <a:pt x="8" y="122"/>
                  </a:lnTo>
                  <a:lnTo>
                    <a:pt x="11" y="117"/>
                  </a:lnTo>
                  <a:lnTo>
                    <a:pt x="14" y="107"/>
                  </a:lnTo>
                  <a:lnTo>
                    <a:pt x="22" y="101"/>
                  </a:lnTo>
                  <a:lnTo>
                    <a:pt x="30" y="87"/>
                  </a:lnTo>
                  <a:lnTo>
                    <a:pt x="40" y="77"/>
                  </a:lnTo>
                  <a:lnTo>
                    <a:pt x="39" y="56"/>
                  </a:lnTo>
                  <a:lnTo>
                    <a:pt x="69" y="52"/>
                  </a:lnTo>
                  <a:lnTo>
                    <a:pt x="78" y="44"/>
                  </a:lnTo>
                  <a:lnTo>
                    <a:pt x="93" y="38"/>
                  </a:lnTo>
                  <a:lnTo>
                    <a:pt x="110" y="38"/>
                  </a:lnTo>
                  <a:lnTo>
                    <a:pt x="122" y="26"/>
                  </a:lnTo>
                  <a:lnTo>
                    <a:pt x="206" y="14"/>
                  </a:lnTo>
                  <a:lnTo>
                    <a:pt x="214" y="21"/>
                  </a:lnTo>
                  <a:lnTo>
                    <a:pt x="244" y="31"/>
                  </a:lnTo>
                  <a:lnTo>
                    <a:pt x="261" y="27"/>
                  </a:lnTo>
                  <a:lnTo>
                    <a:pt x="273" y="18"/>
                  </a:lnTo>
                  <a:lnTo>
                    <a:pt x="274" y="1"/>
                  </a:lnTo>
                  <a:lnTo>
                    <a:pt x="283" y="0"/>
                  </a:lnTo>
                  <a:lnTo>
                    <a:pt x="286" y="6"/>
                  </a:lnTo>
                  <a:lnTo>
                    <a:pt x="294" y="12"/>
                  </a:lnTo>
                  <a:lnTo>
                    <a:pt x="293" y="21"/>
                  </a:lnTo>
                  <a:lnTo>
                    <a:pt x="283" y="28"/>
                  </a:lnTo>
                  <a:lnTo>
                    <a:pt x="279" y="53"/>
                  </a:lnTo>
                  <a:lnTo>
                    <a:pt x="270" y="6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0" name="Freeform 57"/>
            <p:cNvSpPr>
              <a:spLocks/>
            </p:cNvSpPr>
            <p:nvPr/>
          </p:nvSpPr>
          <p:spPr bwMode="auto">
            <a:xfrm>
              <a:off x="4374454" y="1095124"/>
              <a:ext cx="351365" cy="241198"/>
            </a:xfrm>
            <a:custGeom>
              <a:avLst/>
              <a:gdLst>
                <a:gd name="T0" fmla="*/ 44 w 294"/>
                <a:gd name="T1" fmla="*/ 7 h 245"/>
                <a:gd name="T2" fmla="*/ 35 w 294"/>
                <a:gd name="T3" fmla="*/ 6 h 245"/>
                <a:gd name="T4" fmla="*/ 32 w 294"/>
                <a:gd name="T5" fmla="*/ 6 h 245"/>
                <a:gd name="T6" fmla="*/ 28 w 294"/>
                <a:gd name="T7" fmla="*/ 7 h 245"/>
                <a:gd name="T8" fmla="*/ 28 w 294"/>
                <a:gd name="T9" fmla="*/ 9 h 245"/>
                <a:gd name="T10" fmla="*/ 31 w 294"/>
                <a:gd name="T11" fmla="*/ 11 h 245"/>
                <a:gd name="T12" fmla="*/ 30 w 294"/>
                <a:gd name="T13" fmla="*/ 11 h 245"/>
                <a:gd name="T14" fmla="*/ 27 w 294"/>
                <a:gd name="T15" fmla="*/ 11 h 245"/>
                <a:gd name="T16" fmla="*/ 29 w 294"/>
                <a:gd name="T17" fmla="*/ 13 h 245"/>
                <a:gd name="T18" fmla="*/ 26 w 294"/>
                <a:gd name="T19" fmla="*/ 11 h 245"/>
                <a:gd name="T20" fmla="*/ 25 w 294"/>
                <a:gd name="T21" fmla="*/ 12 h 245"/>
                <a:gd name="T22" fmla="*/ 26 w 294"/>
                <a:gd name="T23" fmla="*/ 13 h 245"/>
                <a:gd name="T24" fmla="*/ 24 w 294"/>
                <a:gd name="T25" fmla="*/ 11 h 245"/>
                <a:gd name="T26" fmla="*/ 20 w 294"/>
                <a:gd name="T27" fmla="*/ 9 h 245"/>
                <a:gd name="T28" fmla="*/ 19 w 294"/>
                <a:gd name="T29" fmla="*/ 8 h 245"/>
                <a:gd name="T30" fmla="*/ 19 w 294"/>
                <a:gd name="T31" fmla="*/ 13 h 245"/>
                <a:gd name="T32" fmla="*/ 22 w 294"/>
                <a:gd name="T33" fmla="*/ 16 h 245"/>
                <a:gd name="T34" fmla="*/ 23 w 294"/>
                <a:gd name="T35" fmla="*/ 19 h 245"/>
                <a:gd name="T36" fmla="*/ 22 w 294"/>
                <a:gd name="T37" fmla="*/ 18 h 245"/>
                <a:gd name="T38" fmla="*/ 21 w 294"/>
                <a:gd name="T39" fmla="*/ 17 h 245"/>
                <a:gd name="T40" fmla="*/ 21 w 294"/>
                <a:gd name="T41" fmla="*/ 20 h 245"/>
                <a:gd name="T42" fmla="*/ 18 w 294"/>
                <a:gd name="T43" fmla="*/ 20 h 245"/>
                <a:gd name="T44" fmla="*/ 22 w 294"/>
                <a:gd name="T45" fmla="*/ 21 h 245"/>
                <a:gd name="T46" fmla="*/ 24 w 294"/>
                <a:gd name="T47" fmla="*/ 23 h 245"/>
                <a:gd name="T48" fmla="*/ 27 w 294"/>
                <a:gd name="T49" fmla="*/ 24 h 245"/>
                <a:gd name="T50" fmla="*/ 29 w 294"/>
                <a:gd name="T51" fmla="*/ 25 h 245"/>
                <a:gd name="T52" fmla="*/ 27 w 294"/>
                <a:gd name="T53" fmla="*/ 28 h 245"/>
                <a:gd name="T54" fmla="*/ 22 w 294"/>
                <a:gd name="T55" fmla="*/ 27 h 245"/>
                <a:gd name="T56" fmla="*/ 22 w 294"/>
                <a:gd name="T57" fmla="*/ 25 h 245"/>
                <a:gd name="T58" fmla="*/ 21 w 294"/>
                <a:gd name="T59" fmla="*/ 25 h 245"/>
                <a:gd name="T60" fmla="*/ 18 w 294"/>
                <a:gd name="T61" fmla="*/ 24 h 245"/>
                <a:gd name="T62" fmla="*/ 15 w 294"/>
                <a:gd name="T63" fmla="*/ 24 h 245"/>
                <a:gd name="T64" fmla="*/ 11 w 294"/>
                <a:gd name="T65" fmla="*/ 24 h 245"/>
                <a:gd name="T66" fmla="*/ 9 w 294"/>
                <a:gd name="T67" fmla="*/ 23 h 245"/>
                <a:gd name="T68" fmla="*/ 8 w 294"/>
                <a:gd name="T69" fmla="*/ 24 h 245"/>
                <a:gd name="T70" fmla="*/ 6 w 294"/>
                <a:gd name="T71" fmla="*/ 20 h 245"/>
                <a:gd name="T72" fmla="*/ 6 w 294"/>
                <a:gd name="T73" fmla="*/ 20 h 245"/>
                <a:gd name="T74" fmla="*/ 5 w 294"/>
                <a:gd name="T75" fmla="*/ 20 h 245"/>
                <a:gd name="T76" fmla="*/ 1 w 294"/>
                <a:gd name="T77" fmla="*/ 16 h 245"/>
                <a:gd name="T78" fmla="*/ 1 w 294"/>
                <a:gd name="T79" fmla="*/ 15 h 245"/>
                <a:gd name="T80" fmla="*/ 1 w 294"/>
                <a:gd name="T81" fmla="*/ 15 h 245"/>
                <a:gd name="T82" fmla="*/ 2 w 294"/>
                <a:gd name="T83" fmla="*/ 13 h 245"/>
                <a:gd name="T84" fmla="*/ 4 w 294"/>
                <a:gd name="T85" fmla="*/ 12 h 245"/>
                <a:gd name="T86" fmla="*/ 6 w 294"/>
                <a:gd name="T87" fmla="*/ 8 h 245"/>
                <a:gd name="T88" fmla="*/ 11 w 294"/>
                <a:gd name="T89" fmla="*/ 6 h 245"/>
                <a:gd name="T90" fmla="*/ 15 w 294"/>
                <a:gd name="T91" fmla="*/ 4 h 245"/>
                <a:gd name="T92" fmla="*/ 20 w 294"/>
                <a:gd name="T93" fmla="*/ 3 h 245"/>
                <a:gd name="T94" fmla="*/ 35 w 294"/>
                <a:gd name="T95" fmla="*/ 2 h 245"/>
                <a:gd name="T96" fmla="*/ 43 w 294"/>
                <a:gd name="T97" fmla="*/ 3 h 245"/>
                <a:gd name="T98" fmla="*/ 45 w 294"/>
                <a:gd name="T99" fmla="*/ 1 h 245"/>
                <a:gd name="T100" fmla="*/ 48 w 294"/>
                <a:gd name="T101" fmla="*/ 1 h 245"/>
                <a:gd name="T102" fmla="*/ 48 w 294"/>
                <a:gd name="T103" fmla="*/ 2 h 245"/>
                <a:gd name="T104" fmla="*/ 46 w 294"/>
                <a:gd name="T105" fmla="*/ 6 h 24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94"/>
                <a:gd name="T160" fmla="*/ 0 h 245"/>
                <a:gd name="T161" fmla="*/ 294 w 294"/>
                <a:gd name="T162" fmla="*/ 245 h 24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94" h="245">
                  <a:moveTo>
                    <a:pt x="270" y="65"/>
                  </a:moveTo>
                  <a:lnTo>
                    <a:pt x="263" y="59"/>
                  </a:lnTo>
                  <a:lnTo>
                    <a:pt x="224" y="49"/>
                  </a:lnTo>
                  <a:lnTo>
                    <a:pt x="210" y="56"/>
                  </a:lnTo>
                  <a:lnTo>
                    <a:pt x="204" y="56"/>
                  </a:lnTo>
                  <a:lnTo>
                    <a:pt x="196" y="52"/>
                  </a:lnTo>
                  <a:lnTo>
                    <a:pt x="186" y="61"/>
                  </a:lnTo>
                  <a:lnTo>
                    <a:pt x="173" y="64"/>
                  </a:lnTo>
                  <a:lnTo>
                    <a:pt x="161" y="72"/>
                  </a:lnTo>
                  <a:lnTo>
                    <a:pt x="168" y="79"/>
                  </a:lnTo>
                  <a:lnTo>
                    <a:pt x="179" y="84"/>
                  </a:lnTo>
                  <a:lnTo>
                    <a:pt x="187" y="93"/>
                  </a:lnTo>
                  <a:lnTo>
                    <a:pt x="190" y="97"/>
                  </a:lnTo>
                  <a:lnTo>
                    <a:pt x="180" y="90"/>
                  </a:lnTo>
                  <a:lnTo>
                    <a:pt x="168" y="87"/>
                  </a:lnTo>
                  <a:lnTo>
                    <a:pt x="164" y="94"/>
                  </a:lnTo>
                  <a:lnTo>
                    <a:pt x="173" y="101"/>
                  </a:lnTo>
                  <a:lnTo>
                    <a:pt x="174" y="112"/>
                  </a:lnTo>
                  <a:lnTo>
                    <a:pt x="163" y="96"/>
                  </a:lnTo>
                  <a:lnTo>
                    <a:pt x="154" y="93"/>
                  </a:lnTo>
                  <a:lnTo>
                    <a:pt x="150" y="94"/>
                  </a:lnTo>
                  <a:lnTo>
                    <a:pt x="152" y="104"/>
                  </a:lnTo>
                  <a:lnTo>
                    <a:pt x="161" y="110"/>
                  </a:lnTo>
                  <a:lnTo>
                    <a:pt x="156" y="113"/>
                  </a:lnTo>
                  <a:lnTo>
                    <a:pt x="147" y="105"/>
                  </a:lnTo>
                  <a:lnTo>
                    <a:pt x="143" y="94"/>
                  </a:lnTo>
                  <a:lnTo>
                    <a:pt x="124" y="81"/>
                  </a:lnTo>
                  <a:lnTo>
                    <a:pt x="122" y="78"/>
                  </a:lnTo>
                  <a:lnTo>
                    <a:pt x="126" y="72"/>
                  </a:lnTo>
                  <a:lnTo>
                    <a:pt x="114" y="76"/>
                  </a:lnTo>
                  <a:lnTo>
                    <a:pt x="113" y="111"/>
                  </a:lnTo>
                  <a:lnTo>
                    <a:pt x="119" y="117"/>
                  </a:lnTo>
                  <a:lnTo>
                    <a:pt x="122" y="129"/>
                  </a:lnTo>
                  <a:lnTo>
                    <a:pt x="137" y="144"/>
                  </a:lnTo>
                  <a:lnTo>
                    <a:pt x="143" y="158"/>
                  </a:lnTo>
                  <a:lnTo>
                    <a:pt x="139" y="161"/>
                  </a:lnTo>
                  <a:lnTo>
                    <a:pt x="136" y="160"/>
                  </a:lnTo>
                  <a:lnTo>
                    <a:pt x="137" y="155"/>
                  </a:lnTo>
                  <a:lnTo>
                    <a:pt x="134" y="150"/>
                  </a:lnTo>
                  <a:lnTo>
                    <a:pt x="126" y="149"/>
                  </a:lnTo>
                  <a:lnTo>
                    <a:pt x="125" y="156"/>
                  </a:lnTo>
                  <a:lnTo>
                    <a:pt x="129" y="168"/>
                  </a:lnTo>
                  <a:lnTo>
                    <a:pt x="126" y="170"/>
                  </a:lnTo>
                  <a:lnTo>
                    <a:pt x="109" y="172"/>
                  </a:lnTo>
                  <a:lnTo>
                    <a:pt x="112" y="178"/>
                  </a:lnTo>
                  <a:lnTo>
                    <a:pt x="136" y="187"/>
                  </a:lnTo>
                  <a:lnTo>
                    <a:pt x="143" y="188"/>
                  </a:lnTo>
                  <a:lnTo>
                    <a:pt x="147" y="198"/>
                  </a:lnTo>
                  <a:lnTo>
                    <a:pt x="152" y="198"/>
                  </a:lnTo>
                  <a:lnTo>
                    <a:pt x="166" y="209"/>
                  </a:lnTo>
                  <a:lnTo>
                    <a:pt x="170" y="210"/>
                  </a:lnTo>
                  <a:lnTo>
                    <a:pt x="176" y="214"/>
                  </a:lnTo>
                  <a:lnTo>
                    <a:pt x="177" y="245"/>
                  </a:lnTo>
                  <a:lnTo>
                    <a:pt x="166" y="238"/>
                  </a:lnTo>
                  <a:lnTo>
                    <a:pt x="158" y="227"/>
                  </a:lnTo>
                  <a:lnTo>
                    <a:pt x="134" y="230"/>
                  </a:lnTo>
                  <a:lnTo>
                    <a:pt x="127" y="225"/>
                  </a:lnTo>
                  <a:lnTo>
                    <a:pt x="135" y="223"/>
                  </a:lnTo>
                  <a:lnTo>
                    <a:pt x="137" y="216"/>
                  </a:lnTo>
                  <a:lnTo>
                    <a:pt x="128" y="215"/>
                  </a:lnTo>
                  <a:lnTo>
                    <a:pt x="115" y="204"/>
                  </a:lnTo>
                  <a:lnTo>
                    <a:pt x="110" y="209"/>
                  </a:lnTo>
                  <a:lnTo>
                    <a:pt x="103" y="205"/>
                  </a:lnTo>
                  <a:lnTo>
                    <a:pt x="92" y="207"/>
                  </a:lnTo>
                  <a:lnTo>
                    <a:pt x="81" y="205"/>
                  </a:lnTo>
                  <a:lnTo>
                    <a:pt x="67" y="207"/>
                  </a:lnTo>
                  <a:lnTo>
                    <a:pt x="55" y="203"/>
                  </a:lnTo>
                  <a:lnTo>
                    <a:pt x="52" y="203"/>
                  </a:lnTo>
                  <a:lnTo>
                    <a:pt x="50" y="205"/>
                  </a:lnTo>
                  <a:lnTo>
                    <a:pt x="46" y="207"/>
                  </a:lnTo>
                  <a:lnTo>
                    <a:pt x="28" y="175"/>
                  </a:lnTo>
                  <a:lnTo>
                    <a:pt x="36" y="176"/>
                  </a:lnTo>
                  <a:lnTo>
                    <a:pt x="44" y="175"/>
                  </a:lnTo>
                  <a:lnTo>
                    <a:pt x="41" y="168"/>
                  </a:lnTo>
                  <a:lnTo>
                    <a:pt x="29" y="162"/>
                  </a:lnTo>
                  <a:lnTo>
                    <a:pt x="27" y="170"/>
                  </a:lnTo>
                  <a:lnTo>
                    <a:pt x="14" y="149"/>
                  </a:lnTo>
                  <a:lnTo>
                    <a:pt x="6" y="143"/>
                  </a:lnTo>
                  <a:lnTo>
                    <a:pt x="3" y="129"/>
                  </a:lnTo>
                  <a:lnTo>
                    <a:pt x="1" y="127"/>
                  </a:lnTo>
                  <a:lnTo>
                    <a:pt x="0" y="127"/>
                  </a:lnTo>
                  <a:lnTo>
                    <a:pt x="1" y="127"/>
                  </a:lnTo>
                  <a:lnTo>
                    <a:pt x="8" y="122"/>
                  </a:lnTo>
                  <a:lnTo>
                    <a:pt x="11" y="117"/>
                  </a:lnTo>
                  <a:lnTo>
                    <a:pt x="14" y="107"/>
                  </a:lnTo>
                  <a:lnTo>
                    <a:pt x="22" y="101"/>
                  </a:lnTo>
                  <a:lnTo>
                    <a:pt x="30" y="87"/>
                  </a:lnTo>
                  <a:lnTo>
                    <a:pt x="40" y="77"/>
                  </a:lnTo>
                  <a:lnTo>
                    <a:pt x="39" y="56"/>
                  </a:lnTo>
                  <a:lnTo>
                    <a:pt x="69" y="52"/>
                  </a:lnTo>
                  <a:lnTo>
                    <a:pt x="78" y="44"/>
                  </a:lnTo>
                  <a:lnTo>
                    <a:pt x="93" y="38"/>
                  </a:lnTo>
                  <a:lnTo>
                    <a:pt x="110" y="38"/>
                  </a:lnTo>
                  <a:lnTo>
                    <a:pt x="122" y="26"/>
                  </a:lnTo>
                  <a:lnTo>
                    <a:pt x="206" y="14"/>
                  </a:lnTo>
                  <a:lnTo>
                    <a:pt x="214" y="21"/>
                  </a:lnTo>
                  <a:lnTo>
                    <a:pt x="244" y="31"/>
                  </a:lnTo>
                  <a:lnTo>
                    <a:pt x="261" y="27"/>
                  </a:lnTo>
                  <a:lnTo>
                    <a:pt x="273" y="18"/>
                  </a:lnTo>
                  <a:lnTo>
                    <a:pt x="274" y="1"/>
                  </a:lnTo>
                  <a:lnTo>
                    <a:pt x="283" y="0"/>
                  </a:lnTo>
                  <a:lnTo>
                    <a:pt x="286" y="6"/>
                  </a:lnTo>
                  <a:lnTo>
                    <a:pt x="294" y="12"/>
                  </a:lnTo>
                  <a:lnTo>
                    <a:pt x="293" y="21"/>
                  </a:lnTo>
                  <a:lnTo>
                    <a:pt x="283" y="28"/>
                  </a:lnTo>
                  <a:lnTo>
                    <a:pt x="279" y="53"/>
                  </a:lnTo>
                  <a:lnTo>
                    <a:pt x="270" y="65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1" name="Freeform 58"/>
            <p:cNvSpPr>
              <a:spLocks/>
            </p:cNvSpPr>
            <p:nvPr/>
          </p:nvSpPr>
          <p:spPr bwMode="auto">
            <a:xfrm>
              <a:off x="5186861" y="1499593"/>
              <a:ext cx="95457" cy="96479"/>
            </a:xfrm>
            <a:custGeom>
              <a:avLst/>
              <a:gdLst>
                <a:gd name="T0" fmla="*/ 5 w 78"/>
                <a:gd name="T1" fmla="*/ 10 h 97"/>
                <a:gd name="T2" fmla="*/ 6 w 78"/>
                <a:gd name="T3" fmla="*/ 10 h 97"/>
                <a:gd name="T4" fmla="*/ 7 w 78"/>
                <a:gd name="T5" fmla="*/ 10 h 97"/>
                <a:gd name="T6" fmla="*/ 7 w 78"/>
                <a:gd name="T7" fmla="*/ 9 h 97"/>
                <a:gd name="T8" fmla="*/ 8 w 78"/>
                <a:gd name="T9" fmla="*/ 8 h 97"/>
                <a:gd name="T10" fmla="*/ 8 w 78"/>
                <a:gd name="T11" fmla="*/ 8 h 97"/>
                <a:gd name="T12" fmla="*/ 8 w 78"/>
                <a:gd name="T13" fmla="*/ 8 h 97"/>
                <a:gd name="T14" fmla="*/ 8 w 78"/>
                <a:gd name="T15" fmla="*/ 8 h 97"/>
                <a:gd name="T16" fmla="*/ 8 w 78"/>
                <a:gd name="T17" fmla="*/ 8 h 97"/>
                <a:gd name="T18" fmla="*/ 8 w 78"/>
                <a:gd name="T19" fmla="*/ 7 h 97"/>
                <a:gd name="T20" fmla="*/ 8 w 78"/>
                <a:gd name="T21" fmla="*/ 7 h 97"/>
                <a:gd name="T22" fmla="*/ 8 w 78"/>
                <a:gd name="T23" fmla="*/ 6 h 97"/>
                <a:gd name="T24" fmla="*/ 11 w 78"/>
                <a:gd name="T25" fmla="*/ 6 h 97"/>
                <a:gd name="T26" fmla="*/ 11 w 78"/>
                <a:gd name="T27" fmla="*/ 6 h 97"/>
                <a:gd name="T28" fmla="*/ 12 w 78"/>
                <a:gd name="T29" fmla="*/ 6 h 97"/>
                <a:gd name="T30" fmla="*/ 12 w 78"/>
                <a:gd name="T31" fmla="*/ 6 h 97"/>
                <a:gd name="T32" fmla="*/ 11 w 78"/>
                <a:gd name="T33" fmla="*/ 6 h 97"/>
                <a:gd name="T34" fmla="*/ 11 w 78"/>
                <a:gd name="T35" fmla="*/ 6 h 97"/>
                <a:gd name="T36" fmla="*/ 11 w 78"/>
                <a:gd name="T37" fmla="*/ 5 h 97"/>
                <a:gd name="T38" fmla="*/ 11 w 78"/>
                <a:gd name="T39" fmla="*/ 5 h 97"/>
                <a:gd name="T40" fmla="*/ 11 w 78"/>
                <a:gd name="T41" fmla="*/ 5 h 97"/>
                <a:gd name="T42" fmla="*/ 12 w 78"/>
                <a:gd name="T43" fmla="*/ 5 h 97"/>
                <a:gd name="T44" fmla="*/ 13 w 78"/>
                <a:gd name="T45" fmla="*/ 4 h 97"/>
                <a:gd name="T46" fmla="*/ 13 w 78"/>
                <a:gd name="T47" fmla="*/ 4 h 97"/>
                <a:gd name="T48" fmla="*/ 13 w 78"/>
                <a:gd name="T49" fmla="*/ 4 h 97"/>
                <a:gd name="T50" fmla="*/ 14 w 78"/>
                <a:gd name="T51" fmla="*/ 3 h 97"/>
                <a:gd name="T52" fmla="*/ 13 w 78"/>
                <a:gd name="T53" fmla="*/ 3 h 97"/>
                <a:gd name="T54" fmla="*/ 14 w 78"/>
                <a:gd name="T55" fmla="*/ 3 h 97"/>
                <a:gd name="T56" fmla="*/ 13 w 78"/>
                <a:gd name="T57" fmla="*/ 3 h 97"/>
                <a:gd name="T58" fmla="*/ 13 w 78"/>
                <a:gd name="T59" fmla="*/ 2 h 97"/>
                <a:gd name="T60" fmla="*/ 13 w 78"/>
                <a:gd name="T61" fmla="*/ 2 h 97"/>
                <a:gd name="T62" fmla="*/ 12 w 78"/>
                <a:gd name="T63" fmla="*/ 2 h 97"/>
                <a:gd name="T64" fmla="*/ 11 w 78"/>
                <a:gd name="T65" fmla="*/ 2 h 97"/>
                <a:gd name="T66" fmla="*/ 11 w 78"/>
                <a:gd name="T67" fmla="*/ 2 h 97"/>
                <a:gd name="T68" fmla="*/ 12 w 78"/>
                <a:gd name="T69" fmla="*/ 1 h 97"/>
                <a:gd name="T70" fmla="*/ 12 w 78"/>
                <a:gd name="T71" fmla="*/ 1 h 97"/>
                <a:gd name="T72" fmla="*/ 13 w 78"/>
                <a:gd name="T73" fmla="*/ 1 h 97"/>
                <a:gd name="T74" fmla="*/ 13 w 78"/>
                <a:gd name="T75" fmla="*/ 1 h 97"/>
                <a:gd name="T76" fmla="*/ 12 w 78"/>
                <a:gd name="T77" fmla="*/ 1 h 97"/>
                <a:gd name="T78" fmla="*/ 12 w 78"/>
                <a:gd name="T79" fmla="*/ 1 h 97"/>
                <a:gd name="T80" fmla="*/ 11 w 78"/>
                <a:gd name="T81" fmla="*/ 0 h 97"/>
                <a:gd name="T82" fmla="*/ 11 w 78"/>
                <a:gd name="T83" fmla="*/ 1 h 97"/>
                <a:gd name="T84" fmla="*/ 11 w 78"/>
                <a:gd name="T85" fmla="*/ 1 h 97"/>
                <a:gd name="T86" fmla="*/ 8 w 78"/>
                <a:gd name="T87" fmla="*/ 1 h 97"/>
                <a:gd name="T88" fmla="*/ 8 w 78"/>
                <a:gd name="T89" fmla="*/ 2 h 97"/>
                <a:gd name="T90" fmla="*/ 6 w 78"/>
                <a:gd name="T91" fmla="*/ 3 h 97"/>
                <a:gd name="T92" fmla="*/ 5 w 78"/>
                <a:gd name="T93" fmla="*/ 5 h 97"/>
                <a:gd name="T94" fmla="*/ 4 w 78"/>
                <a:gd name="T95" fmla="*/ 5 h 97"/>
                <a:gd name="T96" fmla="*/ 4 w 78"/>
                <a:gd name="T97" fmla="*/ 6 h 97"/>
                <a:gd name="T98" fmla="*/ 4 w 78"/>
                <a:gd name="T99" fmla="*/ 6 h 97"/>
                <a:gd name="T100" fmla="*/ 0 w 78"/>
                <a:gd name="T101" fmla="*/ 11 h 97"/>
                <a:gd name="T102" fmla="*/ 1 w 78"/>
                <a:gd name="T103" fmla="*/ 11 h 97"/>
                <a:gd name="T104" fmla="*/ 2 w 78"/>
                <a:gd name="T105" fmla="*/ 11 h 97"/>
                <a:gd name="T106" fmla="*/ 2 w 78"/>
                <a:gd name="T107" fmla="*/ 11 h 97"/>
                <a:gd name="T108" fmla="*/ 2 w 78"/>
                <a:gd name="T109" fmla="*/ 11 h 97"/>
                <a:gd name="T110" fmla="*/ 3 w 78"/>
                <a:gd name="T111" fmla="*/ 11 h 97"/>
                <a:gd name="T112" fmla="*/ 4 w 78"/>
                <a:gd name="T113" fmla="*/ 11 h 97"/>
                <a:gd name="T114" fmla="*/ 4 w 78"/>
                <a:gd name="T115" fmla="*/ 10 h 97"/>
                <a:gd name="T116" fmla="*/ 4 w 78"/>
                <a:gd name="T117" fmla="*/ 10 h 97"/>
                <a:gd name="T118" fmla="*/ 5 w 78"/>
                <a:gd name="T119" fmla="*/ 10 h 97"/>
                <a:gd name="T120" fmla="*/ 5 w 78"/>
                <a:gd name="T121" fmla="*/ 10 h 9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"/>
                <a:gd name="T184" fmla="*/ 0 h 97"/>
                <a:gd name="T185" fmla="*/ 78 w 78"/>
                <a:gd name="T186" fmla="*/ 97 h 9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" h="97">
                  <a:moveTo>
                    <a:pt x="27" y="86"/>
                  </a:moveTo>
                  <a:lnTo>
                    <a:pt x="33" y="81"/>
                  </a:lnTo>
                  <a:lnTo>
                    <a:pt x="37" y="80"/>
                  </a:lnTo>
                  <a:lnTo>
                    <a:pt x="38" y="77"/>
                  </a:lnTo>
                  <a:lnTo>
                    <a:pt x="46" y="69"/>
                  </a:lnTo>
                  <a:lnTo>
                    <a:pt x="48" y="69"/>
                  </a:lnTo>
                  <a:lnTo>
                    <a:pt x="48" y="65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6" y="58"/>
                  </a:lnTo>
                  <a:lnTo>
                    <a:pt x="48" y="57"/>
                  </a:lnTo>
                  <a:lnTo>
                    <a:pt x="49" y="53"/>
                  </a:lnTo>
                  <a:lnTo>
                    <a:pt x="61" y="52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1" y="48"/>
                  </a:lnTo>
                  <a:lnTo>
                    <a:pt x="62" y="44"/>
                  </a:lnTo>
                  <a:lnTo>
                    <a:pt x="65" y="43"/>
                  </a:lnTo>
                  <a:lnTo>
                    <a:pt x="65" y="40"/>
                  </a:lnTo>
                  <a:lnTo>
                    <a:pt x="68" y="39"/>
                  </a:lnTo>
                  <a:lnTo>
                    <a:pt x="73" y="36"/>
                  </a:lnTo>
                  <a:lnTo>
                    <a:pt x="75" y="36"/>
                  </a:lnTo>
                  <a:lnTo>
                    <a:pt x="76" y="32"/>
                  </a:lnTo>
                  <a:lnTo>
                    <a:pt x="78" y="30"/>
                  </a:lnTo>
                  <a:lnTo>
                    <a:pt x="76" y="29"/>
                  </a:lnTo>
                  <a:lnTo>
                    <a:pt x="77" y="25"/>
                  </a:lnTo>
                  <a:lnTo>
                    <a:pt x="74" y="22"/>
                  </a:lnTo>
                  <a:lnTo>
                    <a:pt x="75" y="18"/>
                  </a:lnTo>
                  <a:lnTo>
                    <a:pt x="71" y="17"/>
                  </a:lnTo>
                  <a:lnTo>
                    <a:pt x="70" y="12"/>
                  </a:lnTo>
                  <a:lnTo>
                    <a:pt x="65" y="12"/>
                  </a:lnTo>
                  <a:lnTo>
                    <a:pt x="65" y="11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1" y="4"/>
                  </a:lnTo>
                  <a:lnTo>
                    <a:pt x="46" y="4"/>
                  </a:lnTo>
                  <a:lnTo>
                    <a:pt x="48" y="12"/>
                  </a:lnTo>
                  <a:lnTo>
                    <a:pt x="34" y="24"/>
                  </a:lnTo>
                  <a:lnTo>
                    <a:pt x="28" y="44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0" y="50"/>
                  </a:lnTo>
                  <a:lnTo>
                    <a:pt x="0" y="93"/>
                  </a:lnTo>
                  <a:lnTo>
                    <a:pt x="2" y="95"/>
                  </a:lnTo>
                  <a:lnTo>
                    <a:pt x="11" y="94"/>
                  </a:lnTo>
                  <a:lnTo>
                    <a:pt x="13" y="97"/>
                  </a:lnTo>
                  <a:lnTo>
                    <a:pt x="15" y="97"/>
                  </a:lnTo>
                  <a:lnTo>
                    <a:pt x="17" y="95"/>
                  </a:lnTo>
                  <a:lnTo>
                    <a:pt x="21" y="96"/>
                  </a:lnTo>
                  <a:lnTo>
                    <a:pt x="22" y="85"/>
                  </a:lnTo>
                  <a:lnTo>
                    <a:pt x="24" y="83"/>
                  </a:lnTo>
                  <a:lnTo>
                    <a:pt x="26" y="84"/>
                  </a:lnTo>
                  <a:lnTo>
                    <a:pt x="27" y="8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2" name="Freeform 59"/>
            <p:cNvSpPr>
              <a:spLocks/>
            </p:cNvSpPr>
            <p:nvPr/>
          </p:nvSpPr>
          <p:spPr bwMode="auto">
            <a:xfrm>
              <a:off x="5186861" y="1499593"/>
              <a:ext cx="95457" cy="96479"/>
            </a:xfrm>
            <a:custGeom>
              <a:avLst/>
              <a:gdLst>
                <a:gd name="T0" fmla="*/ 5 w 78"/>
                <a:gd name="T1" fmla="*/ 10 h 97"/>
                <a:gd name="T2" fmla="*/ 6 w 78"/>
                <a:gd name="T3" fmla="*/ 10 h 97"/>
                <a:gd name="T4" fmla="*/ 7 w 78"/>
                <a:gd name="T5" fmla="*/ 10 h 97"/>
                <a:gd name="T6" fmla="*/ 7 w 78"/>
                <a:gd name="T7" fmla="*/ 9 h 97"/>
                <a:gd name="T8" fmla="*/ 8 w 78"/>
                <a:gd name="T9" fmla="*/ 8 h 97"/>
                <a:gd name="T10" fmla="*/ 8 w 78"/>
                <a:gd name="T11" fmla="*/ 8 h 97"/>
                <a:gd name="T12" fmla="*/ 8 w 78"/>
                <a:gd name="T13" fmla="*/ 8 h 97"/>
                <a:gd name="T14" fmla="*/ 8 w 78"/>
                <a:gd name="T15" fmla="*/ 8 h 97"/>
                <a:gd name="T16" fmla="*/ 8 w 78"/>
                <a:gd name="T17" fmla="*/ 8 h 97"/>
                <a:gd name="T18" fmla="*/ 8 w 78"/>
                <a:gd name="T19" fmla="*/ 7 h 97"/>
                <a:gd name="T20" fmla="*/ 8 w 78"/>
                <a:gd name="T21" fmla="*/ 7 h 97"/>
                <a:gd name="T22" fmla="*/ 8 w 78"/>
                <a:gd name="T23" fmla="*/ 6 h 97"/>
                <a:gd name="T24" fmla="*/ 11 w 78"/>
                <a:gd name="T25" fmla="*/ 6 h 97"/>
                <a:gd name="T26" fmla="*/ 11 w 78"/>
                <a:gd name="T27" fmla="*/ 6 h 97"/>
                <a:gd name="T28" fmla="*/ 12 w 78"/>
                <a:gd name="T29" fmla="*/ 6 h 97"/>
                <a:gd name="T30" fmla="*/ 12 w 78"/>
                <a:gd name="T31" fmla="*/ 6 h 97"/>
                <a:gd name="T32" fmla="*/ 11 w 78"/>
                <a:gd name="T33" fmla="*/ 6 h 97"/>
                <a:gd name="T34" fmla="*/ 11 w 78"/>
                <a:gd name="T35" fmla="*/ 6 h 97"/>
                <a:gd name="T36" fmla="*/ 11 w 78"/>
                <a:gd name="T37" fmla="*/ 5 h 97"/>
                <a:gd name="T38" fmla="*/ 11 w 78"/>
                <a:gd name="T39" fmla="*/ 5 h 97"/>
                <a:gd name="T40" fmla="*/ 11 w 78"/>
                <a:gd name="T41" fmla="*/ 5 h 97"/>
                <a:gd name="T42" fmla="*/ 12 w 78"/>
                <a:gd name="T43" fmla="*/ 5 h 97"/>
                <a:gd name="T44" fmla="*/ 13 w 78"/>
                <a:gd name="T45" fmla="*/ 4 h 97"/>
                <a:gd name="T46" fmla="*/ 13 w 78"/>
                <a:gd name="T47" fmla="*/ 4 h 97"/>
                <a:gd name="T48" fmla="*/ 13 w 78"/>
                <a:gd name="T49" fmla="*/ 4 h 97"/>
                <a:gd name="T50" fmla="*/ 14 w 78"/>
                <a:gd name="T51" fmla="*/ 3 h 97"/>
                <a:gd name="T52" fmla="*/ 13 w 78"/>
                <a:gd name="T53" fmla="*/ 3 h 97"/>
                <a:gd name="T54" fmla="*/ 14 w 78"/>
                <a:gd name="T55" fmla="*/ 3 h 97"/>
                <a:gd name="T56" fmla="*/ 13 w 78"/>
                <a:gd name="T57" fmla="*/ 3 h 97"/>
                <a:gd name="T58" fmla="*/ 13 w 78"/>
                <a:gd name="T59" fmla="*/ 2 h 97"/>
                <a:gd name="T60" fmla="*/ 13 w 78"/>
                <a:gd name="T61" fmla="*/ 2 h 97"/>
                <a:gd name="T62" fmla="*/ 12 w 78"/>
                <a:gd name="T63" fmla="*/ 2 h 97"/>
                <a:gd name="T64" fmla="*/ 11 w 78"/>
                <a:gd name="T65" fmla="*/ 2 h 97"/>
                <a:gd name="T66" fmla="*/ 11 w 78"/>
                <a:gd name="T67" fmla="*/ 2 h 97"/>
                <a:gd name="T68" fmla="*/ 12 w 78"/>
                <a:gd name="T69" fmla="*/ 1 h 97"/>
                <a:gd name="T70" fmla="*/ 12 w 78"/>
                <a:gd name="T71" fmla="*/ 1 h 97"/>
                <a:gd name="T72" fmla="*/ 13 w 78"/>
                <a:gd name="T73" fmla="*/ 1 h 97"/>
                <a:gd name="T74" fmla="*/ 13 w 78"/>
                <a:gd name="T75" fmla="*/ 1 h 97"/>
                <a:gd name="T76" fmla="*/ 12 w 78"/>
                <a:gd name="T77" fmla="*/ 1 h 97"/>
                <a:gd name="T78" fmla="*/ 12 w 78"/>
                <a:gd name="T79" fmla="*/ 1 h 97"/>
                <a:gd name="T80" fmla="*/ 11 w 78"/>
                <a:gd name="T81" fmla="*/ 0 h 97"/>
                <a:gd name="T82" fmla="*/ 11 w 78"/>
                <a:gd name="T83" fmla="*/ 1 h 97"/>
                <a:gd name="T84" fmla="*/ 11 w 78"/>
                <a:gd name="T85" fmla="*/ 1 h 97"/>
                <a:gd name="T86" fmla="*/ 8 w 78"/>
                <a:gd name="T87" fmla="*/ 1 h 97"/>
                <a:gd name="T88" fmla="*/ 8 w 78"/>
                <a:gd name="T89" fmla="*/ 2 h 97"/>
                <a:gd name="T90" fmla="*/ 6 w 78"/>
                <a:gd name="T91" fmla="*/ 3 h 97"/>
                <a:gd name="T92" fmla="*/ 5 w 78"/>
                <a:gd name="T93" fmla="*/ 5 h 97"/>
                <a:gd name="T94" fmla="*/ 4 w 78"/>
                <a:gd name="T95" fmla="*/ 5 h 97"/>
                <a:gd name="T96" fmla="*/ 4 w 78"/>
                <a:gd name="T97" fmla="*/ 6 h 97"/>
                <a:gd name="T98" fmla="*/ 4 w 78"/>
                <a:gd name="T99" fmla="*/ 6 h 97"/>
                <a:gd name="T100" fmla="*/ 0 w 78"/>
                <a:gd name="T101" fmla="*/ 11 h 97"/>
                <a:gd name="T102" fmla="*/ 1 w 78"/>
                <a:gd name="T103" fmla="*/ 11 h 97"/>
                <a:gd name="T104" fmla="*/ 2 w 78"/>
                <a:gd name="T105" fmla="*/ 11 h 97"/>
                <a:gd name="T106" fmla="*/ 2 w 78"/>
                <a:gd name="T107" fmla="*/ 11 h 97"/>
                <a:gd name="T108" fmla="*/ 2 w 78"/>
                <a:gd name="T109" fmla="*/ 11 h 97"/>
                <a:gd name="T110" fmla="*/ 3 w 78"/>
                <a:gd name="T111" fmla="*/ 11 h 97"/>
                <a:gd name="T112" fmla="*/ 4 w 78"/>
                <a:gd name="T113" fmla="*/ 11 h 97"/>
                <a:gd name="T114" fmla="*/ 4 w 78"/>
                <a:gd name="T115" fmla="*/ 10 h 97"/>
                <a:gd name="T116" fmla="*/ 4 w 78"/>
                <a:gd name="T117" fmla="*/ 10 h 97"/>
                <a:gd name="T118" fmla="*/ 5 w 78"/>
                <a:gd name="T119" fmla="*/ 10 h 97"/>
                <a:gd name="T120" fmla="*/ 5 w 78"/>
                <a:gd name="T121" fmla="*/ 10 h 9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8"/>
                <a:gd name="T184" fmla="*/ 0 h 97"/>
                <a:gd name="T185" fmla="*/ 78 w 78"/>
                <a:gd name="T186" fmla="*/ 97 h 9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8" h="97">
                  <a:moveTo>
                    <a:pt x="27" y="86"/>
                  </a:moveTo>
                  <a:lnTo>
                    <a:pt x="33" y="81"/>
                  </a:lnTo>
                  <a:lnTo>
                    <a:pt x="37" y="80"/>
                  </a:lnTo>
                  <a:lnTo>
                    <a:pt x="38" y="77"/>
                  </a:lnTo>
                  <a:lnTo>
                    <a:pt x="46" y="69"/>
                  </a:lnTo>
                  <a:lnTo>
                    <a:pt x="48" y="69"/>
                  </a:lnTo>
                  <a:lnTo>
                    <a:pt x="48" y="65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6" y="58"/>
                  </a:lnTo>
                  <a:lnTo>
                    <a:pt x="48" y="57"/>
                  </a:lnTo>
                  <a:lnTo>
                    <a:pt x="49" y="53"/>
                  </a:lnTo>
                  <a:lnTo>
                    <a:pt x="61" y="52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2"/>
                  </a:lnTo>
                  <a:lnTo>
                    <a:pt x="65" y="50"/>
                  </a:lnTo>
                  <a:lnTo>
                    <a:pt x="61" y="48"/>
                  </a:lnTo>
                  <a:lnTo>
                    <a:pt x="62" y="44"/>
                  </a:lnTo>
                  <a:lnTo>
                    <a:pt x="65" y="43"/>
                  </a:lnTo>
                  <a:lnTo>
                    <a:pt x="65" y="40"/>
                  </a:lnTo>
                  <a:lnTo>
                    <a:pt x="68" y="39"/>
                  </a:lnTo>
                  <a:lnTo>
                    <a:pt x="73" y="36"/>
                  </a:lnTo>
                  <a:lnTo>
                    <a:pt x="75" y="36"/>
                  </a:lnTo>
                  <a:lnTo>
                    <a:pt x="76" y="32"/>
                  </a:lnTo>
                  <a:lnTo>
                    <a:pt x="78" y="30"/>
                  </a:lnTo>
                  <a:lnTo>
                    <a:pt x="76" y="29"/>
                  </a:lnTo>
                  <a:lnTo>
                    <a:pt x="77" y="25"/>
                  </a:lnTo>
                  <a:lnTo>
                    <a:pt x="74" y="22"/>
                  </a:lnTo>
                  <a:lnTo>
                    <a:pt x="75" y="18"/>
                  </a:lnTo>
                  <a:lnTo>
                    <a:pt x="71" y="17"/>
                  </a:lnTo>
                  <a:lnTo>
                    <a:pt x="70" y="12"/>
                  </a:lnTo>
                  <a:lnTo>
                    <a:pt x="65" y="12"/>
                  </a:lnTo>
                  <a:lnTo>
                    <a:pt x="65" y="11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71" y="7"/>
                  </a:lnTo>
                  <a:lnTo>
                    <a:pt x="71" y="5"/>
                  </a:lnTo>
                  <a:lnTo>
                    <a:pt x="70" y="4"/>
                  </a:lnTo>
                  <a:lnTo>
                    <a:pt x="66" y="4"/>
                  </a:lnTo>
                  <a:lnTo>
                    <a:pt x="64" y="0"/>
                  </a:lnTo>
                  <a:lnTo>
                    <a:pt x="63" y="1"/>
                  </a:lnTo>
                  <a:lnTo>
                    <a:pt x="61" y="4"/>
                  </a:lnTo>
                  <a:lnTo>
                    <a:pt x="46" y="4"/>
                  </a:lnTo>
                  <a:lnTo>
                    <a:pt x="48" y="12"/>
                  </a:lnTo>
                  <a:lnTo>
                    <a:pt x="34" y="24"/>
                  </a:lnTo>
                  <a:lnTo>
                    <a:pt x="28" y="44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0" y="50"/>
                  </a:lnTo>
                  <a:lnTo>
                    <a:pt x="0" y="93"/>
                  </a:lnTo>
                  <a:lnTo>
                    <a:pt x="2" y="95"/>
                  </a:lnTo>
                  <a:lnTo>
                    <a:pt x="11" y="94"/>
                  </a:lnTo>
                  <a:lnTo>
                    <a:pt x="13" y="97"/>
                  </a:lnTo>
                  <a:lnTo>
                    <a:pt x="15" y="97"/>
                  </a:lnTo>
                  <a:lnTo>
                    <a:pt x="17" y="95"/>
                  </a:lnTo>
                  <a:lnTo>
                    <a:pt x="21" y="96"/>
                  </a:lnTo>
                  <a:lnTo>
                    <a:pt x="22" y="85"/>
                  </a:lnTo>
                  <a:lnTo>
                    <a:pt x="24" y="83"/>
                  </a:lnTo>
                  <a:lnTo>
                    <a:pt x="26" y="84"/>
                  </a:lnTo>
                  <a:lnTo>
                    <a:pt x="27" y="8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3" name="Freeform 60"/>
            <p:cNvSpPr>
              <a:spLocks/>
            </p:cNvSpPr>
            <p:nvPr/>
          </p:nvSpPr>
          <p:spPr bwMode="auto">
            <a:xfrm>
              <a:off x="6344539" y="1948591"/>
              <a:ext cx="16248" cy="33396"/>
            </a:xfrm>
            <a:custGeom>
              <a:avLst/>
              <a:gdLst>
                <a:gd name="T0" fmla="*/ 0 w 16"/>
                <a:gd name="T1" fmla="*/ 2 h 32"/>
                <a:gd name="T2" fmla="*/ 1 w 16"/>
                <a:gd name="T3" fmla="*/ 2 h 32"/>
                <a:gd name="T4" fmla="*/ 1 w 16"/>
                <a:gd name="T5" fmla="*/ 3 h 32"/>
                <a:gd name="T6" fmla="*/ 1 w 16"/>
                <a:gd name="T7" fmla="*/ 3 h 32"/>
                <a:gd name="T8" fmla="*/ 1 w 16"/>
                <a:gd name="T9" fmla="*/ 3 h 32"/>
                <a:gd name="T10" fmla="*/ 1 w 16"/>
                <a:gd name="T11" fmla="*/ 4 h 32"/>
                <a:gd name="T12" fmla="*/ 1 w 16"/>
                <a:gd name="T13" fmla="*/ 4 h 32"/>
                <a:gd name="T14" fmla="*/ 1 w 16"/>
                <a:gd name="T15" fmla="*/ 5 h 32"/>
                <a:gd name="T16" fmla="*/ 1 w 16"/>
                <a:gd name="T17" fmla="*/ 4 h 32"/>
                <a:gd name="T18" fmla="*/ 1 w 16"/>
                <a:gd name="T19" fmla="*/ 3 h 32"/>
                <a:gd name="T20" fmla="*/ 1 w 16"/>
                <a:gd name="T21" fmla="*/ 2 h 32"/>
                <a:gd name="T22" fmla="*/ 1 w 16"/>
                <a:gd name="T23" fmla="*/ 2 h 32"/>
                <a:gd name="T24" fmla="*/ 1 w 16"/>
                <a:gd name="T25" fmla="*/ 1 h 32"/>
                <a:gd name="T26" fmla="*/ 1 w 16"/>
                <a:gd name="T27" fmla="*/ 1 h 32"/>
                <a:gd name="T28" fmla="*/ 1 w 16"/>
                <a:gd name="T29" fmla="*/ 1 h 32"/>
                <a:gd name="T30" fmla="*/ 1 w 16"/>
                <a:gd name="T31" fmla="*/ 0 h 32"/>
                <a:gd name="T32" fmla="*/ 1 w 16"/>
                <a:gd name="T33" fmla="*/ 1 h 32"/>
                <a:gd name="T34" fmla="*/ 1 w 16"/>
                <a:gd name="T35" fmla="*/ 1 h 32"/>
                <a:gd name="T36" fmla="*/ 0 w 16"/>
                <a:gd name="T37" fmla="*/ 2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32"/>
                <a:gd name="T59" fmla="*/ 16 w 16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32">
                  <a:moveTo>
                    <a:pt x="0" y="11"/>
                  </a:moveTo>
                  <a:lnTo>
                    <a:pt x="2" y="15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2" y="29"/>
                  </a:lnTo>
                  <a:lnTo>
                    <a:pt x="3" y="30"/>
                  </a:lnTo>
                  <a:lnTo>
                    <a:pt x="9" y="32"/>
                  </a:lnTo>
                  <a:lnTo>
                    <a:pt x="10" y="29"/>
                  </a:lnTo>
                  <a:lnTo>
                    <a:pt x="15" y="22"/>
                  </a:lnTo>
                  <a:lnTo>
                    <a:pt x="15" y="14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4" name="Freeform 61"/>
            <p:cNvSpPr>
              <a:spLocks/>
            </p:cNvSpPr>
            <p:nvPr/>
          </p:nvSpPr>
          <p:spPr bwMode="auto">
            <a:xfrm>
              <a:off x="6344539" y="1948591"/>
              <a:ext cx="16248" cy="33396"/>
            </a:xfrm>
            <a:custGeom>
              <a:avLst/>
              <a:gdLst>
                <a:gd name="T0" fmla="*/ 0 w 16"/>
                <a:gd name="T1" fmla="*/ 2 h 32"/>
                <a:gd name="T2" fmla="*/ 1 w 16"/>
                <a:gd name="T3" fmla="*/ 2 h 32"/>
                <a:gd name="T4" fmla="*/ 1 w 16"/>
                <a:gd name="T5" fmla="*/ 3 h 32"/>
                <a:gd name="T6" fmla="*/ 1 w 16"/>
                <a:gd name="T7" fmla="*/ 3 h 32"/>
                <a:gd name="T8" fmla="*/ 1 w 16"/>
                <a:gd name="T9" fmla="*/ 3 h 32"/>
                <a:gd name="T10" fmla="*/ 1 w 16"/>
                <a:gd name="T11" fmla="*/ 4 h 32"/>
                <a:gd name="T12" fmla="*/ 1 w 16"/>
                <a:gd name="T13" fmla="*/ 4 h 32"/>
                <a:gd name="T14" fmla="*/ 1 w 16"/>
                <a:gd name="T15" fmla="*/ 5 h 32"/>
                <a:gd name="T16" fmla="*/ 1 w 16"/>
                <a:gd name="T17" fmla="*/ 4 h 32"/>
                <a:gd name="T18" fmla="*/ 1 w 16"/>
                <a:gd name="T19" fmla="*/ 3 h 32"/>
                <a:gd name="T20" fmla="*/ 1 w 16"/>
                <a:gd name="T21" fmla="*/ 2 h 32"/>
                <a:gd name="T22" fmla="*/ 1 w 16"/>
                <a:gd name="T23" fmla="*/ 2 h 32"/>
                <a:gd name="T24" fmla="*/ 1 w 16"/>
                <a:gd name="T25" fmla="*/ 1 h 32"/>
                <a:gd name="T26" fmla="*/ 1 w 16"/>
                <a:gd name="T27" fmla="*/ 1 h 32"/>
                <a:gd name="T28" fmla="*/ 1 w 16"/>
                <a:gd name="T29" fmla="*/ 1 h 32"/>
                <a:gd name="T30" fmla="*/ 1 w 16"/>
                <a:gd name="T31" fmla="*/ 0 h 32"/>
                <a:gd name="T32" fmla="*/ 1 w 16"/>
                <a:gd name="T33" fmla="*/ 1 h 32"/>
                <a:gd name="T34" fmla="*/ 1 w 16"/>
                <a:gd name="T35" fmla="*/ 1 h 32"/>
                <a:gd name="T36" fmla="*/ 0 w 16"/>
                <a:gd name="T37" fmla="*/ 2 h 3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"/>
                <a:gd name="T58" fmla="*/ 0 h 32"/>
                <a:gd name="T59" fmla="*/ 16 w 16"/>
                <a:gd name="T60" fmla="*/ 32 h 3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" h="32">
                  <a:moveTo>
                    <a:pt x="0" y="11"/>
                  </a:moveTo>
                  <a:lnTo>
                    <a:pt x="2" y="15"/>
                  </a:lnTo>
                  <a:lnTo>
                    <a:pt x="3" y="20"/>
                  </a:lnTo>
                  <a:lnTo>
                    <a:pt x="2" y="22"/>
                  </a:lnTo>
                  <a:lnTo>
                    <a:pt x="3" y="25"/>
                  </a:lnTo>
                  <a:lnTo>
                    <a:pt x="2" y="29"/>
                  </a:lnTo>
                  <a:lnTo>
                    <a:pt x="3" y="30"/>
                  </a:lnTo>
                  <a:lnTo>
                    <a:pt x="9" y="32"/>
                  </a:lnTo>
                  <a:lnTo>
                    <a:pt x="10" y="29"/>
                  </a:lnTo>
                  <a:lnTo>
                    <a:pt x="15" y="22"/>
                  </a:lnTo>
                  <a:lnTo>
                    <a:pt x="15" y="14"/>
                  </a:lnTo>
                  <a:lnTo>
                    <a:pt x="13" y="11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8" y="2"/>
                  </a:lnTo>
                  <a:lnTo>
                    <a:pt x="6" y="2"/>
                  </a:lnTo>
                  <a:lnTo>
                    <a:pt x="0" y="1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5" name="Freeform 62"/>
            <p:cNvSpPr>
              <a:spLocks/>
            </p:cNvSpPr>
            <p:nvPr/>
          </p:nvSpPr>
          <p:spPr bwMode="auto">
            <a:xfrm>
              <a:off x="2345467" y="2551584"/>
              <a:ext cx="166543" cy="37108"/>
            </a:xfrm>
            <a:custGeom>
              <a:avLst/>
              <a:gdLst>
                <a:gd name="T0" fmla="*/ 1 w 141"/>
                <a:gd name="T1" fmla="*/ 4 h 38"/>
                <a:gd name="T2" fmla="*/ 1 w 141"/>
                <a:gd name="T3" fmla="*/ 4 h 38"/>
                <a:gd name="T4" fmla="*/ 8 w 141"/>
                <a:gd name="T5" fmla="*/ 3 h 38"/>
                <a:gd name="T6" fmla="*/ 8 w 141"/>
                <a:gd name="T7" fmla="*/ 3 h 38"/>
                <a:gd name="T8" fmla="*/ 8 w 141"/>
                <a:gd name="T9" fmla="*/ 3 h 38"/>
                <a:gd name="T10" fmla="*/ 8 w 141"/>
                <a:gd name="T11" fmla="*/ 3 h 38"/>
                <a:gd name="T12" fmla="*/ 9 w 141"/>
                <a:gd name="T13" fmla="*/ 3 h 38"/>
                <a:gd name="T14" fmla="*/ 10 w 141"/>
                <a:gd name="T15" fmla="*/ 3 h 38"/>
                <a:gd name="T16" fmla="*/ 12 w 141"/>
                <a:gd name="T17" fmla="*/ 2 h 38"/>
                <a:gd name="T18" fmla="*/ 12 w 141"/>
                <a:gd name="T19" fmla="*/ 2 h 38"/>
                <a:gd name="T20" fmla="*/ 13 w 141"/>
                <a:gd name="T21" fmla="*/ 2 h 38"/>
                <a:gd name="T22" fmla="*/ 13 w 141"/>
                <a:gd name="T23" fmla="*/ 2 h 38"/>
                <a:gd name="T24" fmla="*/ 14 w 141"/>
                <a:gd name="T25" fmla="*/ 2 h 38"/>
                <a:gd name="T26" fmla="*/ 15 w 141"/>
                <a:gd name="T27" fmla="*/ 2 h 38"/>
                <a:gd name="T28" fmla="*/ 16 w 141"/>
                <a:gd name="T29" fmla="*/ 3 h 38"/>
                <a:gd name="T30" fmla="*/ 16 w 141"/>
                <a:gd name="T31" fmla="*/ 3 h 38"/>
                <a:gd name="T32" fmla="*/ 18 w 141"/>
                <a:gd name="T33" fmla="*/ 3 h 38"/>
                <a:gd name="T34" fmla="*/ 19 w 141"/>
                <a:gd name="T35" fmla="*/ 3 h 38"/>
                <a:gd name="T36" fmla="*/ 19 w 141"/>
                <a:gd name="T37" fmla="*/ 3 h 38"/>
                <a:gd name="T38" fmla="*/ 20 w 141"/>
                <a:gd name="T39" fmla="*/ 3 h 38"/>
                <a:gd name="T40" fmla="*/ 22 w 141"/>
                <a:gd name="T41" fmla="*/ 3 h 38"/>
                <a:gd name="T42" fmla="*/ 22 w 141"/>
                <a:gd name="T43" fmla="*/ 2 h 38"/>
                <a:gd name="T44" fmla="*/ 22 w 141"/>
                <a:gd name="T45" fmla="*/ 2 h 38"/>
                <a:gd name="T46" fmla="*/ 22 w 141"/>
                <a:gd name="T47" fmla="*/ 2 h 38"/>
                <a:gd name="T48" fmla="*/ 22 w 141"/>
                <a:gd name="T49" fmla="*/ 2 h 38"/>
                <a:gd name="T50" fmla="*/ 22 w 141"/>
                <a:gd name="T51" fmla="*/ 2 h 38"/>
                <a:gd name="T52" fmla="*/ 21 w 141"/>
                <a:gd name="T53" fmla="*/ 2 h 38"/>
                <a:gd name="T54" fmla="*/ 20 w 141"/>
                <a:gd name="T55" fmla="*/ 2 h 38"/>
                <a:gd name="T56" fmla="*/ 19 w 141"/>
                <a:gd name="T57" fmla="*/ 2 h 38"/>
                <a:gd name="T58" fmla="*/ 18 w 141"/>
                <a:gd name="T59" fmla="*/ 2 h 38"/>
                <a:gd name="T60" fmla="*/ 17 w 141"/>
                <a:gd name="T61" fmla="*/ 2 h 38"/>
                <a:gd name="T62" fmla="*/ 16 w 141"/>
                <a:gd name="T63" fmla="*/ 1 h 38"/>
                <a:gd name="T64" fmla="*/ 16 w 141"/>
                <a:gd name="T65" fmla="*/ 1 h 38"/>
                <a:gd name="T66" fmla="*/ 15 w 141"/>
                <a:gd name="T67" fmla="*/ 1 h 38"/>
                <a:gd name="T68" fmla="*/ 14 w 141"/>
                <a:gd name="T69" fmla="*/ 1 h 38"/>
                <a:gd name="T70" fmla="*/ 13 w 141"/>
                <a:gd name="T71" fmla="*/ 1 h 38"/>
                <a:gd name="T72" fmla="*/ 13 w 141"/>
                <a:gd name="T73" fmla="*/ 0 h 38"/>
                <a:gd name="T74" fmla="*/ 12 w 141"/>
                <a:gd name="T75" fmla="*/ 1 h 38"/>
                <a:gd name="T76" fmla="*/ 10 w 141"/>
                <a:gd name="T77" fmla="*/ 1 h 38"/>
                <a:gd name="T78" fmla="*/ 10 w 141"/>
                <a:gd name="T79" fmla="*/ 1 h 38"/>
                <a:gd name="T80" fmla="*/ 9 w 141"/>
                <a:gd name="T81" fmla="*/ 1 h 38"/>
                <a:gd name="T82" fmla="*/ 2 w 141"/>
                <a:gd name="T83" fmla="*/ 1 h 38"/>
                <a:gd name="T84" fmla="*/ 2 w 141"/>
                <a:gd name="T85" fmla="*/ 2 h 38"/>
                <a:gd name="T86" fmla="*/ 2 w 141"/>
                <a:gd name="T87" fmla="*/ 2 h 38"/>
                <a:gd name="T88" fmla="*/ 1 w 141"/>
                <a:gd name="T89" fmla="*/ 2 h 38"/>
                <a:gd name="T90" fmla="*/ 1 w 141"/>
                <a:gd name="T91" fmla="*/ 2 h 38"/>
                <a:gd name="T92" fmla="*/ 1 w 141"/>
                <a:gd name="T93" fmla="*/ 3 h 38"/>
                <a:gd name="T94" fmla="*/ 0 w 141"/>
                <a:gd name="T95" fmla="*/ 3 h 38"/>
                <a:gd name="T96" fmla="*/ 0 w 141"/>
                <a:gd name="T97" fmla="*/ 4 h 38"/>
                <a:gd name="T98" fmla="*/ 1 w 141"/>
                <a:gd name="T99" fmla="*/ 4 h 38"/>
                <a:gd name="T100" fmla="*/ 1 w 141"/>
                <a:gd name="T101" fmla="*/ 4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1"/>
                <a:gd name="T154" fmla="*/ 0 h 38"/>
                <a:gd name="T155" fmla="*/ 141 w 1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1" h="38">
                  <a:moveTo>
                    <a:pt x="3" y="37"/>
                  </a:moveTo>
                  <a:lnTo>
                    <a:pt x="6" y="32"/>
                  </a:lnTo>
                  <a:lnTo>
                    <a:pt x="46" y="29"/>
                  </a:lnTo>
                  <a:lnTo>
                    <a:pt x="48" y="28"/>
                  </a:lnTo>
                  <a:lnTo>
                    <a:pt x="50" y="23"/>
                  </a:lnTo>
                  <a:lnTo>
                    <a:pt x="53" y="22"/>
                  </a:lnTo>
                  <a:lnTo>
                    <a:pt x="57" y="23"/>
                  </a:lnTo>
                  <a:lnTo>
                    <a:pt x="66" y="22"/>
                  </a:lnTo>
                  <a:lnTo>
                    <a:pt x="73" y="18"/>
                  </a:lnTo>
                  <a:lnTo>
                    <a:pt x="77" y="14"/>
                  </a:lnTo>
                  <a:lnTo>
                    <a:pt x="79" y="13"/>
                  </a:lnTo>
                  <a:lnTo>
                    <a:pt x="84" y="14"/>
                  </a:lnTo>
                  <a:lnTo>
                    <a:pt x="87" y="16"/>
                  </a:lnTo>
                  <a:lnTo>
                    <a:pt x="93" y="18"/>
                  </a:lnTo>
                  <a:lnTo>
                    <a:pt x="100" y="24"/>
                  </a:lnTo>
                  <a:lnTo>
                    <a:pt x="106" y="24"/>
                  </a:lnTo>
                  <a:lnTo>
                    <a:pt x="114" y="28"/>
                  </a:lnTo>
                  <a:lnTo>
                    <a:pt x="119" y="27"/>
                  </a:lnTo>
                  <a:lnTo>
                    <a:pt x="122" y="29"/>
                  </a:lnTo>
                  <a:lnTo>
                    <a:pt x="127" y="26"/>
                  </a:lnTo>
                  <a:lnTo>
                    <a:pt x="137" y="24"/>
                  </a:lnTo>
                  <a:lnTo>
                    <a:pt x="141" y="21"/>
                  </a:lnTo>
                  <a:lnTo>
                    <a:pt x="141" y="17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4" y="12"/>
                  </a:lnTo>
                  <a:lnTo>
                    <a:pt x="130" y="12"/>
                  </a:lnTo>
                  <a:lnTo>
                    <a:pt x="118" y="17"/>
                  </a:lnTo>
                  <a:lnTo>
                    <a:pt x="114" y="16"/>
                  </a:lnTo>
                  <a:lnTo>
                    <a:pt x="109" y="13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72" y="3"/>
                  </a:lnTo>
                  <a:lnTo>
                    <a:pt x="67" y="2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12" y="11"/>
                  </a:lnTo>
                  <a:lnTo>
                    <a:pt x="10" y="14"/>
                  </a:lnTo>
                  <a:lnTo>
                    <a:pt x="12" y="17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38"/>
                  </a:lnTo>
                  <a:lnTo>
                    <a:pt x="3" y="3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6" name="Freeform 63"/>
            <p:cNvSpPr>
              <a:spLocks/>
            </p:cNvSpPr>
            <p:nvPr/>
          </p:nvSpPr>
          <p:spPr bwMode="auto">
            <a:xfrm>
              <a:off x="2345467" y="2551584"/>
              <a:ext cx="166543" cy="37108"/>
            </a:xfrm>
            <a:custGeom>
              <a:avLst/>
              <a:gdLst>
                <a:gd name="T0" fmla="*/ 1 w 141"/>
                <a:gd name="T1" fmla="*/ 4 h 38"/>
                <a:gd name="T2" fmla="*/ 1 w 141"/>
                <a:gd name="T3" fmla="*/ 4 h 38"/>
                <a:gd name="T4" fmla="*/ 8 w 141"/>
                <a:gd name="T5" fmla="*/ 3 h 38"/>
                <a:gd name="T6" fmla="*/ 8 w 141"/>
                <a:gd name="T7" fmla="*/ 3 h 38"/>
                <a:gd name="T8" fmla="*/ 8 w 141"/>
                <a:gd name="T9" fmla="*/ 3 h 38"/>
                <a:gd name="T10" fmla="*/ 8 w 141"/>
                <a:gd name="T11" fmla="*/ 3 h 38"/>
                <a:gd name="T12" fmla="*/ 9 w 141"/>
                <a:gd name="T13" fmla="*/ 3 h 38"/>
                <a:gd name="T14" fmla="*/ 10 w 141"/>
                <a:gd name="T15" fmla="*/ 3 h 38"/>
                <a:gd name="T16" fmla="*/ 12 w 141"/>
                <a:gd name="T17" fmla="*/ 2 h 38"/>
                <a:gd name="T18" fmla="*/ 12 w 141"/>
                <a:gd name="T19" fmla="*/ 2 h 38"/>
                <a:gd name="T20" fmla="*/ 13 w 141"/>
                <a:gd name="T21" fmla="*/ 2 h 38"/>
                <a:gd name="T22" fmla="*/ 13 w 141"/>
                <a:gd name="T23" fmla="*/ 2 h 38"/>
                <a:gd name="T24" fmla="*/ 14 w 141"/>
                <a:gd name="T25" fmla="*/ 2 h 38"/>
                <a:gd name="T26" fmla="*/ 15 w 141"/>
                <a:gd name="T27" fmla="*/ 2 h 38"/>
                <a:gd name="T28" fmla="*/ 16 w 141"/>
                <a:gd name="T29" fmla="*/ 3 h 38"/>
                <a:gd name="T30" fmla="*/ 16 w 141"/>
                <a:gd name="T31" fmla="*/ 3 h 38"/>
                <a:gd name="T32" fmla="*/ 18 w 141"/>
                <a:gd name="T33" fmla="*/ 3 h 38"/>
                <a:gd name="T34" fmla="*/ 19 w 141"/>
                <a:gd name="T35" fmla="*/ 3 h 38"/>
                <a:gd name="T36" fmla="*/ 19 w 141"/>
                <a:gd name="T37" fmla="*/ 3 h 38"/>
                <a:gd name="T38" fmla="*/ 20 w 141"/>
                <a:gd name="T39" fmla="*/ 3 h 38"/>
                <a:gd name="T40" fmla="*/ 22 w 141"/>
                <a:gd name="T41" fmla="*/ 3 h 38"/>
                <a:gd name="T42" fmla="*/ 22 w 141"/>
                <a:gd name="T43" fmla="*/ 2 h 38"/>
                <a:gd name="T44" fmla="*/ 22 w 141"/>
                <a:gd name="T45" fmla="*/ 2 h 38"/>
                <a:gd name="T46" fmla="*/ 22 w 141"/>
                <a:gd name="T47" fmla="*/ 2 h 38"/>
                <a:gd name="T48" fmla="*/ 22 w 141"/>
                <a:gd name="T49" fmla="*/ 2 h 38"/>
                <a:gd name="T50" fmla="*/ 22 w 141"/>
                <a:gd name="T51" fmla="*/ 2 h 38"/>
                <a:gd name="T52" fmla="*/ 21 w 141"/>
                <a:gd name="T53" fmla="*/ 2 h 38"/>
                <a:gd name="T54" fmla="*/ 20 w 141"/>
                <a:gd name="T55" fmla="*/ 2 h 38"/>
                <a:gd name="T56" fmla="*/ 19 w 141"/>
                <a:gd name="T57" fmla="*/ 2 h 38"/>
                <a:gd name="T58" fmla="*/ 18 w 141"/>
                <a:gd name="T59" fmla="*/ 2 h 38"/>
                <a:gd name="T60" fmla="*/ 17 w 141"/>
                <a:gd name="T61" fmla="*/ 2 h 38"/>
                <a:gd name="T62" fmla="*/ 16 w 141"/>
                <a:gd name="T63" fmla="*/ 1 h 38"/>
                <a:gd name="T64" fmla="*/ 16 w 141"/>
                <a:gd name="T65" fmla="*/ 1 h 38"/>
                <a:gd name="T66" fmla="*/ 15 w 141"/>
                <a:gd name="T67" fmla="*/ 1 h 38"/>
                <a:gd name="T68" fmla="*/ 14 w 141"/>
                <a:gd name="T69" fmla="*/ 1 h 38"/>
                <a:gd name="T70" fmla="*/ 13 w 141"/>
                <a:gd name="T71" fmla="*/ 1 h 38"/>
                <a:gd name="T72" fmla="*/ 13 w 141"/>
                <a:gd name="T73" fmla="*/ 0 h 38"/>
                <a:gd name="T74" fmla="*/ 12 w 141"/>
                <a:gd name="T75" fmla="*/ 1 h 38"/>
                <a:gd name="T76" fmla="*/ 10 w 141"/>
                <a:gd name="T77" fmla="*/ 1 h 38"/>
                <a:gd name="T78" fmla="*/ 10 w 141"/>
                <a:gd name="T79" fmla="*/ 1 h 38"/>
                <a:gd name="T80" fmla="*/ 9 w 141"/>
                <a:gd name="T81" fmla="*/ 1 h 38"/>
                <a:gd name="T82" fmla="*/ 2 w 141"/>
                <a:gd name="T83" fmla="*/ 1 h 38"/>
                <a:gd name="T84" fmla="*/ 2 w 141"/>
                <a:gd name="T85" fmla="*/ 2 h 38"/>
                <a:gd name="T86" fmla="*/ 2 w 141"/>
                <a:gd name="T87" fmla="*/ 2 h 38"/>
                <a:gd name="T88" fmla="*/ 1 w 141"/>
                <a:gd name="T89" fmla="*/ 2 h 38"/>
                <a:gd name="T90" fmla="*/ 1 w 141"/>
                <a:gd name="T91" fmla="*/ 2 h 38"/>
                <a:gd name="T92" fmla="*/ 1 w 141"/>
                <a:gd name="T93" fmla="*/ 3 h 38"/>
                <a:gd name="T94" fmla="*/ 0 w 141"/>
                <a:gd name="T95" fmla="*/ 3 h 38"/>
                <a:gd name="T96" fmla="*/ 0 w 141"/>
                <a:gd name="T97" fmla="*/ 4 h 38"/>
                <a:gd name="T98" fmla="*/ 1 w 141"/>
                <a:gd name="T99" fmla="*/ 4 h 38"/>
                <a:gd name="T100" fmla="*/ 1 w 141"/>
                <a:gd name="T101" fmla="*/ 4 h 3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1"/>
                <a:gd name="T154" fmla="*/ 0 h 38"/>
                <a:gd name="T155" fmla="*/ 141 w 141"/>
                <a:gd name="T156" fmla="*/ 38 h 3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1" h="38">
                  <a:moveTo>
                    <a:pt x="3" y="37"/>
                  </a:moveTo>
                  <a:lnTo>
                    <a:pt x="6" y="32"/>
                  </a:lnTo>
                  <a:lnTo>
                    <a:pt x="46" y="29"/>
                  </a:lnTo>
                  <a:lnTo>
                    <a:pt x="48" y="28"/>
                  </a:lnTo>
                  <a:lnTo>
                    <a:pt x="50" y="23"/>
                  </a:lnTo>
                  <a:lnTo>
                    <a:pt x="53" y="22"/>
                  </a:lnTo>
                  <a:lnTo>
                    <a:pt x="57" y="23"/>
                  </a:lnTo>
                  <a:lnTo>
                    <a:pt x="66" y="22"/>
                  </a:lnTo>
                  <a:lnTo>
                    <a:pt x="73" y="18"/>
                  </a:lnTo>
                  <a:lnTo>
                    <a:pt x="77" y="14"/>
                  </a:lnTo>
                  <a:lnTo>
                    <a:pt x="79" y="13"/>
                  </a:lnTo>
                  <a:lnTo>
                    <a:pt x="84" y="14"/>
                  </a:lnTo>
                  <a:lnTo>
                    <a:pt x="87" y="16"/>
                  </a:lnTo>
                  <a:lnTo>
                    <a:pt x="93" y="18"/>
                  </a:lnTo>
                  <a:lnTo>
                    <a:pt x="100" y="24"/>
                  </a:lnTo>
                  <a:lnTo>
                    <a:pt x="106" y="24"/>
                  </a:lnTo>
                  <a:lnTo>
                    <a:pt x="114" y="28"/>
                  </a:lnTo>
                  <a:lnTo>
                    <a:pt x="119" y="27"/>
                  </a:lnTo>
                  <a:lnTo>
                    <a:pt x="122" y="29"/>
                  </a:lnTo>
                  <a:lnTo>
                    <a:pt x="127" y="26"/>
                  </a:lnTo>
                  <a:lnTo>
                    <a:pt x="137" y="24"/>
                  </a:lnTo>
                  <a:lnTo>
                    <a:pt x="141" y="21"/>
                  </a:lnTo>
                  <a:lnTo>
                    <a:pt x="141" y="17"/>
                  </a:lnTo>
                  <a:lnTo>
                    <a:pt x="139" y="13"/>
                  </a:lnTo>
                  <a:lnTo>
                    <a:pt x="137" y="13"/>
                  </a:lnTo>
                  <a:lnTo>
                    <a:pt x="134" y="12"/>
                  </a:lnTo>
                  <a:lnTo>
                    <a:pt x="130" y="12"/>
                  </a:lnTo>
                  <a:lnTo>
                    <a:pt x="118" y="17"/>
                  </a:lnTo>
                  <a:lnTo>
                    <a:pt x="114" y="16"/>
                  </a:lnTo>
                  <a:lnTo>
                    <a:pt x="109" y="13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94" y="8"/>
                  </a:lnTo>
                  <a:lnTo>
                    <a:pt x="88" y="2"/>
                  </a:lnTo>
                  <a:lnTo>
                    <a:pt x="84" y="1"/>
                  </a:lnTo>
                  <a:lnTo>
                    <a:pt x="82" y="0"/>
                  </a:lnTo>
                  <a:lnTo>
                    <a:pt x="72" y="3"/>
                  </a:lnTo>
                  <a:lnTo>
                    <a:pt x="67" y="2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12" y="11"/>
                  </a:lnTo>
                  <a:lnTo>
                    <a:pt x="10" y="14"/>
                  </a:lnTo>
                  <a:lnTo>
                    <a:pt x="12" y="17"/>
                  </a:lnTo>
                  <a:lnTo>
                    <a:pt x="7" y="16"/>
                  </a:lnTo>
                  <a:lnTo>
                    <a:pt x="5" y="17"/>
                  </a:lnTo>
                  <a:lnTo>
                    <a:pt x="3" y="22"/>
                  </a:lnTo>
                  <a:lnTo>
                    <a:pt x="0" y="24"/>
                  </a:lnTo>
                  <a:lnTo>
                    <a:pt x="0" y="37"/>
                  </a:lnTo>
                  <a:lnTo>
                    <a:pt x="2" y="38"/>
                  </a:lnTo>
                  <a:lnTo>
                    <a:pt x="3" y="3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7" name="Freeform 64"/>
            <p:cNvSpPr>
              <a:spLocks/>
            </p:cNvSpPr>
            <p:nvPr/>
          </p:nvSpPr>
          <p:spPr bwMode="auto">
            <a:xfrm>
              <a:off x="2345466" y="2603533"/>
              <a:ext cx="172636" cy="83492"/>
            </a:xfrm>
            <a:custGeom>
              <a:avLst/>
              <a:gdLst>
                <a:gd name="T0" fmla="*/ 23 w 146"/>
                <a:gd name="T1" fmla="*/ 0 h 82"/>
                <a:gd name="T2" fmla="*/ 23 w 146"/>
                <a:gd name="T3" fmla="*/ 1 h 82"/>
                <a:gd name="T4" fmla="*/ 23 w 146"/>
                <a:gd name="T5" fmla="*/ 2 h 82"/>
                <a:gd name="T6" fmla="*/ 23 w 146"/>
                <a:gd name="T7" fmla="*/ 2 h 82"/>
                <a:gd name="T8" fmla="*/ 23 w 146"/>
                <a:gd name="T9" fmla="*/ 2 h 82"/>
                <a:gd name="T10" fmla="*/ 22 w 146"/>
                <a:gd name="T11" fmla="*/ 3 h 82"/>
                <a:gd name="T12" fmla="*/ 22 w 146"/>
                <a:gd name="T13" fmla="*/ 3 h 82"/>
                <a:gd name="T14" fmla="*/ 22 w 146"/>
                <a:gd name="T15" fmla="*/ 3 h 82"/>
                <a:gd name="T16" fmla="*/ 21 w 146"/>
                <a:gd name="T17" fmla="*/ 3 h 82"/>
                <a:gd name="T18" fmla="*/ 22 w 146"/>
                <a:gd name="T19" fmla="*/ 4 h 82"/>
                <a:gd name="T20" fmla="*/ 22 w 146"/>
                <a:gd name="T21" fmla="*/ 4 h 82"/>
                <a:gd name="T22" fmla="*/ 23 w 146"/>
                <a:gd name="T23" fmla="*/ 7 h 82"/>
                <a:gd name="T24" fmla="*/ 22 w 146"/>
                <a:gd name="T25" fmla="*/ 7 h 82"/>
                <a:gd name="T26" fmla="*/ 21 w 146"/>
                <a:gd name="T27" fmla="*/ 7 h 82"/>
                <a:gd name="T28" fmla="*/ 19 w 146"/>
                <a:gd name="T29" fmla="*/ 7 h 82"/>
                <a:gd name="T30" fmla="*/ 16 w 146"/>
                <a:gd name="T31" fmla="*/ 8 h 82"/>
                <a:gd name="T32" fmla="*/ 15 w 146"/>
                <a:gd name="T33" fmla="*/ 8 h 82"/>
                <a:gd name="T34" fmla="*/ 14 w 146"/>
                <a:gd name="T35" fmla="*/ 10 h 82"/>
                <a:gd name="T36" fmla="*/ 13 w 146"/>
                <a:gd name="T37" fmla="*/ 10 h 82"/>
                <a:gd name="T38" fmla="*/ 13 w 146"/>
                <a:gd name="T39" fmla="*/ 11 h 82"/>
                <a:gd name="T40" fmla="*/ 13 w 146"/>
                <a:gd name="T41" fmla="*/ 10 h 82"/>
                <a:gd name="T42" fmla="*/ 13 w 146"/>
                <a:gd name="T43" fmla="*/ 10 h 82"/>
                <a:gd name="T44" fmla="*/ 12 w 146"/>
                <a:gd name="T45" fmla="*/ 10 h 82"/>
                <a:gd name="T46" fmla="*/ 11 w 146"/>
                <a:gd name="T47" fmla="*/ 10 h 82"/>
                <a:gd name="T48" fmla="*/ 10 w 146"/>
                <a:gd name="T49" fmla="*/ 10 h 82"/>
                <a:gd name="T50" fmla="*/ 10 w 146"/>
                <a:gd name="T51" fmla="*/ 9 h 82"/>
                <a:gd name="T52" fmla="*/ 10 w 146"/>
                <a:gd name="T53" fmla="*/ 8 h 82"/>
                <a:gd name="T54" fmla="*/ 10 w 146"/>
                <a:gd name="T55" fmla="*/ 7 h 82"/>
                <a:gd name="T56" fmla="*/ 10 w 146"/>
                <a:gd name="T57" fmla="*/ 5 h 82"/>
                <a:gd name="T58" fmla="*/ 14 w 146"/>
                <a:gd name="T59" fmla="*/ 5 h 82"/>
                <a:gd name="T60" fmla="*/ 14 w 146"/>
                <a:gd name="T61" fmla="*/ 5 h 82"/>
                <a:gd name="T62" fmla="*/ 10 w 146"/>
                <a:gd name="T63" fmla="*/ 5 h 82"/>
                <a:gd name="T64" fmla="*/ 8 w 146"/>
                <a:gd name="T65" fmla="*/ 7 h 82"/>
                <a:gd name="T66" fmla="*/ 7 w 146"/>
                <a:gd name="T67" fmla="*/ 7 h 82"/>
                <a:gd name="T68" fmla="*/ 6 w 146"/>
                <a:gd name="T69" fmla="*/ 7 h 82"/>
                <a:gd name="T70" fmla="*/ 6 w 146"/>
                <a:gd name="T71" fmla="*/ 5 h 82"/>
                <a:gd name="T72" fmla="*/ 5 w 146"/>
                <a:gd name="T73" fmla="*/ 5 h 82"/>
                <a:gd name="T74" fmla="*/ 4 w 146"/>
                <a:gd name="T75" fmla="*/ 5 h 82"/>
                <a:gd name="T76" fmla="*/ 3 w 146"/>
                <a:gd name="T77" fmla="*/ 5 h 82"/>
                <a:gd name="T78" fmla="*/ 3 w 146"/>
                <a:gd name="T79" fmla="*/ 4 h 82"/>
                <a:gd name="T80" fmla="*/ 1 w 146"/>
                <a:gd name="T81" fmla="*/ 3 h 82"/>
                <a:gd name="T82" fmla="*/ 0 w 146"/>
                <a:gd name="T83" fmla="*/ 2 h 82"/>
                <a:gd name="T84" fmla="*/ 1 w 146"/>
                <a:gd name="T85" fmla="*/ 2 h 82"/>
                <a:gd name="T86" fmla="*/ 1 w 146"/>
                <a:gd name="T87" fmla="*/ 2 h 82"/>
                <a:gd name="T88" fmla="*/ 1 w 146"/>
                <a:gd name="T89" fmla="*/ 2 h 82"/>
                <a:gd name="T90" fmla="*/ 2 w 146"/>
                <a:gd name="T91" fmla="*/ 2 h 82"/>
                <a:gd name="T92" fmla="*/ 4 w 146"/>
                <a:gd name="T93" fmla="*/ 2 h 82"/>
                <a:gd name="T94" fmla="*/ 8 w 146"/>
                <a:gd name="T95" fmla="*/ 2 h 82"/>
                <a:gd name="T96" fmla="*/ 13 w 146"/>
                <a:gd name="T97" fmla="*/ 1 h 82"/>
                <a:gd name="T98" fmla="*/ 23 w 146"/>
                <a:gd name="T99" fmla="*/ 0 h 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82"/>
                <a:gd name="T152" fmla="*/ 146 w 146"/>
                <a:gd name="T153" fmla="*/ 82 h 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82">
                  <a:moveTo>
                    <a:pt x="143" y="0"/>
                  </a:moveTo>
                  <a:lnTo>
                    <a:pt x="143" y="6"/>
                  </a:lnTo>
                  <a:lnTo>
                    <a:pt x="146" y="11"/>
                  </a:lnTo>
                  <a:lnTo>
                    <a:pt x="146" y="15"/>
                  </a:lnTo>
                  <a:lnTo>
                    <a:pt x="144" y="19"/>
                  </a:lnTo>
                  <a:lnTo>
                    <a:pt x="141" y="21"/>
                  </a:lnTo>
                  <a:lnTo>
                    <a:pt x="136" y="21"/>
                  </a:lnTo>
                  <a:lnTo>
                    <a:pt x="134" y="22"/>
                  </a:lnTo>
                  <a:lnTo>
                    <a:pt x="133" y="25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2" y="47"/>
                  </a:lnTo>
                  <a:lnTo>
                    <a:pt x="136" y="47"/>
                  </a:lnTo>
                  <a:lnTo>
                    <a:pt x="133" y="49"/>
                  </a:lnTo>
                  <a:lnTo>
                    <a:pt x="117" y="50"/>
                  </a:lnTo>
                  <a:lnTo>
                    <a:pt x="101" y="56"/>
                  </a:lnTo>
                  <a:lnTo>
                    <a:pt x="96" y="60"/>
                  </a:lnTo>
                  <a:lnTo>
                    <a:pt x="88" y="77"/>
                  </a:lnTo>
                  <a:lnTo>
                    <a:pt x="84" y="80"/>
                  </a:lnTo>
                  <a:lnTo>
                    <a:pt x="79" y="82"/>
                  </a:lnTo>
                  <a:lnTo>
                    <a:pt x="79" y="79"/>
                  </a:lnTo>
                  <a:lnTo>
                    <a:pt x="80" y="77"/>
                  </a:lnTo>
                  <a:lnTo>
                    <a:pt x="72" y="78"/>
                  </a:lnTo>
                  <a:lnTo>
                    <a:pt x="68" y="77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5" y="57"/>
                  </a:lnTo>
                  <a:lnTo>
                    <a:pt x="61" y="48"/>
                  </a:lnTo>
                  <a:lnTo>
                    <a:pt x="67" y="44"/>
                  </a:lnTo>
                  <a:lnTo>
                    <a:pt x="87" y="42"/>
                  </a:lnTo>
                  <a:lnTo>
                    <a:pt x="88" y="38"/>
                  </a:lnTo>
                  <a:lnTo>
                    <a:pt x="61" y="42"/>
                  </a:lnTo>
                  <a:lnTo>
                    <a:pt x="50" y="47"/>
                  </a:lnTo>
                  <a:lnTo>
                    <a:pt x="44" y="48"/>
                  </a:lnTo>
                  <a:lnTo>
                    <a:pt x="40" y="47"/>
                  </a:lnTo>
                  <a:lnTo>
                    <a:pt x="39" y="41"/>
                  </a:lnTo>
                  <a:lnTo>
                    <a:pt x="35" y="41"/>
                  </a:lnTo>
                  <a:lnTo>
                    <a:pt x="26" y="40"/>
                  </a:lnTo>
                  <a:lnTo>
                    <a:pt x="23" y="36"/>
                  </a:lnTo>
                  <a:lnTo>
                    <a:pt x="23" y="27"/>
                  </a:lnTo>
                  <a:lnTo>
                    <a:pt x="5" y="23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13" y="17"/>
                  </a:lnTo>
                  <a:lnTo>
                    <a:pt x="26" y="11"/>
                  </a:lnTo>
                  <a:lnTo>
                    <a:pt x="50" y="12"/>
                  </a:lnTo>
                  <a:lnTo>
                    <a:pt x="78" y="1"/>
                  </a:lnTo>
                  <a:lnTo>
                    <a:pt x="14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8" name="Freeform 65"/>
            <p:cNvSpPr>
              <a:spLocks/>
            </p:cNvSpPr>
            <p:nvPr/>
          </p:nvSpPr>
          <p:spPr bwMode="auto">
            <a:xfrm>
              <a:off x="2345466" y="2603533"/>
              <a:ext cx="172636" cy="83492"/>
            </a:xfrm>
            <a:custGeom>
              <a:avLst/>
              <a:gdLst>
                <a:gd name="T0" fmla="*/ 23 w 146"/>
                <a:gd name="T1" fmla="*/ 0 h 82"/>
                <a:gd name="T2" fmla="*/ 23 w 146"/>
                <a:gd name="T3" fmla="*/ 1 h 82"/>
                <a:gd name="T4" fmla="*/ 23 w 146"/>
                <a:gd name="T5" fmla="*/ 2 h 82"/>
                <a:gd name="T6" fmla="*/ 23 w 146"/>
                <a:gd name="T7" fmla="*/ 2 h 82"/>
                <a:gd name="T8" fmla="*/ 23 w 146"/>
                <a:gd name="T9" fmla="*/ 2 h 82"/>
                <a:gd name="T10" fmla="*/ 22 w 146"/>
                <a:gd name="T11" fmla="*/ 3 h 82"/>
                <a:gd name="T12" fmla="*/ 22 w 146"/>
                <a:gd name="T13" fmla="*/ 3 h 82"/>
                <a:gd name="T14" fmla="*/ 22 w 146"/>
                <a:gd name="T15" fmla="*/ 3 h 82"/>
                <a:gd name="T16" fmla="*/ 21 w 146"/>
                <a:gd name="T17" fmla="*/ 3 h 82"/>
                <a:gd name="T18" fmla="*/ 22 w 146"/>
                <a:gd name="T19" fmla="*/ 4 h 82"/>
                <a:gd name="T20" fmla="*/ 22 w 146"/>
                <a:gd name="T21" fmla="*/ 4 h 82"/>
                <a:gd name="T22" fmla="*/ 23 w 146"/>
                <a:gd name="T23" fmla="*/ 7 h 82"/>
                <a:gd name="T24" fmla="*/ 22 w 146"/>
                <a:gd name="T25" fmla="*/ 7 h 82"/>
                <a:gd name="T26" fmla="*/ 21 w 146"/>
                <a:gd name="T27" fmla="*/ 7 h 82"/>
                <a:gd name="T28" fmla="*/ 19 w 146"/>
                <a:gd name="T29" fmla="*/ 7 h 82"/>
                <a:gd name="T30" fmla="*/ 16 w 146"/>
                <a:gd name="T31" fmla="*/ 8 h 82"/>
                <a:gd name="T32" fmla="*/ 15 w 146"/>
                <a:gd name="T33" fmla="*/ 8 h 82"/>
                <a:gd name="T34" fmla="*/ 14 w 146"/>
                <a:gd name="T35" fmla="*/ 10 h 82"/>
                <a:gd name="T36" fmla="*/ 13 w 146"/>
                <a:gd name="T37" fmla="*/ 10 h 82"/>
                <a:gd name="T38" fmla="*/ 13 w 146"/>
                <a:gd name="T39" fmla="*/ 11 h 82"/>
                <a:gd name="T40" fmla="*/ 13 w 146"/>
                <a:gd name="T41" fmla="*/ 10 h 82"/>
                <a:gd name="T42" fmla="*/ 13 w 146"/>
                <a:gd name="T43" fmla="*/ 10 h 82"/>
                <a:gd name="T44" fmla="*/ 12 w 146"/>
                <a:gd name="T45" fmla="*/ 10 h 82"/>
                <a:gd name="T46" fmla="*/ 11 w 146"/>
                <a:gd name="T47" fmla="*/ 10 h 82"/>
                <a:gd name="T48" fmla="*/ 10 w 146"/>
                <a:gd name="T49" fmla="*/ 10 h 82"/>
                <a:gd name="T50" fmla="*/ 10 w 146"/>
                <a:gd name="T51" fmla="*/ 9 h 82"/>
                <a:gd name="T52" fmla="*/ 10 w 146"/>
                <a:gd name="T53" fmla="*/ 8 h 82"/>
                <a:gd name="T54" fmla="*/ 10 w 146"/>
                <a:gd name="T55" fmla="*/ 7 h 82"/>
                <a:gd name="T56" fmla="*/ 10 w 146"/>
                <a:gd name="T57" fmla="*/ 5 h 82"/>
                <a:gd name="T58" fmla="*/ 14 w 146"/>
                <a:gd name="T59" fmla="*/ 5 h 82"/>
                <a:gd name="T60" fmla="*/ 14 w 146"/>
                <a:gd name="T61" fmla="*/ 5 h 82"/>
                <a:gd name="T62" fmla="*/ 10 w 146"/>
                <a:gd name="T63" fmla="*/ 5 h 82"/>
                <a:gd name="T64" fmla="*/ 8 w 146"/>
                <a:gd name="T65" fmla="*/ 7 h 82"/>
                <a:gd name="T66" fmla="*/ 7 w 146"/>
                <a:gd name="T67" fmla="*/ 7 h 82"/>
                <a:gd name="T68" fmla="*/ 6 w 146"/>
                <a:gd name="T69" fmla="*/ 7 h 82"/>
                <a:gd name="T70" fmla="*/ 6 w 146"/>
                <a:gd name="T71" fmla="*/ 5 h 82"/>
                <a:gd name="T72" fmla="*/ 5 w 146"/>
                <a:gd name="T73" fmla="*/ 5 h 82"/>
                <a:gd name="T74" fmla="*/ 4 w 146"/>
                <a:gd name="T75" fmla="*/ 5 h 82"/>
                <a:gd name="T76" fmla="*/ 3 w 146"/>
                <a:gd name="T77" fmla="*/ 5 h 82"/>
                <a:gd name="T78" fmla="*/ 3 w 146"/>
                <a:gd name="T79" fmla="*/ 4 h 82"/>
                <a:gd name="T80" fmla="*/ 1 w 146"/>
                <a:gd name="T81" fmla="*/ 3 h 82"/>
                <a:gd name="T82" fmla="*/ 0 w 146"/>
                <a:gd name="T83" fmla="*/ 2 h 82"/>
                <a:gd name="T84" fmla="*/ 1 w 146"/>
                <a:gd name="T85" fmla="*/ 2 h 82"/>
                <a:gd name="T86" fmla="*/ 1 w 146"/>
                <a:gd name="T87" fmla="*/ 2 h 82"/>
                <a:gd name="T88" fmla="*/ 1 w 146"/>
                <a:gd name="T89" fmla="*/ 2 h 82"/>
                <a:gd name="T90" fmla="*/ 2 w 146"/>
                <a:gd name="T91" fmla="*/ 2 h 82"/>
                <a:gd name="T92" fmla="*/ 4 w 146"/>
                <a:gd name="T93" fmla="*/ 2 h 82"/>
                <a:gd name="T94" fmla="*/ 8 w 146"/>
                <a:gd name="T95" fmla="*/ 2 h 82"/>
                <a:gd name="T96" fmla="*/ 13 w 146"/>
                <a:gd name="T97" fmla="*/ 1 h 82"/>
                <a:gd name="T98" fmla="*/ 23 w 146"/>
                <a:gd name="T99" fmla="*/ 0 h 8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82"/>
                <a:gd name="T152" fmla="*/ 146 w 146"/>
                <a:gd name="T153" fmla="*/ 82 h 8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82">
                  <a:moveTo>
                    <a:pt x="143" y="0"/>
                  </a:moveTo>
                  <a:lnTo>
                    <a:pt x="143" y="6"/>
                  </a:lnTo>
                  <a:lnTo>
                    <a:pt x="146" y="11"/>
                  </a:lnTo>
                  <a:lnTo>
                    <a:pt x="146" y="15"/>
                  </a:lnTo>
                  <a:lnTo>
                    <a:pt x="144" y="19"/>
                  </a:lnTo>
                  <a:lnTo>
                    <a:pt x="141" y="21"/>
                  </a:lnTo>
                  <a:lnTo>
                    <a:pt x="136" y="21"/>
                  </a:lnTo>
                  <a:lnTo>
                    <a:pt x="134" y="22"/>
                  </a:lnTo>
                  <a:lnTo>
                    <a:pt x="133" y="25"/>
                  </a:lnTo>
                  <a:lnTo>
                    <a:pt x="137" y="28"/>
                  </a:lnTo>
                  <a:lnTo>
                    <a:pt x="141" y="33"/>
                  </a:lnTo>
                  <a:lnTo>
                    <a:pt x="142" y="47"/>
                  </a:lnTo>
                  <a:lnTo>
                    <a:pt x="136" y="47"/>
                  </a:lnTo>
                  <a:lnTo>
                    <a:pt x="133" y="49"/>
                  </a:lnTo>
                  <a:lnTo>
                    <a:pt x="117" y="50"/>
                  </a:lnTo>
                  <a:lnTo>
                    <a:pt x="101" y="56"/>
                  </a:lnTo>
                  <a:lnTo>
                    <a:pt x="96" y="60"/>
                  </a:lnTo>
                  <a:lnTo>
                    <a:pt x="88" y="77"/>
                  </a:lnTo>
                  <a:lnTo>
                    <a:pt x="84" y="80"/>
                  </a:lnTo>
                  <a:lnTo>
                    <a:pt x="79" y="82"/>
                  </a:lnTo>
                  <a:lnTo>
                    <a:pt x="79" y="79"/>
                  </a:lnTo>
                  <a:lnTo>
                    <a:pt x="80" y="77"/>
                  </a:lnTo>
                  <a:lnTo>
                    <a:pt x="72" y="78"/>
                  </a:lnTo>
                  <a:lnTo>
                    <a:pt x="68" y="77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5" y="57"/>
                  </a:lnTo>
                  <a:lnTo>
                    <a:pt x="61" y="48"/>
                  </a:lnTo>
                  <a:lnTo>
                    <a:pt x="67" y="44"/>
                  </a:lnTo>
                  <a:lnTo>
                    <a:pt x="87" y="42"/>
                  </a:lnTo>
                  <a:lnTo>
                    <a:pt x="88" y="38"/>
                  </a:lnTo>
                  <a:lnTo>
                    <a:pt x="61" y="42"/>
                  </a:lnTo>
                  <a:lnTo>
                    <a:pt x="50" y="47"/>
                  </a:lnTo>
                  <a:lnTo>
                    <a:pt x="44" y="48"/>
                  </a:lnTo>
                  <a:lnTo>
                    <a:pt x="40" y="47"/>
                  </a:lnTo>
                  <a:lnTo>
                    <a:pt x="39" y="41"/>
                  </a:lnTo>
                  <a:lnTo>
                    <a:pt x="35" y="41"/>
                  </a:lnTo>
                  <a:lnTo>
                    <a:pt x="26" y="40"/>
                  </a:lnTo>
                  <a:lnTo>
                    <a:pt x="23" y="36"/>
                  </a:lnTo>
                  <a:lnTo>
                    <a:pt x="23" y="27"/>
                  </a:lnTo>
                  <a:lnTo>
                    <a:pt x="5" y="23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4" y="15"/>
                  </a:lnTo>
                  <a:lnTo>
                    <a:pt x="7" y="17"/>
                  </a:lnTo>
                  <a:lnTo>
                    <a:pt x="13" y="17"/>
                  </a:lnTo>
                  <a:lnTo>
                    <a:pt x="26" y="11"/>
                  </a:lnTo>
                  <a:lnTo>
                    <a:pt x="50" y="12"/>
                  </a:lnTo>
                  <a:lnTo>
                    <a:pt x="78" y="1"/>
                  </a:lnTo>
                  <a:lnTo>
                    <a:pt x="14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59" name="Freeform 66"/>
            <p:cNvSpPr>
              <a:spLocks/>
            </p:cNvSpPr>
            <p:nvPr/>
          </p:nvSpPr>
          <p:spPr bwMode="auto">
            <a:xfrm>
              <a:off x="2635902" y="2796491"/>
              <a:ext cx="225442" cy="189248"/>
            </a:xfrm>
            <a:custGeom>
              <a:avLst/>
              <a:gdLst>
                <a:gd name="T0" fmla="*/ 1 w 190"/>
                <a:gd name="T1" fmla="*/ 9 h 189"/>
                <a:gd name="T2" fmla="*/ 1 w 190"/>
                <a:gd name="T3" fmla="*/ 8 h 189"/>
                <a:gd name="T4" fmla="*/ 2 w 190"/>
                <a:gd name="T5" fmla="*/ 7 h 189"/>
                <a:gd name="T6" fmla="*/ 2 w 190"/>
                <a:gd name="T7" fmla="*/ 7 h 189"/>
                <a:gd name="T8" fmla="*/ 5 w 190"/>
                <a:gd name="T9" fmla="*/ 5 h 189"/>
                <a:gd name="T10" fmla="*/ 6 w 190"/>
                <a:gd name="T11" fmla="*/ 5 h 189"/>
                <a:gd name="T12" fmla="*/ 7 w 190"/>
                <a:gd name="T13" fmla="*/ 4 h 189"/>
                <a:gd name="T14" fmla="*/ 7 w 190"/>
                <a:gd name="T15" fmla="*/ 3 h 189"/>
                <a:gd name="T16" fmla="*/ 9 w 190"/>
                <a:gd name="T17" fmla="*/ 2 h 189"/>
                <a:gd name="T18" fmla="*/ 9 w 190"/>
                <a:gd name="T19" fmla="*/ 2 h 189"/>
                <a:gd name="T20" fmla="*/ 9 w 190"/>
                <a:gd name="T21" fmla="*/ 1 h 189"/>
                <a:gd name="T22" fmla="*/ 11 w 190"/>
                <a:gd name="T23" fmla="*/ 0 h 189"/>
                <a:gd name="T24" fmla="*/ 12 w 190"/>
                <a:gd name="T25" fmla="*/ 1 h 189"/>
                <a:gd name="T26" fmla="*/ 13 w 190"/>
                <a:gd name="T27" fmla="*/ 0 h 189"/>
                <a:gd name="T28" fmla="*/ 13 w 190"/>
                <a:gd name="T29" fmla="*/ 1 h 189"/>
                <a:gd name="T30" fmla="*/ 15 w 190"/>
                <a:gd name="T31" fmla="*/ 1 h 189"/>
                <a:gd name="T32" fmla="*/ 15 w 190"/>
                <a:gd name="T33" fmla="*/ 3 h 189"/>
                <a:gd name="T34" fmla="*/ 16 w 190"/>
                <a:gd name="T35" fmla="*/ 4 h 189"/>
                <a:gd name="T36" fmla="*/ 16 w 190"/>
                <a:gd name="T37" fmla="*/ 6 h 189"/>
                <a:gd name="T38" fmla="*/ 15 w 190"/>
                <a:gd name="T39" fmla="*/ 6 h 189"/>
                <a:gd name="T40" fmla="*/ 16 w 190"/>
                <a:gd name="T41" fmla="*/ 6 h 189"/>
                <a:gd name="T42" fmla="*/ 16 w 190"/>
                <a:gd name="T43" fmla="*/ 6 h 189"/>
                <a:gd name="T44" fmla="*/ 19 w 190"/>
                <a:gd name="T45" fmla="*/ 7 h 189"/>
                <a:gd name="T46" fmla="*/ 20 w 190"/>
                <a:gd name="T47" fmla="*/ 7 h 189"/>
                <a:gd name="T48" fmla="*/ 20 w 190"/>
                <a:gd name="T49" fmla="*/ 6 h 189"/>
                <a:gd name="T50" fmla="*/ 21 w 190"/>
                <a:gd name="T51" fmla="*/ 5 h 189"/>
                <a:gd name="T52" fmla="*/ 23 w 190"/>
                <a:gd name="T53" fmla="*/ 6 h 189"/>
                <a:gd name="T54" fmla="*/ 23 w 190"/>
                <a:gd name="T55" fmla="*/ 7 h 189"/>
                <a:gd name="T56" fmla="*/ 23 w 190"/>
                <a:gd name="T57" fmla="*/ 8 h 189"/>
                <a:gd name="T58" fmla="*/ 23 w 190"/>
                <a:gd name="T59" fmla="*/ 10 h 189"/>
                <a:gd name="T60" fmla="*/ 22 w 190"/>
                <a:gd name="T61" fmla="*/ 11 h 189"/>
                <a:gd name="T62" fmla="*/ 22 w 190"/>
                <a:gd name="T63" fmla="*/ 12 h 189"/>
                <a:gd name="T64" fmla="*/ 23 w 190"/>
                <a:gd name="T65" fmla="*/ 12 h 189"/>
                <a:gd name="T66" fmla="*/ 23 w 190"/>
                <a:gd name="T67" fmla="*/ 12 h 189"/>
                <a:gd name="T68" fmla="*/ 25 w 190"/>
                <a:gd name="T69" fmla="*/ 12 h 189"/>
                <a:gd name="T70" fmla="*/ 26 w 190"/>
                <a:gd name="T71" fmla="*/ 13 h 189"/>
                <a:gd name="T72" fmla="*/ 27 w 190"/>
                <a:gd name="T73" fmla="*/ 13 h 189"/>
                <a:gd name="T74" fmla="*/ 27 w 190"/>
                <a:gd name="T75" fmla="*/ 15 h 189"/>
                <a:gd name="T76" fmla="*/ 29 w 190"/>
                <a:gd name="T77" fmla="*/ 15 h 189"/>
                <a:gd name="T78" fmla="*/ 30 w 190"/>
                <a:gd name="T79" fmla="*/ 16 h 189"/>
                <a:gd name="T80" fmla="*/ 31 w 190"/>
                <a:gd name="T81" fmla="*/ 17 h 189"/>
                <a:gd name="T82" fmla="*/ 31 w 190"/>
                <a:gd name="T83" fmla="*/ 18 h 189"/>
                <a:gd name="T84" fmla="*/ 30 w 190"/>
                <a:gd name="T85" fmla="*/ 18 h 189"/>
                <a:gd name="T86" fmla="*/ 30 w 190"/>
                <a:gd name="T87" fmla="*/ 19 h 189"/>
                <a:gd name="T88" fmla="*/ 29 w 190"/>
                <a:gd name="T89" fmla="*/ 19 h 189"/>
                <a:gd name="T90" fmla="*/ 29 w 190"/>
                <a:gd name="T91" fmla="*/ 21 h 189"/>
                <a:gd name="T92" fmla="*/ 26 w 190"/>
                <a:gd name="T93" fmla="*/ 23 h 189"/>
                <a:gd name="T94" fmla="*/ 19 w 190"/>
                <a:gd name="T95" fmla="*/ 21 h 189"/>
                <a:gd name="T96" fmla="*/ 16 w 190"/>
                <a:gd name="T97" fmla="*/ 19 h 189"/>
                <a:gd name="T98" fmla="*/ 5 w 190"/>
                <a:gd name="T99" fmla="*/ 12 h 189"/>
                <a:gd name="T100" fmla="*/ 2 w 190"/>
                <a:gd name="T101" fmla="*/ 11 h 189"/>
                <a:gd name="T102" fmla="*/ 2 w 190"/>
                <a:gd name="T103" fmla="*/ 10 h 189"/>
                <a:gd name="T104" fmla="*/ 1 w 190"/>
                <a:gd name="T105" fmla="*/ 9 h 189"/>
                <a:gd name="T106" fmla="*/ 0 w 190"/>
                <a:gd name="T107" fmla="*/ 9 h 189"/>
                <a:gd name="T108" fmla="*/ 1 w 190"/>
                <a:gd name="T109" fmla="*/ 9 h 18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0"/>
                <a:gd name="T166" fmla="*/ 0 h 189"/>
                <a:gd name="T167" fmla="*/ 190 w 190"/>
                <a:gd name="T168" fmla="*/ 189 h 18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0" h="189">
                  <a:moveTo>
                    <a:pt x="2" y="71"/>
                  </a:moveTo>
                  <a:lnTo>
                    <a:pt x="3" y="71"/>
                  </a:lnTo>
                  <a:lnTo>
                    <a:pt x="7" y="69"/>
                  </a:lnTo>
                  <a:lnTo>
                    <a:pt x="8" y="64"/>
                  </a:lnTo>
                  <a:lnTo>
                    <a:pt x="10" y="63"/>
                  </a:lnTo>
                  <a:lnTo>
                    <a:pt x="10" y="59"/>
                  </a:lnTo>
                  <a:lnTo>
                    <a:pt x="11" y="57"/>
                  </a:lnTo>
                  <a:lnTo>
                    <a:pt x="15" y="57"/>
                  </a:lnTo>
                  <a:lnTo>
                    <a:pt x="26" y="47"/>
                  </a:lnTo>
                  <a:lnTo>
                    <a:pt x="31" y="46"/>
                  </a:lnTo>
                  <a:lnTo>
                    <a:pt x="34" y="41"/>
                  </a:lnTo>
                  <a:lnTo>
                    <a:pt x="37" y="40"/>
                  </a:lnTo>
                  <a:lnTo>
                    <a:pt x="39" y="36"/>
                  </a:lnTo>
                  <a:lnTo>
                    <a:pt x="42" y="36"/>
                  </a:lnTo>
                  <a:lnTo>
                    <a:pt x="42" y="22"/>
                  </a:lnTo>
                  <a:lnTo>
                    <a:pt x="45" y="20"/>
                  </a:lnTo>
                  <a:lnTo>
                    <a:pt x="48" y="16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3" y="11"/>
                  </a:lnTo>
                  <a:lnTo>
                    <a:pt x="54" y="7"/>
                  </a:lnTo>
                  <a:lnTo>
                    <a:pt x="58" y="7"/>
                  </a:lnTo>
                  <a:lnTo>
                    <a:pt x="60" y="2"/>
                  </a:lnTo>
                  <a:lnTo>
                    <a:pt x="63" y="0"/>
                  </a:lnTo>
                  <a:lnTo>
                    <a:pt x="70" y="5"/>
                  </a:lnTo>
                  <a:lnTo>
                    <a:pt x="72" y="5"/>
                  </a:lnTo>
                  <a:lnTo>
                    <a:pt x="74" y="3"/>
                  </a:lnTo>
                  <a:lnTo>
                    <a:pt x="81" y="0"/>
                  </a:lnTo>
                  <a:lnTo>
                    <a:pt x="83" y="1"/>
                  </a:lnTo>
                  <a:lnTo>
                    <a:pt x="83" y="2"/>
                  </a:lnTo>
                  <a:lnTo>
                    <a:pt x="85" y="6"/>
                  </a:lnTo>
                  <a:lnTo>
                    <a:pt x="92" y="9"/>
                  </a:lnTo>
                  <a:lnTo>
                    <a:pt x="92" y="15"/>
                  </a:lnTo>
                  <a:lnTo>
                    <a:pt x="95" y="20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8" y="47"/>
                  </a:lnTo>
                  <a:lnTo>
                    <a:pt x="96" y="49"/>
                  </a:lnTo>
                  <a:lnTo>
                    <a:pt x="93" y="52"/>
                  </a:lnTo>
                  <a:lnTo>
                    <a:pt x="92" y="53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9" y="52"/>
                  </a:lnTo>
                  <a:lnTo>
                    <a:pt x="101" y="52"/>
                  </a:lnTo>
                  <a:lnTo>
                    <a:pt x="110" y="62"/>
                  </a:lnTo>
                  <a:lnTo>
                    <a:pt x="113" y="60"/>
                  </a:lnTo>
                  <a:lnTo>
                    <a:pt x="116" y="58"/>
                  </a:lnTo>
                  <a:lnTo>
                    <a:pt x="123" y="58"/>
                  </a:lnTo>
                  <a:lnTo>
                    <a:pt x="123" y="54"/>
                  </a:lnTo>
                  <a:lnTo>
                    <a:pt x="127" y="49"/>
                  </a:lnTo>
                  <a:lnTo>
                    <a:pt x="128" y="43"/>
                  </a:lnTo>
                  <a:lnTo>
                    <a:pt x="130" y="41"/>
                  </a:lnTo>
                  <a:lnTo>
                    <a:pt x="135" y="41"/>
                  </a:lnTo>
                  <a:lnTo>
                    <a:pt x="140" y="50"/>
                  </a:lnTo>
                  <a:lnTo>
                    <a:pt x="141" y="58"/>
                  </a:lnTo>
                  <a:lnTo>
                    <a:pt x="143" y="58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8" y="66"/>
                  </a:lnTo>
                  <a:lnTo>
                    <a:pt x="144" y="81"/>
                  </a:lnTo>
                  <a:lnTo>
                    <a:pt x="137" y="87"/>
                  </a:lnTo>
                  <a:lnTo>
                    <a:pt x="135" y="92"/>
                  </a:lnTo>
                  <a:lnTo>
                    <a:pt x="135" y="94"/>
                  </a:lnTo>
                  <a:lnTo>
                    <a:pt x="137" y="94"/>
                  </a:lnTo>
                  <a:lnTo>
                    <a:pt x="137" y="96"/>
                  </a:lnTo>
                  <a:lnTo>
                    <a:pt x="141" y="95"/>
                  </a:lnTo>
                  <a:lnTo>
                    <a:pt x="141" y="97"/>
                  </a:lnTo>
                  <a:lnTo>
                    <a:pt x="143" y="98"/>
                  </a:lnTo>
                  <a:lnTo>
                    <a:pt x="147" y="98"/>
                  </a:lnTo>
                  <a:lnTo>
                    <a:pt x="152" y="102"/>
                  </a:lnTo>
                  <a:lnTo>
                    <a:pt x="161" y="102"/>
                  </a:lnTo>
                  <a:lnTo>
                    <a:pt x="163" y="103"/>
                  </a:lnTo>
                  <a:lnTo>
                    <a:pt x="167" y="108"/>
                  </a:lnTo>
                  <a:lnTo>
                    <a:pt x="167" y="111"/>
                  </a:lnTo>
                  <a:lnTo>
                    <a:pt x="169" y="112"/>
                  </a:lnTo>
                  <a:lnTo>
                    <a:pt x="172" y="120"/>
                  </a:lnTo>
                  <a:lnTo>
                    <a:pt x="177" y="120"/>
                  </a:lnTo>
                  <a:lnTo>
                    <a:pt x="181" y="124"/>
                  </a:lnTo>
                  <a:lnTo>
                    <a:pt x="187" y="123"/>
                  </a:lnTo>
                  <a:lnTo>
                    <a:pt x="187" y="128"/>
                  </a:lnTo>
                  <a:lnTo>
                    <a:pt x="189" y="132"/>
                  </a:lnTo>
                  <a:lnTo>
                    <a:pt x="190" y="137"/>
                  </a:lnTo>
                  <a:lnTo>
                    <a:pt x="188" y="143"/>
                  </a:lnTo>
                  <a:lnTo>
                    <a:pt x="190" y="147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4" y="151"/>
                  </a:lnTo>
                  <a:lnTo>
                    <a:pt x="184" y="157"/>
                  </a:lnTo>
                  <a:lnTo>
                    <a:pt x="182" y="157"/>
                  </a:lnTo>
                  <a:lnTo>
                    <a:pt x="181" y="159"/>
                  </a:lnTo>
                  <a:lnTo>
                    <a:pt x="182" y="164"/>
                  </a:lnTo>
                  <a:lnTo>
                    <a:pt x="181" y="168"/>
                  </a:lnTo>
                  <a:lnTo>
                    <a:pt x="181" y="189"/>
                  </a:lnTo>
                  <a:lnTo>
                    <a:pt x="163" y="186"/>
                  </a:lnTo>
                  <a:lnTo>
                    <a:pt x="159" y="182"/>
                  </a:lnTo>
                  <a:lnTo>
                    <a:pt x="120" y="168"/>
                  </a:lnTo>
                  <a:lnTo>
                    <a:pt x="111" y="161"/>
                  </a:lnTo>
                  <a:lnTo>
                    <a:pt x="100" y="155"/>
                  </a:lnTo>
                  <a:lnTo>
                    <a:pt x="49" y="109"/>
                  </a:lnTo>
                  <a:lnTo>
                    <a:pt x="30" y="102"/>
                  </a:lnTo>
                  <a:lnTo>
                    <a:pt x="23" y="90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3" y="76"/>
                  </a:lnTo>
                  <a:lnTo>
                    <a:pt x="3" y="74"/>
                  </a:lnTo>
                  <a:lnTo>
                    <a:pt x="0" y="73"/>
                  </a:lnTo>
                  <a:lnTo>
                    <a:pt x="2" y="72"/>
                  </a:lnTo>
                  <a:lnTo>
                    <a:pt x="2" y="7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0" name="Freeform 67"/>
            <p:cNvSpPr>
              <a:spLocks/>
            </p:cNvSpPr>
            <p:nvPr/>
          </p:nvSpPr>
          <p:spPr bwMode="auto">
            <a:xfrm>
              <a:off x="2635902" y="2796491"/>
              <a:ext cx="225442" cy="189248"/>
            </a:xfrm>
            <a:custGeom>
              <a:avLst/>
              <a:gdLst>
                <a:gd name="T0" fmla="*/ 1 w 190"/>
                <a:gd name="T1" fmla="*/ 9 h 189"/>
                <a:gd name="T2" fmla="*/ 1 w 190"/>
                <a:gd name="T3" fmla="*/ 8 h 189"/>
                <a:gd name="T4" fmla="*/ 2 w 190"/>
                <a:gd name="T5" fmla="*/ 7 h 189"/>
                <a:gd name="T6" fmla="*/ 2 w 190"/>
                <a:gd name="T7" fmla="*/ 7 h 189"/>
                <a:gd name="T8" fmla="*/ 5 w 190"/>
                <a:gd name="T9" fmla="*/ 5 h 189"/>
                <a:gd name="T10" fmla="*/ 6 w 190"/>
                <a:gd name="T11" fmla="*/ 5 h 189"/>
                <a:gd name="T12" fmla="*/ 7 w 190"/>
                <a:gd name="T13" fmla="*/ 4 h 189"/>
                <a:gd name="T14" fmla="*/ 7 w 190"/>
                <a:gd name="T15" fmla="*/ 3 h 189"/>
                <a:gd name="T16" fmla="*/ 9 w 190"/>
                <a:gd name="T17" fmla="*/ 2 h 189"/>
                <a:gd name="T18" fmla="*/ 9 w 190"/>
                <a:gd name="T19" fmla="*/ 2 h 189"/>
                <a:gd name="T20" fmla="*/ 9 w 190"/>
                <a:gd name="T21" fmla="*/ 1 h 189"/>
                <a:gd name="T22" fmla="*/ 11 w 190"/>
                <a:gd name="T23" fmla="*/ 0 h 189"/>
                <a:gd name="T24" fmla="*/ 12 w 190"/>
                <a:gd name="T25" fmla="*/ 1 h 189"/>
                <a:gd name="T26" fmla="*/ 13 w 190"/>
                <a:gd name="T27" fmla="*/ 0 h 189"/>
                <a:gd name="T28" fmla="*/ 13 w 190"/>
                <a:gd name="T29" fmla="*/ 1 h 189"/>
                <a:gd name="T30" fmla="*/ 15 w 190"/>
                <a:gd name="T31" fmla="*/ 1 h 189"/>
                <a:gd name="T32" fmla="*/ 15 w 190"/>
                <a:gd name="T33" fmla="*/ 3 h 189"/>
                <a:gd name="T34" fmla="*/ 16 w 190"/>
                <a:gd name="T35" fmla="*/ 4 h 189"/>
                <a:gd name="T36" fmla="*/ 16 w 190"/>
                <a:gd name="T37" fmla="*/ 6 h 189"/>
                <a:gd name="T38" fmla="*/ 15 w 190"/>
                <a:gd name="T39" fmla="*/ 6 h 189"/>
                <a:gd name="T40" fmla="*/ 16 w 190"/>
                <a:gd name="T41" fmla="*/ 6 h 189"/>
                <a:gd name="T42" fmla="*/ 16 w 190"/>
                <a:gd name="T43" fmla="*/ 6 h 189"/>
                <a:gd name="T44" fmla="*/ 19 w 190"/>
                <a:gd name="T45" fmla="*/ 7 h 189"/>
                <a:gd name="T46" fmla="*/ 20 w 190"/>
                <a:gd name="T47" fmla="*/ 7 h 189"/>
                <a:gd name="T48" fmla="*/ 20 w 190"/>
                <a:gd name="T49" fmla="*/ 6 h 189"/>
                <a:gd name="T50" fmla="*/ 21 w 190"/>
                <a:gd name="T51" fmla="*/ 5 h 189"/>
                <a:gd name="T52" fmla="*/ 23 w 190"/>
                <a:gd name="T53" fmla="*/ 6 h 189"/>
                <a:gd name="T54" fmla="*/ 23 w 190"/>
                <a:gd name="T55" fmla="*/ 7 h 189"/>
                <a:gd name="T56" fmla="*/ 23 w 190"/>
                <a:gd name="T57" fmla="*/ 8 h 189"/>
                <a:gd name="T58" fmla="*/ 23 w 190"/>
                <a:gd name="T59" fmla="*/ 10 h 189"/>
                <a:gd name="T60" fmla="*/ 22 w 190"/>
                <a:gd name="T61" fmla="*/ 11 h 189"/>
                <a:gd name="T62" fmla="*/ 22 w 190"/>
                <a:gd name="T63" fmla="*/ 12 h 189"/>
                <a:gd name="T64" fmla="*/ 23 w 190"/>
                <a:gd name="T65" fmla="*/ 12 h 189"/>
                <a:gd name="T66" fmla="*/ 23 w 190"/>
                <a:gd name="T67" fmla="*/ 12 h 189"/>
                <a:gd name="T68" fmla="*/ 25 w 190"/>
                <a:gd name="T69" fmla="*/ 12 h 189"/>
                <a:gd name="T70" fmla="*/ 26 w 190"/>
                <a:gd name="T71" fmla="*/ 13 h 189"/>
                <a:gd name="T72" fmla="*/ 27 w 190"/>
                <a:gd name="T73" fmla="*/ 13 h 189"/>
                <a:gd name="T74" fmla="*/ 27 w 190"/>
                <a:gd name="T75" fmla="*/ 15 h 189"/>
                <a:gd name="T76" fmla="*/ 29 w 190"/>
                <a:gd name="T77" fmla="*/ 15 h 189"/>
                <a:gd name="T78" fmla="*/ 30 w 190"/>
                <a:gd name="T79" fmla="*/ 16 h 189"/>
                <a:gd name="T80" fmla="*/ 31 w 190"/>
                <a:gd name="T81" fmla="*/ 17 h 189"/>
                <a:gd name="T82" fmla="*/ 31 w 190"/>
                <a:gd name="T83" fmla="*/ 18 h 189"/>
                <a:gd name="T84" fmla="*/ 30 w 190"/>
                <a:gd name="T85" fmla="*/ 18 h 189"/>
                <a:gd name="T86" fmla="*/ 30 w 190"/>
                <a:gd name="T87" fmla="*/ 19 h 189"/>
                <a:gd name="T88" fmla="*/ 29 w 190"/>
                <a:gd name="T89" fmla="*/ 19 h 189"/>
                <a:gd name="T90" fmla="*/ 29 w 190"/>
                <a:gd name="T91" fmla="*/ 21 h 189"/>
                <a:gd name="T92" fmla="*/ 26 w 190"/>
                <a:gd name="T93" fmla="*/ 23 h 189"/>
                <a:gd name="T94" fmla="*/ 19 w 190"/>
                <a:gd name="T95" fmla="*/ 21 h 189"/>
                <a:gd name="T96" fmla="*/ 16 w 190"/>
                <a:gd name="T97" fmla="*/ 19 h 189"/>
                <a:gd name="T98" fmla="*/ 5 w 190"/>
                <a:gd name="T99" fmla="*/ 12 h 189"/>
                <a:gd name="T100" fmla="*/ 2 w 190"/>
                <a:gd name="T101" fmla="*/ 11 h 189"/>
                <a:gd name="T102" fmla="*/ 2 w 190"/>
                <a:gd name="T103" fmla="*/ 10 h 189"/>
                <a:gd name="T104" fmla="*/ 1 w 190"/>
                <a:gd name="T105" fmla="*/ 9 h 189"/>
                <a:gd name="T106" fmla="*/ 0 w 190"/>
                <a:gd name="T107" fmla="*/ 9 h 189"/>
                <a:gd name="T108" fmla="*/ 1 w 190"/>
                <a:gd name="T109" fmla="*/ 9 h 18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0"/>
                <a:gd name="T166" fmla="*/ 0 h 189"/>
                <a:gd name="T167" fmla="*/ 190 w 190"/>
                <a:gd name="T168" fmla="*/ 189 h 18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0" h="189">
                  <a:moveTo>
                    <a:pt x="2" y="71"/>
                  </a:moveTo>
                  <a:lnTo>
                    <a:pt x="3" y="71"/>
                  </a:lnTo>
                  <a:lnTo>
                    <a:pt x="7" y="69"/>
                  </a:lnTo>
                  <a:lnTo>
                    <a:pt x="8" y="64"/>
                  </a:lnTo>
                  <a:lnTo>
                    <a:pt x="10" y="63"/>
                  </a:lnTo>
                  <a:lnTo>
                    <a:pt x="10" y="59"/>
                  </a:lnTo>
                  <a:lnTo>
                    <a:pt x="11" y="57"/>
                  </a:lnTo>
                  <a:lnTo>
                    <a:pt x="15" y="57"/>
                  </a:lnTo>
                  <a:lnTo>
                    <a:pt x="26" y="47"/>
                  </a:lnTo>
                  <a:lnTo>
                    <a:pt x="31" y="46"/>
                  </a:lnTo>
                  <a:lnTo>
                    <a:pt x="34" y="41"/>
                  </a:lnTo>
                  <a:lnTo>
                    <a:pt x="37" y="40"/>
                  </a:lnTo>
                  <a:lnTo>
                    <a:pt x="39" y="36"/>
                  </a:lnTo>
                  <a:lnTo>
                    <a:pt x="42" y="36"/>
                  </a:lnTo>
                  <a:lnTo>
                    <a:pt x="42" y="22"/>
                  </a:lnTo>
                  <a:lnTo>
                    <a:pt x="45" y="20"/>
                  </a:lnTo>
                  <a:lnTo>
                    <a:pt x="48" y="16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3" y="11"/>
                  </a:lnTo>
                  <a:lnTo>
                    <a:pt x="54" y="7"/>
                  </a:lnTo>
                  <a:lnTo>
                    <a:pt x="58" y="7"/>
                  </a:lnTo>
                  <a:lnTo>
                    <a:pt x="60" y="2"/>
                  </a:lnTo>
                  <a:lnTo>
                    <a:pt x="63" y="0"/>
                  </a:lnTo>
                  <a:lnTo>
                    <a:pt x="70" y="5"/>
                  </a:lnTo>
                  <a:lnTo>
                    <a:pt x="72" y="5"/>
                  </a:lnTo>
                  <a:lnTo>
                    <a:pt x="74" y="3"/>
                  </a:lnTo>
                  <a:lnTo>
                    <a:pt x="81" y="0"/>
                  </a:lnTo>
                  <a:lnTo>
                    <a:pt x="83" y="1"/>
                  </a:lnTo>
                  <a:lnTo>
                    <a:pt x="83" y="2"/>
                  </a:lnTo>
                  <a:lnTo>
                    <a:pt x="85" y="6"/>
                  </a:lnTo>
                  <a:lnTo>
                    <a:pt x="92" y="9"/>
                  </a:lnTo>
                  <a:lnTo>
                    <a:pt x="92" y="15"/>
                  </a:lnTo>
                  <a:lnTo>
                    <a:pt x="95" y="20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98" y="47"/>
                  </a:lnTo>
                  <a:lnTo>
                    <a:pt x="96" y="49"/>
                  </a:lnTo>
                  <a:lnTo>
                    <a:pt x="93" y="52"/>
                  </a:lnTo>
                  <a:lnTo>
                    <a:pt x="92" y="53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99" y="52"/>
                  </a:lnTo>
                  <a:lnTo>
                    <a:pt x="101" y="52"/>
                  </a:lnTo>
                  <a:lnTo>
                    <a:pt x="110" y="62"/>
                  </a:lnTo>
                  <a:lnTo>
                    <a:pt x="113" y="60"/>
                  </a:lnTo>
                  <a:lnTo>
                    <a:pt x="116" y="58"/>
                  </a:lnTo>
                  <a:lnTo>
                    <a:pt x="123" y="58"/>
                  </a:lnTo>
                  <a:lnTo>
                    <a:pt x="123" y="54"/>
                  </a:lnTo>
                  <a:lnTo>
                    <a:pt x="127" y="49"/>
                  </a:lnTo>
                  <a:lnTo>
                    <a:pt x="128" y="43"/>
                  </a:lnTo>
                  <a:lnTo>
                    <a:pt x="130" y="41"/>
                  </a:lnTo>
                  <a:lnTo>
                    <a:pt x="135" y="41"/>
                  </a:lnTo>
                  <a:lnTo>
                    <a:pt x="140" y="50"/>
                  </a:lnTo>
                  <a:lnTo>
                    <a:pt x="141" y="58"/>
                  </a:lnTo>
                  <a:lnTo>
                    <a:pt x="143" y="58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8" y="66"/>
                  </a:lnTo>
                  <a:lnTo>
                    <a:pt x="144" y="81"/>
                  </a:lnTo>
                  <a:lnTo>
                    <a:pt x="137" y="87"/>
                  </a:lnTo>
                  <a:lnTo>
                    <a:pt x="135" y="92"/>
                  </a:lnTo>
                  <a:lnTo>
                    <a:pt x="135" y="94"/>
                  </a:lnTo>
                  <a:lnTo>
                    <a:pt x="137" y="94"/>
                  </a:lnTo>
                  <a:lnTo>
                    <a:pt x="137" y="96"/>
                  </a:lnTo>
                  <a:lnTo>
                    <a:pt x="141" y="95"/>
                  </a:lnTo>
                  <a:lnTo>
                    <a:pt x="141" y="97"/>
                  </a:lnTo>
                  <a:lnTo>
                    <a:pt x="143" y="98"/>
                  </a:lnTo>
                  <a:lnTo>
                    <a:pt x="147" y="98"/>
                  </a:lnTo>
                  <a:lnTo>
                    <a:pt x="152" y="102"/>
                  </a:lnTo>
                  <a:lnTo>
                    <a:pt x="161" y="102"/>
                  </a:lnTo>
                  <a:lnTo>
                    <a:pt x="163" y="103"/>
                  </a:lnTo>
                  <a:lnTo>
                    <a:pt x="167" y="108"/>
                  </a:lnTo>
                  <a:lnTo>
                    <a:pt x="167" y="111"/>
                  </a:lnTo>
                  <a:lnTo>
                    <a:pt x="169" y="112"/>
                  </a:lnTo>
                  <a:lnTo>
                    <a:pt x="172" y="120"/>
                  </a:lnTo>
                  <a:lnTo>
                    <a:pt x="177" y="120"/>
                  </a:lnTo>
                  <a:lnTo>
                    <a:pt x="181" y="124"/>
                  </a:lnTo>
                  <a:lnTo>
                    <a:pt x="187" y="123"/>
                  </a:lnTo>
                  <a:lnTo>
                    <a:pt x="187" y="128"/>
                  </a:lnTo>
                  <a:lnTo>
                    <a:pt x="189" y="132"/>
                  </a:lnTo>
                  <a:lnTo>
                    <a:pt x="190" y="137"/>
                  </a:lnTo>
                  <a:lnTo>
                    <a:pt x="188" y="143"/>
                  </a:lnTo>
                  <a:lnTo>
                    <a:pt x="190" y="147"/>
                  </a:lnTo>
                  <a:lnTo>
                    <a:pt x="190" y="148"/>
                  </a:lnTo>
                  <a:lnTo>
                    <a:pt x="185" y="148"/>
                  </a:lnTo>
                  <a:lnTo>
                    <a:pt x="184" y="151"/>
                  </a:lnTo>
                  <a:lnTo>
                    <a:pt x="184" y="157"/>
                  </a:lnTo>
                  <a:lnTo>
                    <a:pt x="182" y="157"/>
                  </a:lnTo>
                  <a:lnTo>
                    <a:pt x="181" y="159"/>
                  </a:lnTo>
                  <a:lnTo>
                    <a:pt x="182" y="164"/>
                  </a:lnTo>
                  <a:lnTo>
                    <a:pt x="181" y="168"/>
                  </a:lnTo>
                  <a:lnTo>
                    <a:pt x="181" y="189"/>
                  </a:lnTo>
                  <a:lnTo>
                    <a:pt x="163" y="186"/>
                  </a:lnTo>
                  <a:lnTo>
                    <a:pt x="159" y="182"/>
                  </a:lnTo>
                  <a:lnTo>
                    <a:pt x="120" y="168"/>
                  </a:lnTo>
                  <a:lnTo>
                    <a:pt x="111" y="161"/>
                  </a:lnTo>
                  <a:lnTo>
                    <a:pt x="100" y="155"/>
                  </a:lnTo>
                  <a:lnTo>
                    <a:pt x="49" y="109"/>
                  </a:lnTo>
                  <a:lnTo>
                    <a:pt x="30" y="102"/>
                  </a:lnTo>
                  <a:lnTo>
                    <a:pt x="23" y="90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3" y="76"/>
                  </a:lnTo>
                  <a:lnTo>
                    <a:pt x="3" y="74"/>
                  </a:lnTo>
                  <a:lnTo>
                    <a:pt x="0" y="73"/>
                  </a:lnTo>
                  <a:lnTo>
                    <a:pt x="2" y="72"/>
                  </a:lnTo>
                  <a:lnTo>
                    <a:pt x="2" y="7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1" name="Freeform 68"/>
            <p:cNvSpPr>
              <a:spLocks/>
            </p:cNvSpPr>
            <p:nvPr/>
          </p:nvSpPr>
          <p:spPr bwMode="auto">
            <a:xfrm>
              <a:off x="3092881" y="2677747"/>
              <a:ext cx="243722" cy="300569"/>
            </a:xfrm>
            <a:custGeom>
              <a:avLst/>
              <a:gdLst>
                <a:gd name="T0" fmla="*/ 34 w 203"/>
                <a:gd name="T1" fmla="*/ 29 h 298"/>
                <a:gd name="T2" fmla="*/ 28 w 203"/>
                <a:gd name="T3" fmla="*/ 10 h 298"/>
                <a:gd name="T4" fmla="*/ 27 w 203"/>
                <a:gd name="T5" fmla="*/ 5 h 298"/>
                <a:gd name="T6" fmla="*/ 24 w 203"/>
                <a:gd name="T7" fmla="*/ 3 h 298"/>
                <a:gd name="T8" fmla="*/ 24 w 203"/>
                <a:gd name="T9" fmla="*/ 2 h 298"/>
                <a:gd name="T10" fmla="*/ 24 w 203"/>
                <a:gd name="T11" fmla="*/ 1 h 298"/>
                <a:gd name="T12" fmla="*/ 23 w 203"/>
                <a:gd name="T13" fmla="*/ 1 h 298"/>
                <a:gd name="T14" fmla="*/ 22 w 203"/>
                <a:gd name="T15" fmla="*/ 0 h 298"/>
                <a:gd name="T16" fmla="*/ 18 w 203"/>
                <a:gd name="T17" fmla="*/ 1 h 298"/>
                <a:gd name="T18" fmla="*/ 2 w 203"/>
                <a:gd name="T19" fmla="*/ 1 h 298"/>
                <a:gd name="T20" fmla="*/ 2 w 203"/>
                <a:gd name="T21" fmla="*/ 2 h 298"/>
                <a:gd name="T22" fmla="*/ 3 w 203"/>
                <a:gd name="T23" fmla="*/ 4 h 298"/>
                <a:gd name="T24" fmla="*/ 3 w 203"/>
                <a:gd name="T25" fmla="*/ 5 h 298"/>
                <a:gd name="T26" fmla="*/ 3 w 203"/>
                <a:gd name="T27" fmla="*/ 7 h 298"/>
                <a:gd name="T28" fmla="*/ 4 w 203"/>
                <a:gd name="T29" fmla="*/ 9 h 298"/>
                <a:gd name="T30" fmla="*/ 4 w 203"/>
                <a:gd name="T31" fmla="*/ 10 h 298"/>
                <a:gd name="T32" fmla="*/ 3 w 203"/>
                <a:gd name="T33" fmla="*/ 11 h 298"/>
                <a:gd name="T34" fmla="*/ 4 w 203"/>
                <a:gd name="T35" fmla="*/ 12 h 298"/>
                <a:gd name="T36" fmla="*/ 6 w 203"/>
                <a:gd name="T37" fmla="*/ 17 h 298"/>
                <a:gd name="T38" fmla="*/ 5 w 203"/>
                <a:gd name="T39" fmla="*/ 17 h 298"/>
                <a:gd name="T40" fmla="*/ 4 w 203"/>
                <a:gd name="T41" fmla="*/ 18 h 298"/>
                <a:gd name="T42" fmla="*/ 2 w 203"/>
                <a:gd name="T43" fmla="*/ 21 h 298"/>
                <a:gd name="T44" fmla="*/ 1 w 203"/>
                <a:gd name="T45" fmla="*/ 23 h 298"/>
                <a:gd name="T46" fmla="*/ 1 w 203"/>
                <a:gd name="T47" fmla="*/ 25 h 298"/>
                <a:gd name="T48" fmla="*/ 1 w 203"/>
                <a:gd name="T49" fmla="*/ 32 h 298"/>
                <a:gd name="T50" fmla="*/ 3 w 203"/>
                <a:gd name="T51" fmla="*/ 32 h 298"/>
                <a:gd name="T52" fmla="*/ 4 w 203"/>
                <a:gd name="T53" fmla="*/ 35 h 298"/>
                <a:gd name="T54" fmla="*/ 2 w 203"/>
                <a:gd name="T55" fmla="*/ 35 h 298"/>
                <a:gd name="T56" fmla="*/ 1 w 203"/>
                <a:gd name="T57" fmla="*/ 35 h 298"/>
                <a:gd name="T58" fmla="*/ 9 w 203"/>
                <a:gd name="T59" fmla="*/ 38 h 298"/>
                <a:gd name="T60" fmla="*/ 20 w 203"/>
                <a:gd name="T61" fmla="*/ 35 h 298"/>
                <a:gd name="T62" fmla="*/ 30 w 203"/>
                <a:gd name="T63" fmla="*/ 32 h 298"/>
                <a:gd name="T64" fmla="*/ 32 w 203"/>
                <a:gd name="T65" fmla="*/ 32 h 298"/>
                <a:gd name="T66" fmla="*/ 34 w 203"/>
                <a:gd name="T67" fmla="*/ 30 h 2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3"/>
                <a:gd name="T103" fmla="*/ 0 h 298"/>
                <a:gd name="T104" fmla="*/ 203 w 203"/>
                <a:gd name="T105" fmla="*/ 298 h 2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3" h="298">
                  <a:moveTo>
                    <a:pt x="203" y="235"/>
                  </a:moveTo>
                  <a:lnTo>
                    <a:pt x="199" y="233"/>
                  </a:lnTo>
                  <a:lnTo>
                    <a:pt x="179" y="210"/>
                  </a:lnTo>
                  <a:lnTo>
                    <a:pt x="167" y="78"/>
                  </a:lnTo>
                  <a:lnTo>
                    <a:pt x="164" y="74"/>
                  </a:lnTo>
                  <a:lnTo>
                    <a:pt x="160" y="44"/>
                  </a:lnTo>
                  <a:lnTo>
                    <a:pt x="146" y="28"/>
                  </a:lnTo>
                  <a:lnTo>
                    <a:pt x="139" y="23"/>
                  </a:lnTo>
                  <a:lnTo>
                    <a:pt x="139" y="17"/>
                  </a:lnTo>
                  <a:lnTo>
                    <a:pt x="142" y="13"/>
                  </a:lnTo>
                  <a:lnTo>
                    <a:pt x="142" y="9"/>
                  </a:lnTo>
                  <a:lnTo>
                    <a:pt x="144" y="5"/>
                  </a:lnTo>
                  <a:lnTo>
                    <a:pt x="144" y="4"/>
                  </a:lnTo>
                  <a:lnTo>
                    <a:pt x="136" y="3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21" y="2"/>
                  </a:lnTo>
                  <a:lnTo>
                    <a:pt x="110" y="9"/>
                  </a:lnTo>
                  <a:lnTo>
                    <a:pt x="107" y="10"/>
                  </a:lnTo>
                  <a:lnTo>
                    <a:pt x="15" y="6"/>
                  </a:lnTo>
                  <a:lnTo>
                    <a:pt x="12" y="13"/>
                  </a:lnTo>
                  <a:lnTo>
                    <a:pt x="11" y="19"/>
                  </a:lnTo>
                  <a:lnTo>
                    <a:pt x="14" y="27"/>
                  </a:lnTo>
                  <a:lnTo>
                    <a:pt x="16" y="29"/>
                  </a:lnTo>
                  <a:lnTo>
                    <a:pt x="16" y="36"/>
                  </a:lnTo>
                  <a:lnTo>
                    <a:pt x="19" y="37"/>
                  </a:lnTo>
                  <a:lnTo>
                    <a:pt x="18" y="47"/>
                  </a:lnTo>
                  <a:lnTo>
                    <a:pt x="20" y="55"/>
                  </a:lnTo>
                  <a:lnTo>
                    <a:pt x="20" y="68"/>
                  </a:lnTo>
                  <a:lnTo>
                    <a:pt x="23" y="74"/>
                  </a:lnTo>
                  <a:lnTo>
                    <a:pt x="24" y="79"/>
                  </a:lnTo>
                  <a:lnTo>
                    <a:pt x="22" y="81"/>
                  </a:lnTo>
                  <a:lnTo>
                    <a:pt x="24" y="87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3" y="94"/>
                  </a:lnTo>
                  <a:lnTo>
                    <a:pt x="25" y="97"/>
                  </a:lnTo>
                  <a:lnTo>
                    <a:pt x="35" y="133"/>
                  </a:lnTo>
                  <a:lnTo>
                    <a:pt x="29" y="133"/>
                  </a:lnTo>
                  <a:lnTo>
                    <a:pt x="29" y="138"/>
                  </a:lnTo>
                  <a:lnTo>
                    <a:pt x="26" y="139"/>
                  </a:lnTo>
                  <a:lnTo>
                    <a:pt x="24" y="143"/>
                  </a:lnTo>
                  <a:lnTo>
                    <a:pt x="21" y="144"/>
                  </a:lnTo>
                  <a:lnTo>
                    <a:pt x="13" y="163"/>
                  </a:lnTo>
                  <a:lnTo>
                    <a:pt x="11" y="179"/>
                  </a:lnTo>
                  <a:lnTo>
                    <a:pt x="9" y="184"/>
                  </a:lnTo>
                  <a:lnTo>
                    <a:pt x="4" y="190"/>
                  </a:lnTo>
                  <a:lnTo>
                    <a:pt x="1" y="195"/>
                  </a:lnTo>
                  <a:lnTo>
                    <a:pt x="0" y="217"/>
                  </a:lnTo>
                  <a:lnTo>
                    <a:pt x="9" y="247"/>
                  </a:lnTo>
                  <a:lnTo>
                    <a:pt x="12" y="251"/>
                  </a:lnTo>
                  <a:lnTo>
                    <a:pt x="19" y="252"/>
                  </a:lnTo>
                  <a:lnTo>
                    <a:pt x="20" y="253"/>
                  </a:lnTo>
                  <a:lnTo>
                    <a:pt x="22" y="275"/>
                  </a:lnTo>
                  <a:lnTo>
                    <a:pt x="17" y="275"/>
                  </a:lnTo>
                  <a:lnTo>
                    <a:pt x="14" y="274"/>
                  </a:lnTo>
                  <a:lnTo>
                    <a:pt x="9" y="274"/>
                  </a:lnTo>
                  <a:lnTo>
                    <a:pt x="7" y="275"/>
                  </a:lnTo>
                  <a:lnTo>
                    <a:pt x="4" y="280"/>
                  </a:lnTo>
                  <a:lnTo>
                    <a:pt x="55" y="298"/>
                  </a:lnTo>
                  <a:lnTo>
                    <a:pt x="79" y="283"/>
                  </a:lnTo>
                  <a:lnTo>
                    <a:pt x="114" y="274"/>
                  </a:lnTo>
                  <a:lnTo>
                    <a:pt x="156" y="251"/>
                  </a:lnTo>
                  <a:lnTo>
                    <a:pt x="179" y="248"/>
                  </a:lnTo>
                  <a:lnTo>
                    <a:pt x="183" y="251"/>
                  </a:lnTo>
                  <a:lnTo>
                    <a:pt x="190" y="250"/>
                  </a:lnTo>
                  <a:lnTo>
                    <a:pt x="200" y="236"/>
                  </a:lnTo>
                  <a:lnTo>
                    <a:pt x="203" y="23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2" name="Freeform 69"/>
            <p:cNvSpPr>
              <a:spLocks/>
            </p:cNvSpPr>
            <p:nvPr/>
          </p:nvSpPr>
          <p:spPr bwMode="auto">
            <a:xfrm>
              <a:off x="3092881" y="2677747"/>
              <a:ext cx="243722" cy="300569"/>
            </a:xfrm>
            <a:custGeom>
              <a:avLst/>
              <a:gdLst>
                <a:gd name="T0" fmla="*/ 34 w 203"/>
                <a:gd name="T1" fmla="*/ 29 h 298"/>
                <a:gd name="T2" fmla="*/ 28 w 203"/>
                <a:gd name="T3" fmla="*/ 10 h 298"/>
                <a:gd name="T4" fmla="*/ 27 w 203"/>
                <a:gd name="T5" fmla="*/ 5 h 298"/>
                <a:gd name="T6" fmla="*/ 24 w 203"/>
                <a:gd name="T7" fmla="*/ 3 h 298"/>
                <a:gd name="T8" fmla="*/ 24 w 203"/>
                <a:gd name="T9" fmla="*/ 2 h 298"/>
                <a:gd name="T10" fmla="*/ 24 w 203"/>
                <a:gd name="T11" fmla="*/ 1 h 298"/>
                <a:gd name="T12" fmla="*/ 23 w 203"/>
                <a:gd name="T13" fmla="*/ 1 h 298"/>
                <a:gd name="T14" fmla="*/ 22 w 203"/>
                <a:gd name="T15" fmla="*/ 0 h 298"/>
                <a:gd name="T16" fmla="*/ 18 w 203"/>
                <a:gd name="T17" fmla="*/ 1 h 298"/>
                <a:gd name="T18" fmla="*/ 2 w 203"/>
                <a:gd name="T19" fmla="*/ 1 h 298"/>
                <a:gd name="T20" fmla="*/ 2 w 203"/>
                <a:gd name="T21" fmla="*/ 2 h 298"/>
                <a:gd name="T22" fmla="*/ 3 w 203"/>
                <a:gd name="T23" fmla="*/ 4 h 298"/>
                <a:gd name="T24" fmla="*/ 3 w 203"/>
                <a:gd name="T25" fmla="*/ 5 h 298"/>
                <a:gd name="T26" fmla="*/ 3 w 203"/>
                <a:gd name="T27" fmla="*/ 7 h 298"/>
                <a:gd name="T28" fmla="*/ 4 w 203"/>
                <a:gd name="T29" fmla="*/ 9 h 298"/>
                <a:gd name="T30" fmla="*/ 4 w 203"/>
                <a:gd name="T31" fmla="*/ 10 h 298"/>
                <a:gd name="T32" fmla="*/ 3 w 203"/>
                <a:gd name="T33" fmla="*/ 11 h 298"/>
                <a:gd name="T34" fmla="*/ 4 w 203"/>
                <a:gd name="T35" fmla="*/ 12 h 298"/>
                <a:gd name="T36" fmla="*/ 6 w 203"/>
                <a:gd name="T37" fmla="*/ 17 h 298"/>
                <a:gd name="T38" fmla="*/ 5 w 203"/>
                <a:gd name="T39" fmla="*/ 17 h 298"/>
                <a:gd name="T40" fmla="*/ 4 w 203"/>
                <a:gd name="T41" fmla="*/ 18 h 298"/>
                <a:gd name="T42" fmla="*/ 2 w 203"/>
                <a:gd name="T43" fmla="*/ 21 h 298"/>
                <a:gd name="T44" fmla="*/ 1 w 203"/>
                <a:gd name="T45" fmla="*/ 23 h 298"/>
                <a:gd name="T46" fmla="*/ 1 w 203"/>
                <a:gd name="T47" fmla="*/ 25 h 298"/>
                <a:gd name="T48" fmla="*/ 1 w 203"/>
                <a:gd name="T49" fmla="*/ 32 h 298"/>
                <a:gd name="T50" fmla="*/ 3 w 203"/>
                <a:gd name="T51" fmla="*/ 32 h 298"/>
                <a:gd name="T52" fmla="*/ 4 w 203"/>
                <a:gd name="T53" fmla="*/ 35 h 298"/>
                <a:gd name="T54" fmla="*/ 2 w 203"/>
                <a:gd name="T55" fmla="*/ 35 h 298"/>
                <a:gd name="T56" fmla="*/ 1 w 203"/>
                <a:gd name="T57" fmla="*/ 35 h 298"/>
                <a:gd name="T58" fmla="*/ 9 w 203"/>
                <a:gd name="T59" fmla="*/ 38 h 298"/>
                <a:gd name="T60" fmla="*/ 20 w 203"/>
                <a:gd name="T61" fmla="*/ 35 h 298"/>
                <a:gd name="T62" fmla="*/ 30 w 203"/>
                <a:gd name="T63" fmla="*/ 32 h 298"/>
                <a:gd name="T64" fmla="*/ 32 w 203"/>
                <a:gd name="T65" fmla="*/ 32 h 298"/>
                <a:gd name="T66" fmla="*/ 34 w 203"/>
                <a:gd name="T67" fmla="*/ 30 h 29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3"/>
                <a:gd name="T103" fmla="*/ 0 h 298"/>
                <a:gd name="T104" fmla="*/ 203 w 203"/>
                <a:gd name="T105" fmla="*/ 298 h 29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3" h="298">
                  <a:moveTo>
                    <a:pt x="203" y="235"/>
                  </a:moveTo>
                  <a:lnTo>
                    <a:pt x="199" y="233"/>
                  </a:lnTo>
                  <a:lnTo>
                    <a:pt x="179" y="210"/>
                  </a:lnTo>
                  <a:lnTo>
                    <a:pt x="167" y="78"/>
                  </a:lnTo>
                  <a:lnTo>
                    <a:pt x="164" y="74"/>
                  </a:lnTo>
                  <a:lnTo>
                    <a:pt x="160" y="44"/>
                  </a:lnTo>
                  <a:lnTo>
                    <a:pt x="146" y="28"/>
                  </a:lnTo>
                  <a:lnTo>
                    <a:pt x="139" y="23"/>
                  </a:lnTo>
                  <a:lnTo>
                    <a:pt x="139" y="17"/>
                  </a:lnTo>
                  <a:lnTo>
                    <a:pt x="142" y="13"/>
                  </a:lnTo>
                  <a:lnTo>
                    <a:pt x="142" y="9"/>
                  </a:lnTo>
                  <a:lnTo>
                    <a:pt x="144" y="5"/>
                  </a:lnTo>
                  <a:lnTo>
                    <a:pt x="144" y="4"/>
                  </a:lnTo>
                  <a:lnTo>
                    <a:pt x="136" y="3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21" y="2"/>
                  </a:lnTo>
                  <a:lnTo>
                    <a:pt x="110" y="9"/>
                  </a:lnTo>
                  <a:lnTo>
                    <a:pt x="107" y="10"/>
                  </a:lnTo>
                  <a:lnTo>
                    <a:pt x="15" y="6"/>
                  </a:lnTo>
                  <a:lnTo>
                    <a:pt x="12" y="13"/>
                  </a:lnTo>
                  <a:lnTo>
                    <a:pt x="11" y="19"/>
                  </a:lnTo>
                  <a:lnTo>
                    <a:pt x="14" y="27"/>
                  </a:lnTo>
                  <a:lnTo>
                    <a:pt x="16" y="29"/>
                  </a:lnTo>
                  <a:lnTo>
                    <a:pt x="16" y="36"/>
                  </a:lnTo>
                  <a:lnTo>
                    <a:pt x="19" y="37"/>
                  </a:lnTo>
                  <a:lnTo>
                    <a:pt x="18" y="47"/>
                  </a:lnTo>
                  <a:lnTo>
                    <a:pt x="20" y="55"/>
                  </a:lnTo>
                  <a:lnTo>
                    <a:pt x="20" y="68"/>
                  </a:lnTo>
                  <a:lnTo>
                    <a:pt x="23" y="74"/>
                  </a:lnTo>
                  <a:lnTo>
                    <a:pt x="24" y="79"/>
                  </a:lnTo>
                  <a:lnTo>
                    <a:pt x="22" y="81"/>
                  </a:lnTo>
                  <a:lnTo>
                    <a:pt x="24" y="87"/>
                  </a:lnTo>
                  <a:lnTo>
                    <a:pt x="20" y="91"/>
                  </a:lnTo>
                  <a:lnTo>
                    <a:pt x="20" y="93"/>
                  </a:lnTo>
                  <a:lnTo>
                    <a:pt x="23" y="94"/>
                  </a:lnTo>
                  <a:lnTo>
                    <a:pt x="25" y="97"/>
                  </a:lnTo>
                  <a:lnTo>
                    <a:pt x="35" y="133"/>
                  </a:lnTo>
                  <a:lnTo>
                    <a:pt x="29" y="133"/>
                  </a:lnTo>
                  <a:lnTo>
                    <a:pt x="29" y="138"/>
                  </a:lnTo>
                  <a:lnTo>
                    <a:pt x="26" y="139"/>
                  </a:lnTo>
                  <a:lnTo>
                    <a:pt x="24" y="143"/>
                  </a:lnTo>
                  <a:lnTo>
                    <a:pt x="21" y="144"/>
                  </a:lnTo>
                  <a:lnTo>
                    <a:pt x="13" y="163"/>
                  </a:lnTo>
                  <a:lnTo>
                    <a:pt x="11" y="179"/>
                  </a:lnTo>
                  <a:lnTo>
                    <a:pt x="9" y="184"/>
                  </a:lnTo>
                  <a:lnTo>
                    <a:pt x="4" y="190"/>
                  </a:lnTo>
                  <a:lnTo>
                    <a:pt x="1" y="195"/>
                  </a:lnTo>
                  <a:lnTo>
                    <a:pt x="0" y="217"/>
                  </a:lnTo>
                  <a:lnTo>
                    <a:pt x="9" y="247"/>
                  </a:lnTo>
                  <a:lnTo>
                    <a:pt x="12" y="251"/>
                  </a:lnTo>
                  <a:lnTo>
                    <a:pt x="19" y="252"/>
                  </a:lnTo>
                  <a:lnTo>
                    <a:pt x="20" y="253"/>
                  </a:lnTo>
                  <a:lnTo>
                    <a:pt x="22" y="275"/>
                  </a:lnTo>
                  <a:lnTo>
                    <a:pt x="17" y="275"/>
                  </a:lnTo>
                  <a:lnTo>
                    <a:pt x="14" y="274"/>
                  </a:lnTo>
                  <a:lnTo>
                    <a:pt x="9" y="274"/>
                  </a:lnTo>
                  <a:lnTo>
                    <a:pt x="7" y="275"/>
                  </a:lnTo>
                  <a:lnTo>
                    <a:pt x="4" y="280"/>
                  </a:lnTo>
                  <a:lnTo>
                    <a:pt x="55" y="298"/>
                  </a:lnTo>
                  <a:lnTo>
                    <a:pt x="79" y="283"/>
                  </a:lnTo>
                  <a:lnTo>
                    <a:pt x="114" y="274"/>
                  </a:lnTo>
                  <a:lnTo>
                    <a:pt x="156" y="251"/>
                  </a:lnTo>
                  <a:lnTo>
                    <a:pt x="179" y="248"/>
                  </a:lnTo>
                  <a:lnTo>
                    <a:pt x="183" y="251"/>
                  </a:lnTo>
                  <a:lnTo>
                    <a:pt x="190" y="250"/>
                  </a:lnTo>
                  <a:lnTo>
                    <a:pt x="200" y="236"/>
                  </a:lnTo>
                  <a:lnTo>
                    <a:pt x="203" y="235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3" name="Freeform 70"/>
            <p:cNvSpPr>
              <a:spLocks/>
            </p:cNvSpPr>
            <p:nvPr/>
          </p:nvSpPr>
          <p:spPr bwMode="auto">
            <a:xfrm>
              <a:off x="3417844" y="2555294"/>
              <a:ext cx="641801" cy="441576"/>
            </a:xfrm>
            <a:custGeom>
              <a:avLst/>
              <a:gdLst>
                <a:gd name="T0" fmla="*/ 6 w 535"/>
                <a:gd name="T1" fmla="*/ 8 h 444"/>
                <a:gd name="T2" fmla="*/ 7 w 535"/>
                <a:gd name="T3" fmla="*/ 7 h 444"/>
                <a:gd name="T4" fmla="*/ 9 w 535"/>
                <a:gd name="T5" fmla="*/ 6 h 444"/>
                <a:gd name="T6" fmla="*/ 13 w 535"/>
                <a:gd name="T7" fmla="*/ 1 h 444"/>
                <a:gd name="T8" fmla="*/ 28 w 535"/>
                <a:gd name="T9" fmla="*/ 2 h 444"/>
                <a:gd name="T10" fmla="*/ 32 w 535"/>
                <a:gd name="T11" fmla="*/ 5 h 444"/>
                <a:gd name="T12" fmla="*/ 34 w 535"/>
                <a:gd name="T13" fmla="*/ 4 h 444"/>
                <a:gd name="T14" fmla="*/ 40 w 535"/>
                <a:gd name="T15" fmla="*/ 3 h 444"/>
                <a:gd name="T16" fmla="*/ 50 w 535"/>
                <a:gd name="T17" fmla="*/ 6 h 444"/>
                <a:gd name="T18" fmla="*/ 58 w 535"/>
                <a:gd name="T19" fmla="*/ 3 h 444"/>
                <a:gd name="T20" fmla="*/ 72 w 535"/>
                <a:gd name="T21" fmla="*/ 3 h 444"/>
                <a:gd name="T22" fmla="*/ 74 w 535"/>
                <a:gd name="T23" fmla="*/ 3 h 444"/>
                <a:gd name="T24" fmla="*/ 76 w 535"/>
                <a:gd name="T25" fmla="*/ 2 h 444"/>
                <a:gd name="T26" fmla="*/ 78 w 535"/>
                <a:gd name="T27" fmla="*/ 2 h 444"/>
                <a:gd name="T28" fmla="*/ 80 w 535"/>
                <a:gd name="T29" fmla="*/ 1 h 444"/>
                <a:gd name="T30" fmla="*/ 80 w 535"/>
                <a:gd name="T31" fmla="*/ 0 h 444"/>
                <a:gd name="T32" fmla="*/ 84 w 535"/>
                <a:gd name="T33" fmla="*/ 3 h 444"/>
                <a:gd name="T34" fmla="*/ 87 w 535"/>
                <a:gd name="T35" fmla="*/ 8 h 444"/>
                <a:gd name="T36" fmla="*/ 89 w 535"/>
                <a:gd name="T37" fmla="*/ 8 h 444"/>
                <a:gd name="T38" fmla="*/ 89 w 535"/>
                <a:gd name="T39" fmla="*/ 9 h 444"/>
                <a:gd name="T40" fmla="*/ 87 w 535"/>
                <a:gd name="T41" fmla="*/ 13 h 444"/>
                <a:gd name="T42" fmla="*/ 84 w 535"/>
                <a:gd name="T43" fmla="*/ 14 h 444"/>
                <a:gd name="T44" fmla="*/ 77 w 535"/>
                <a:gd name="T45" fmla="*/ 28 h 444"/>
                <a:gd name="T46" fmla="*/ 73 w 535"/>
                <a:gd name="T47" fmla="*/ 30 h 444"/>
                <a:gd name="T48" fmla="*/ 66 w 535"/>
                <a:gd name="T49" fmla="*/ 41 h 444"/>
                <a:gd name="T50" fmla="*/ 62 w 535"/>
                <a:gd name="T51" fmla="*/ 40 h 444"/>
                <a:gd name="T52" fmla="*/ 62 w 535"/>
                <a:gd name="T53" fmla="*/ 40 h 444"/>
                <a:gd name="T54" fmla="*/ 60 w 535"/>
                <a:gd name="T55" fmla="*/ 38 h 444"/>
                <a:gd name="T56" fmla="*/ 52 w 535"/>
                <a:gd name="T57" fmla="*/ 39 h 444"/>
                <a:gd name="T58" fmla="*/ 50 w 535"/>
                <a:gd name="T59" fmla="*/ 41 h 444"/>
                <a:gd name="T60" fmla="*/ 46 w 535"/>
                <a:gd name="T61" fmla="*/ 46 h 444"/>
                <a:gd name="T62" fmla="*/ 45 w 535"/>
                <a:gd name="T63" fmla="*/ 49 h 444"/>
                <a:gd name="T64" fmla="*/ 44 w 535"/>
                <a:gd name="T65" fmla="*/ 50 h 444"/>
                <a:gd name="T66" fmla="*/ 42 w 535"/>
                <a:gd name="T67" fmla="*/ 50 h 444"/>
                <a:gd name="T68" fmla="*/ 41 w 535"/>
                <a:gd name="T69" fmla="*/ 51 h 444"/>
                <a:gd name="T70" fmla="*/ 34 w 535"/>
                <a:gd name="T71" fmla="*/ 51 h 444"/>
                <a:gd name="T72" fmla="*/ 32 w 535"/>
                <a:gd name="T73" fmla="*/ 51 h 444"/>
                <a:gd name="T74" fmla="*/ 31 w 535"/>
                <a:gd name="T75" fmla="*/ 53 h 444"/>
                <a:gd name="T76" fmla="*/ 31 w 535"/>
                <a:gd name="T77" fmla="*/ 53 h 444"/>
                <a:gd name="T78" fmla="*/ 30 w 535"/>
                <a:gd name="T79" fmla="*/ 53 h 444"/>
                <a:gd name="T80" fmla="*/ 27 w 535"/>
                <a:gd name="T81" fmla="*/ 53 h 444"/>
                <a:gd name="T82" fmla="*/ 25 w 535"/>
                <a:gd name="T83" fmla="*/ 53 h 444"/>
                <a:gd name="T84" fmla="*/ 23 w 535"/>
                <a:gd name="T85" fmla="*/ 52 h 444"/>
                <a:gd name="T86" fmla="*/ 21 w 535"/>
                <a:gd name="T87" fmla="*/ 50 h 444"/>
                <a:gd name="T88" fmla="*/ 21 w 535"/>
                <a:gd name="T89" fmla="*/ 47 h 444"/>
                <a:gd name="T90" fmla="*/ 19 w 535"/>
                <a:gd name="T91" fmla="*/ 47 h 444"/>
                <a:gd name="T92" fmla="*/ 18 w 535"/>
                <a:gd name="T93" fmla="*/ 45 h 444"/>
                <a:gd name="T94" fmla="*/ 18 w 535"/>
                <a:gd name="T95" fmla="*/ 44 h 444"/>
                <a:gd name="T96" fmla="*/ 16 w 535"/>
                <a:gd name="T97" fmla="*/ 43 h 444"/>
                <a:gd name="T98" fmla="*/ 1 w 535"/>
                <a:gd name="T99" fmla="*/ 42 h 444"/>
                <a:gd name="T100" fmla="*/ 1 w 535"/>
                <a:gd name="T101" fmla="*/ 29 h 444"/>
                <a:gd name="T102" fmla="*/ 3 w 535"/>
                <a:gd name="T103" fmla="*/ 24 h 444"/>
                <a:gd name="T104" fmla="*/ 6 w 535"/>
                <a:gd name="T105" fmla="*/ 21 h 444"/>
                <a:gd name="T106" fmla="*/ 7 w 535"/>
                <a:gd name="T107" fmla="*/ 21 h 444"/>
                <a:gd name="T108" fmla="*/ 6 w 535"/>
                <a:gd name="T109" fmla="*/ 20 h 444"/>
                <a:gd name="T110" fmla="*/ 6 w 535"/>
                <a:gd name="T111" fmla="*/ 19 h 444"/>
                <a:gd name="T112" fmla="*/ 8 w 535"/>
                <a:gd name="T113" fmla="*/ 19 h 444"/>
                <a:gd name="T114" fmla="*/ 7 w 535"/>
                <a:gd name="T115" fmla="*/ 15 h 444"/>
                <a:gd name="T116" fmla="*/ 5 w 535"/>
                <a:gd name="T117" fmla="*/ 13 h 444"/>
                <a:gd name="T118" fmla="*/ 6 w 535"/>
                <a:gd name="T119" fmla="*/ 12 h 4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5"/>
                <a:gd name="T181" fmla="*/ 0 h 444"/>
                <a:gd name="T182" fmla="*/ 535 w 535"/>
                <a:gd name="T183" fmla="*/ 444 h 4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5" h="444">
                  <a:moveTo>
                    <a:pt x="39" y="98"/>
                  </a:moveTo>
                  <a:lnTo>
                    <a:pt x="38" y="63"/>
                  </a:lnTo>
                  <a:lnTo>
                    <a:pt x="40" y="59"/>
                  </a:lnTo>
                  <a:lnTo>
                    <a:pt x="43" y="56"/>
                  </a:lnTo>
                  <a:lnTo>
                    <a:pt x="49" y="53"/>
                  </a:lnTo>
                  <a:lnTo>
                    <a:pt x="55" y="47"/>
                  </a:lnTo>
                  <a:lnTo>
                    <a:pt x="64" y="18"/>
                  </a:lnTo>
                  <a:lnTo>
                    <a:pt x="77" y="7"/>
                  </a:lnTo>
                  <a:lnTo>
                    <a:pt x="133" y="1"/>
                  </a:lnTo>
                  <a:lnTo>
                    <a:pt x="164" y="16"/>
                  </a:lnTo>
                  <a:lnTo>
                    <a:pt x="189" y="38"/>
                  </a:lnTo>
                  <a:lnTo>
                    <a:pt x="193" y="40"/>
                  </a:lnTo>
                  <a:lnTo>
                    <a:pt x="199" y="40"/>
                  </a:lnTo>
                  <a:lnTo>
                    <a:pt x="205" y="32"/>
                  </a:lnTo>
                  <a:lnTo>
                    <a:pt x="226" y="23"/>
                  </a:lnTo>
                  <a:lnTo>
                    <a:pt x="237" y="23"/>
                  </a:lnTo>
                  <a:lnTo>
                    <a:pt x="270" y="42"/>
                  </a:lnTo>
                  <a:lnTo>
                    <a:pt x="300" y="48"/>
                  </a:lnTo>
                  <a:lnTo>
                    <a:pt x="311" y="46"/>
                  </a:lnTo>
                  <a:lnTo>
                    <a:pt x="345" y="23"/>
                  </a:lnTo>
                  <a:lnTo>
                    <a:pt x="407" y="20"/>
                  </a:lnTo>
                  <a:lnTo>
                    <a:pt x="430" y="30"/>
                  </a:lnTo>
                  <a:lnTo>
                    <a:pt x="439" y="29"/>
                  </a:lnTo>
                  <a:lnTo>
                    <a:pt x="445" y="26"/>
                  </a:lnTo>
                  <a:lnTo>
                    <a:pt x="452" y="19"/>
                  </a:lnTo>
                  <a:lnTo>
                    <a:pt x="453" y="16"/>
                  </a:lnTo>
                  <a:lnTo>
                    <a:pt x="458" y="13"/>
                  </a:lnTo>
                  <a:lnTo>
                    <a:pt x="463" y="12"/>
                  </a:lnTo>
                  <a:lnTo>
                    <a:pt x="469" y="12"/>
                  </a:lnTo>
                  <a:lnTo>
                    <a:pt x="474" y="2"/>
                  </a:lnTo>
                  <a:lnTo>
                    <a:pt x="476" y="2"/>
                  </a:lnTo>
                  <a:lnTo>
                    <a:pt x="477" y="0"/>
                  </a:lnTo>
                  <a:lnTo>
                    <a:pt x="489" y="25"/>
                  </a:lnTo>
                  <a:lnTo>
                    <a:pt x="498" y="30"/>
                  </a:lnTo>
                  <a:lnTo>
                    <a:pt x="510" y="55"/>
                  </a:lnTo>
                  <a:lnTo>
                    <a:pt x="519" y="61"/>
                  </a:lnTo>
                  <a:lnTo>
                    <a:pt x="519" y="64"/>
                  </a:lnTo>
                  <a:lnTo>
                    <a:pt x="528" y="66"/>
                  </a:lnTo>
                  <a:lnTo>
                    <a:pt x="531" y="69"/>
                  </a:lnTo>
                  <a:lnTo>
                    <a:pt x="533" y="74"/>
                  </a:lnTo>
                  <a:lnTo>
                    <a:pt x="535" y="100"/>
                  </a:lnTo>
                  <a:lnTo>
                    <a:pt x="519" y="110"/>
                  </a:lnTo>
                  <a:lnTo>
                    <a:pt x="516" y="112"/>
                  </a:lnTo>
                  <a:lnTo>
                    <a:pt x="499" y="120"/>
                  </a:lnTo>
                  <a:lnTo>
                    <a:pt x="489" y="132"/>
                  </a:lnTo>
                  <a:lnTo>
                    <a:pt x="456" y="233"/>
                  </a:lnTo>
                  <a:lnTo>
                    <a:pt x="444" y="239"/>
                  </a:lnTo>
                  <a:lnTo>
                    <a:pt x="435" y="250"/>
                  </a:lnTo>
                  <a:lnTo>
                    <a:pt x="396" y="339"/>
                  </a:lnTo>
                  <a:lnTo>
                    <a:pt x="390" y="342"/>
                  </a:lnTo>
                  <a:lnTo>
                    <a:pt x="379" y="341"/>
                  </a:lnTo>
                  <a:lnTo>
                    <a:pt x="371" y="334"/>
                  </a:lnTo>
                  <a:lnTo>
                    <a:pt x="367" y="333"/>
                  </a:lnTo>
                  <a:lnTo>
                    <a:pt x="367" y="331"/>
                  </a:lnTo>
                  <a:lnTo>
                    <a:pt x="365" y="328"/>
                  </a:lnTo>
                  <a:lnTo>
                    <a:pt x="356" y="320"/>
                  </a:lnTo>
                  <a:lnTo>
                    <a:pt x="313" y="322"/>
                  </a:lnTo>
                  <a:lnTo>
                    <a:pt x="311" y="323"/>
                  </a:lnTo>
                  <a:lnTo>
                    <a:pt x="307" y="336"/>
                  </a:lnTo>
                  <a:lnTo>
                    <a:pt x="298" y="341"/>
                  </a:lnTo>
                  <a:lnTo>
                    <a:pt x="286" y="356"/>
                  </a:lnTo>
                  <a:lnTo>
                    <a:pt x="274" y="383"/>
                  </a:lnTo>
                  <a:lnTo>
                    <a:pt x="274" y="394"/>
                  </a:lnTo>
                  <a:lnTo>
                    <a:pt x="265" y="410"/>
                  </a:lnTo>
                  <a:lnTo>
                    <a:pt x="260" y="415"/>
                  </a:lnTo>
                  <a:lnTo>
                    <a:pt x="259" y="421"/>
                  </a:lnTo>
                  <a:lnTo>
                    <a:pt x="256" y="416"/>
                  </a:lnTo>
                  <a:lnTo>
                    <a:pt x="252" y="415"/>
                  </a:lnTo>
                  <a:lnTo>
                    <a:pt x="249" y="422"/>
                  </a:lnTo>
                  <a:lnTo>
                    <a:pt x="248" y="431"/>
                  </a:lnTo>
                  <a:lnTo>
                    <a:pt x="219" y="432"/>
                  </a:lnTo>
                  <a:lnTo>
                    <a:pt x="200" y="424"/>
                  </a:lnTo>
                  <a:lnTo>
                    <a:pt x="196" y="429"/>
                  </a:lnTo>
                  <a:lnTo>
                    <a:pt x="193" y="431"/>
                  </a:lnTo>
                  <a:lnTo>
                    <a:pt x="190" y="436"/>
                  </a:lnTo>
                  <a:lnTo>
                    <a:pt x="187" y="437"/>
                  </a:lnTo>
                  <a:lnTo>
                    <a:pt x="185" y="437"/>
                  </a:lnTo>
                  <a:lnTo>
                    <a:pt x="183" y="439"/>
                  </a:lnTo>
                  <a:lnTo>
                    <a:pt x="178" y="437"/>
                  </a:lnTo>
                  <a:lnTo>
                    <a:pt x="175" y="438"/>
                  </a:lnTo>
                  <a:lnTo>
                    <a:pt x="173" y="437"/>
                  </a:lnTo>
                  <a:lnTo>
                    <a:pt x="159" y="444"/>
                  </a:lnTo>
                  <a:lnTo>
                    <a:pt x="157" y="437"/>
                  </a:lnTo>
                  <a:lnTo>
                    <a:pt x="150" y="437"/>
                  </a:lnTo>
                  <a:lnTo>
                    <a:pt x="149" y="438"/>
                  </a:lnTo>
                  <a:lnTo>
                    <a:pt x="138" y="434"/>
                  </a:lnTo>
                  <a:lnTo>
                    <a:pt x="134" y="427"/>
                  </a:lnTo>
                  <a:lnTo>
                    <a:pt x="124" y="417"/>
                  </a:lnTo>
                  <a:lnTo>
                    <a:pt x="120" y="393"/>
                  </a:lnTo>
                  <a:lnTo>
                    <a:pt x="124" y="390"/>
                  </a:lnTo>
                  <a:lnTo>
                    <a:pt x="121" y="390"/>
                  </a:lnTo>
                  <a:lnTo>
                    <a:pt x="114" y="388"/>
                  </a:lnTo>
                  <a:lnTo>
                    <a:pt x="111" y="379"/>
                  </a:lnTo>
                  <a:lnTo>
                    <a:pt x="108" y="376"/>
                  </a:lnTo>
                  <a:lnTo>
                    <a:pt x="106" y="372"/>
                  </a:lnTo>
                  <a:lnTo>
                    <a:pt x="103" y="371"/>
                  </a:lnTo>
                  <a:lnTo>
                    <a:pt x="102" y="366"/>
                  </a:lnTo>
                  <a:lnTo>
                    <a:pt x="95" y="358"/>
                  </a:lnTo>
                  <a:lnTo>
                    <a:pt x="70" y="347"/>
                  </a:lnTo>
                  <a:lnTo>
                    <a:pt x="2" y="348"/>
                  </a:lnTo>
                  <a:lnTo>
                    <a:pt x="0" y="346"/>
                  </a:lnTo>
                  <a:lnTo>
                    <a:pt x="3" y="247"/>
                  </a:lnTo>
                  <a:lnTo>
                    <a:pt x="16" y="220"/>
                  </a:lnTo>
                  <a:lnTo>
                    <a:pt x="20" y="199"/>
                  </a:lnTo>
                  <a:lnTo>
                    <a:pt x="38" y="182"/>
                  </a:lnTo>
                  <a:lnTo>
                    <a:pt x="38" y="176"/>
                  </a:lnTo>
                  <a:lnTo>
                    <a:pt x="41" y="174"/>
                  </a:lnTo>
                  <a:lnTo>
                    <a:pt x="42" y="173"/>
                  </a:lnTo>
                  <a:lnTo>
                    <a:pt x="41" y="171"/>
                  </a:lnTo>
                  <a:lnTo>
                    <a:pt x="38" y="167"/>
                  </a:lnTo>
                  <a:lnTo>
                    <a:pt x="37" y="164"/>
                  </a:lnTo>
                  <a:lnTo>
                    <a:pt x="39" y="159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6" y="156"/>
                  </a:lnTo>
                  <a:lnTo>
                    <a:pt x="42" y="124"/>
                  </a:lnTo>
                  <a:lnTo>
                    <a:pt x="35" y="116"/>
                  </a:lnTo>
                  <a:lnTo>
                    <a:pt x="33" y="112"/>
                  </a:lnTo>
                  <a:lnTo>
                    <a:pt x="35" y="103"/>
                  </a:lnTo>
                  <a:lnTo>
                    <a:pt x="39" y="9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4" name="Freeform 71"/>
            <p:cNvSpPr>
              <a:spLocks/>
            </p:cNvSpPr>
            <p:nvPr/>
          </p:nvSpPr>
          <p:spPr bwMode="auto">
            <a:xfrm>
              <a:off x="3417844" y="2555294"/>
              <a:ext cx="641801" cy="441576"/>
            </a:xfrm>
            <a:custGeom>
              <a:avLst/>
              <a:gdLst>
                <a:gd name="T0" fmla="*/ 6 w 535"/>
                <a:gd name="T1" fmla="*/ 8 h 444"/>
                <a:gd name="T2" fmla="*/ 7 w 535"/>
                <a:gd name="T3" fmla="*/ 7 h 444"/>
                <a:gd name="T4" fmla="*/ 9 w 535"/>
                <a:gd name="T5" fmla="*/ 6 h 444"/>
                <a:gd name="T6" fmla="*/ 13 w 535"/>
                <a:gd name="T7" fmla="*/ 1 h 444"/>
                <a:gd name="T8" fmla="*/ 28 w 535"/>
                <a:gd name="T9" fmla="*/ 2 h 444"/>
                <a:gd name="T10" fmla="*/ 32 w 535"/>
                <a:gd name="T11" fmla="*/ 5 h 444"/>
                <a:gd name="T12" fmla="*/ 34 w 535"/>
                <a:gd name="T13" fmla="*/ 4 h 444"/>
                <a:gd name="T14" fmla="*/ 40 w 535"/>
                <a:gd name="T15" fmla="*/ 3 h 444"/>
                <a:gd name="T16" fmla="*/ 50 w 535"/>
                <a:gd name="T17" fmla="*/ 6 h 444"/>
                <a:gd name="T18" fmla="*/ 58 w 535"/>
                <a:gd name="T19" fmla="*/ 3 h 444"/>
                <a:gd name="T20" fmla="*/ 72 w 535"/>
                <a:gd name="T21" fmla="*/ 3 h 444"/>
                <a:gd name="T22" fmla="*/ 74 w 535"/>
                <a:gd name="T23" fmla="*/ 3 h 444"/>
                <a:gd name="T24" fmla="*/ 76 w 535"/>
                <a:gd name="T25" fmla="*/ 2 h 444"/>
                <a:gd name="T26" fmla="*/ 78 w 535"/>
                <a:gd name="T27" fmla="*/ 2 h 444"/>
                <a:gd name="T28" fmla="*/ 80 w 535"/>
                <a:gd name="T29" fmla="*/ 1 h 444"/>
                <a:gd name="T30" fmla="*/ 80 w 535"/>
                <a:gd name="T31" fmla="*/ 0 h 444"/>
                <a:gd name="T32" fmla="*/ 84 w 535"/>
                <a:gd name="T33" fmla="*/ 3 h 444"/>
                <a:gd name="T34" fmla="*/ 87 w 535"/>
                <a:gd name="T35" fmla="*/ 8 h 444"/>
                <a:gd name="T36" fmla="*/ 89 w 535"/>
                <a:gd name="T37" fmla="*/ 8 h 444"/>
                <a:gd name="T38" fmla="*/ 89 w 535"/>
                <a:gd name="T39" fmla="*/ 9 h 444"/>
                <a:gd name="T40" fmla="*/ 87 w 535"/>
                <a:gd name="T41" fmla="*/ 13 h 444"/>
                <a:gd name="T42" fmla="*/ 84 w 535"/>
                <a:gd name="T43" fmla="*/ 14 h 444"/>
                <a:gd name="T44" fmla="*/ 77 w 535"/>
                <a:gd name="T45" fmla="*/ 28 h 444"/>
                <a:gd name="T46" fmla="*/ 73 w 535"/>
                <a:gd name="T47" fmla="*/ 30 h 444"/>
                <a:gd name="T48" fmla="*/ 66 w 535"/>
                <a:gd name="T49" fmla="*/ 41 h 444"/>
                <a:gd name="T50" fmla="*/ 62 w 535"/>
                <a:gd name="T51" fmla="*/ 40 h 444"/>
                <a:gd name="T52" fmla="*/ 62 w 535"/>
                <a:gd name="T53" fmla="*/ 40 h 444"/>
                <a:gd name="T54" fmla="*/ 60 w 535"/>
                <a:gd name="T55" fmla="*/ 38 h 444"/>
                <a:gd name="T56" fmla="*/ 52 w 535"/>
                <a:gd name="T57" fmla="*/ 39 h 444"/>
                <a:gd name="T58" fmla="*/ 50 w 535"/>
                <a:gd name="T59" fmla="*/ 41 h 444"/>
                <a:gd name="T60" fmla="*/ 46 w 535"/>
                <a:gd name="T61" fmla="*/ 46 h 444"/>
                <a:gd name="T62" fmla="*/ 45 w 535"/>
                <a:gd name="T63" fmla="*/ 49 h 444"/>
                <a:gd name="T64" fmla="*/ 44 w 535"/>
                <a:gd name="T65" fmla="*/ 50 h 444"/>
                <a:gd name="T66" fmla="*/ 42 w 535"/>
                <a:gd name="T67" fmla="*/ 50 h 444"/>
                <a:gd name="T68" fmla="*/ 41 w 535"/>
                <a:gd name="T69" fmla="*/ 51 h 444"/>
                <a:gd name="T70" fmla="*/ 34 w 535"/>
                <a:gd name="T71" fmla="*/ 51 h 444"/>
                <a:gd name="T72" fmla="*/ 32 w 535"/>
                <a:gd name="T73" fmla="*/ 51 h 444"/>
                <a:gd name="T74" fmla="*/ 31 w 535"/>
                <a:gd name="T75" fmla="*/ 53 h 444"/>
                <a:gd name="T76" fmla="*/ 31 w 535"/>
                <a:gd name="T77" fmla="*/ 53 h 444"/>
                <a:gd name="T78" fmla="*/ 30 w 535"/>
                <a:gd name="T79" fmla="*/ 53 h 444"/>
                <a:gd name="T80" fmla="*/ 27 w 535"/>
                <a:gd name="T81" fmla="*/ 53 h 444"/>
                <a:gd name="T82" fmla="*/ 25 w 535"/>
                <a:gd name="T83" fmla="*/ 53 h 444"/>
                <a:gd name="T84" fmla="*/ 23 w 535"/>
                <a:gd name="T85" fmla="*/ 52 h 444"/>
                <a:gd name="T86" fmla="*/ 21 w 535"/>
                <a:gd name="T87" fmla="*/ 50 h 444"/>
                <a:gd name="T88" fmla="*/ 21 w 535"/>
                <a:gd name="T89" fmla="*/ 47 h 444"/>
                <a:gd name="T90" fmla="*/ 19 w 535"/>
                <a:gd name="T91" fmla="*/ 47 h 444"/>
                <a:gd name="T92" fmla="*/ 18 w 535"/>
                <a:gd name="T93" fmla="*/ 45 h 444"/>
                <a:gd name="T94" fmla="*/ 18 w 535"/>
                <a:gd name="T95" fmla="*/ 44 h 444"/>
                <a:gd name="T96" fmla="*/ 16 w 535"/>
                <a:gd name="T97" fmla="*/ 43 h 444"/>
                <a:gd name="T98" fmla="*/ 1 w 535"/>
                <a:gd name="T99" fmla="*/ 42 h 444"/>
                <a:gd name="T100" fmla="*/ 1 w 535"/>
                <a:gd name="T101" fmla="*/ 29 h 444"/>
                <a:gd name="T102" fmla="*/ 3 w 535"/>
                <a:gd name="T103" fmla="*/ 24 h 444"/>
                <a:gd name="T104" fmla="*/ 6 w 535"/>
                <a:gd name="T105" fmla="*/ 21 h 444"/>
                <a:gd name="T106" fmla="*/ 7 w 535"/>
                <a:gd name="T107" fmla="*/ 21 h 444"/>
                <a:gd name="T108" fmla="*/ 6 w 535"/>
                <a:gd name="T109" fmla="*/ 20 h 444"/>
                <a:gd name="T110" fmla="*/ 6 w 535"/>
                <a:gd name="T111" fmla="*/ 19 h 444"/>
                <a:gd name="T112" fmla="*/ 8 w 535"/>
                <a:gd name="T113" fmla="*/ 19 h 444"/>
                <a:gd name="T114" fmla="*/ 7 w 535"/>
                <a:gd name="T115" fmla="*/ 15 h 444"/>
                <a:gd name="T116" fmla="*/ 5 w 535"/>
                <a:gd name="T117" fmla="*/ 13 h 444"/>
                <a:gd name="T118" fmla="*/ 6 w 535"/>
                <a:gd name="T119" fmla="*/ 12 h 44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35"/>
                <a:gd name="T181" fmla="*/ 0 h 444"/>
                <a:gd name="T182" fmla="*/ 535 w 535"/>
                <a:gd name="T183" fmla="*/ 444 h 44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35" h="444">
                  <a:moveTo>
                    <a:pt x="39" y="98"/>
                  </a:moveTo>
                  <a:lnTo>
                    <a:pt x="38" y="63"/>
                  </a:lnTo>
                  <a:lnTo>
                    <a:pt x="40" y="59"/>
                  </a:lnTo>
                  <a:lnTo>
                    <a:pt x="43" y="56"/>
                  </a:lnTo>
                  <a:lnTo>
                    <a:pt x="49" y="53"/>
                  </a:lnTo>
                  <a:lnTo>
                    <a:pt x="55" y="47"/>
                  </a:lnTo>
                  <a:lnTo>
                    <a:pt x="64" y="18"/>
                  </a:lnTo>
                  <a:lnTo>
                    <a:pt x="77" y="7"/>
                  </a:lnTo>
                  <a:lnTo>
                    <a:pt x="133" y="1"/>
                  </a:lnTo>
                  <a:lnTo>
                    <a:pt x="164" y="16"/>
                  </a:lnTo>
                  <a:lnTo>
                    <a:pt x="189" y="38"/>
                  </a:lnTo>
                  <a:lnTo>
                    <a:pt x="193" y="40"/>
                  </a:lnTo>
                  <a:lnTo>
                    <a:pt x="199" y="40"/>
                  </a:lnTo>
                  <a:lnTo>
                    <a:pt x="205" y="32"/>
                  </a:lnTo>
                  <a:lnTo>
                    <a:pt x="226" y="23"/>
                  </a:lnTo>
                  <a:lnTo>
                    <a:pt x="237" y="23"/>
                  </a:lnTo>
                  <a:lnTo>
                    <a:pt x="270" y="42"/>
                  </a:lnTo>
                  <a:lnTo>
                    <a:pt x="300" y="48"/>
                  </a:lnTo>
                  <a:lnTo>
                    <a:pt x="311" y="46"/>
                  </a:lnTo>
                  <a:lnTo>
                    <a:pt x="345" y="23"/>
                  </a:lnTo>
                  <a:lnTo>
                    <a:pt x="407" y="20"/>
                  </a:lnTo>
                  <a:lnTo>
                    <a:pt x="430" y="30"/>
                  </a:lnTo>
                  <a:lnTo>
                    <a:pt x="439" y="29"/>
                  </a:lnTo>
                  <a:lnTo>
                    <a:pt x="445" y="26"/>
                  </a:lnTo>
                  <a:lnTo>
                    <a:pt x="452" y="19"/>
                  </a:lnTo>
                  <a:lnTo>
                    <a:pt x="453" y="16"/>
                  </a:lnTo>
                  <a:lnTo>
                    <a:pt x="458" y="13"/>
                  </a:lnTo>
                  <a:lnTo>
                    <a:pt x="463" y="12"/>
                  </a:lnTo>
                  <a:lnTo>
                    <a:pt x="469" y="12"/>
                  </a:lnTo>
                  <a:lnTo>
                    <a:pt x="474" y="2"/>
                  </a:lnTo>
                  <a:lnTo>
                    <a:pt x="476" y="2"/>
                  </a:lnTo>
                  <a:lnTo>
                    <a:pt x="477" y="0"/>
                  </a:lnTo>
                  <a:lnTo>
                    <a:pt x="489" y="25"/>
                  </a:lnTo>
                  <a:lnTo>
                    <a:pt x="498" y="30"/>
                  </a:lnTo>
                  <a:lnTo>
                    <a:pt x="510" y="55"/>
                  </a:lnTo>
                  <a:lnTo>
                    <a:pt x="519" y="61"/>
                  </a:lnTo>
                  <a:lnTo>
                    <a:pt x="519" y="64"/>
                  </a:lnTo>
                  <a:lnTo>
                    <a:pt x="528" y="66"/>
                  </a:lnTo>
                  <a:lnTo>
                    <a:pt x="531" y="69"/>
                  </a:lnTo>
                  <a:lnTo>
                    <a:pt x="533" y="74"/>
                  </a:lnTo>
                  <a:lnTo>
                    <a:pt x="535" y="100"/>
                  </a:lnTo>
                  <a:lnTo>
                    <a:pt x="519" y="110"/>
                  </a:lnTo>
                  <a:lnTo>
                    <a:pt x="516" y="112"/>
                  </a:lnTo>
                  <a:lnTo>
                    <a:pt x="499" y="120"/>
                  </a:lnTo>
                  <a:lnTo>
                    <a:pt x="489" y="132"/>
                  </a:lnTo>
                  <a:lnTo>
                    <a:pt x="456" y="233"/>
                  </a:lnTo>
                  <a:lnTo>
                    <a:pt x="444" y="239"/>
                  </a:lnTo>
                  <a:lnTo>
                    <a:pt x="435" y="250"/>
                  </a:lnTo>
                  <a:lnTo>
                    <a:pt x="396" y="339"/>
                  </a:lnTo>
                  <a:lnTo>
                    <a:pt x="390" y="342"/>
                  </a:lnTo>
                  <a:lnTo>
                    <a:pt x="379" y="341"/>
                  </a:lnTo>
                  <a:lnTo>
                    <a:pt x="371" y="334"/>
                  </a:lnTo>
                  <a:lnTo>
                    <a:pt x="367" y="333"/>
                  </a:lnTo>
                  <a:lnTo>
                    <a:pt x="367" y="331"/>
                  </a:lnTo>
                  <a:lnTo>
                    <a:pt x="365" y="328"/>
                  </a:lnTo>
                  <a:lnTo>
                    <a:pt x="356" y="320"/>
                  </a:lnTo>
                  <a:lnTo>
                    <a:pt x="313" y="322"/>
                  </a:lnTo>
                  <a:lnTo>
                    <a:pt x="311" y="323"/>
                  </a:lnTo>
                  <a:lnTo>
                    <a:pt x="307" y="336"/>
                  </a:lnTo>
                  <a:lnTo>
                    <a:pt x="298" y="341"/>
                  </a:lnTo>
                  <a:lnTo>
                    <a:pt x="286" y="356"/>
                  </a:lnTo>
                  <a:lnTo>
                    <a:pt x="274" y="383"/>
                  </a:lnTo>
                  <a:lnTo>
                    <a:pt x="274" y="394"/>
                  </a:lnTo>
                  <a:lnTo>
                    <a:pt x="265" y="410"/>
                  </a:lnTo>
                  <a:lnTo>
                    <a:pt x="260" y="415"/>
                  </a:lnTo>
                  <a:lnTo>
                    <a:pt x="259" y="421"/>
                  </a:lnTo>
                  <a:lnTo>
                    <a:pt x="256" y="416"/>
                  </a:lnTo>
                  <a:lnTo>
                    <a:pt x="252" y="415"/>
                  </a:lnTo>
                  <a:lnTo>
                    <a:pt x="249" y="422"/>
                  </a:lnTo>
                  <a:lnTo>
                    <a:pt x="248" y="431"/>
                  </a:lnTo>
                  <a:lnTo>
                    <a:pt x="219" y="432"/>
                  </a:lnTo>
                  <a:lnTo>
                    <a:pt x="200" y="424"/>
                  </a:lnTo>
                  <a:lnTo>
                    <a:pt x="196" y="429"/>
                  </a:lnTo>
                  <a:lnTo>
                    <a:pt x="193" y="431"/>
                  </a:lnTo>
                  <a:lnTo>
                    <a:pt x="190" y="436"/>
                  </a:lnTo>
                  <a:lnTo>
                    <a:pt x="187" y="437"/>
                  </a:lnTo>
                  <a:lnTo>
                    <a:pt x="185" y="437"/>
                  </a:lnTo>
                  <a:lnTo>
                    <a:pt x="183" y="439"/>
                  </a:lnTo>
                  <a:lnTo>
                    <a:pt x="178" y="437"/>
                  </a:lnTo>
                  <a:lnTo>
                    <a:pt x="175" y="438"/>
                  </a:lnTo>
                  <a:lnTo>
                    <a:pt x="173" y="437"/>
                  </a:lnTo>
                  <a:lnTo>
                    <a:pt x="159" y="444"/>
                  </a:lnTo>
                  <a:lnTo>
                    <a:pt x="157" y="437"/>
                  </a:lnTo>
                  <a:lnTo>
                    <a:pt x="150" y="437"/>
                  </a:lnTo>
                  <a:lnTo>
                    <a:pt x="149" y="438"/>
                  </a:lnTo>
                  <a:lnTo>
                    <a:pt x="138" y="434"/>
                  </a:lnTo>
                  <a:lnTo>
                    <a:pt x="134" y="427"/>
                  </a:lnTo>
                  <a:lnTo>
                    <a:pt x="124" y="417"/>
                  </a:lnTo>
                  <a:lnTo>
                    <a:pt x="120" y="393"/>
                  </a:lnTo>
                  <a:lnTo>
                    <a:pt x="124" y="390"/>
                  </a:lnTo>
                  <a:lnTo>
                    <a:pt x="121" y="390"/>
                  </a:lnTo>
                  <a:lnTo>
                    <a:pt x="114" y="388"/>
                  </a:lnTo>
                  <a:lnTo>
                    <a:pt x="111" y="379"/>
                  </a:lnTo>
                  <a:lnTo>
                    <a:pt x="108" y="376"/>
                  </a:lnTo>
                  <a:lnTo>
                    <a:pt x="106" y="372"/>
                  </a:lnTo>
                  <a:lnTo>
                    <a:pt x="103" y="371"/>
                  </a:lnTo>
                  <a:lnTo>
                    <a:pt x="102" y="366"/>
                  </a:lnTo>
                  <a:lnTo>
                    <a:pt x="95" y="358"/>
                  </a:lnTo>
                  <a:lnTo>
                    <a:pt x="70" y="347"/>
                  </a:lnTo>
                  <a:lnTo>
                    <a:pt x="2" y="348"/>
                  </a:lnTo>
                  <a:lnTo>
                    <a:pt x="0" y="346"/>
                  </a:lnTo>
                  <a:lnTo>
                    <a:pt x="3" y="247"/>
                  </a:lnTo>
                  <a:lnTo>
                    <a:pt x="16" y="220"/>
                  </a:lnTo>
                  <a:lnTo>
                    <a:pt x="20" y="199"/>
                  </a:lnTo>
                  <a:lnTo>
                    <a:pt x="38" y="182"/>
                  </a:lnTo>
                  <a:lnTo>
                    <a:pt x="38" y="176"/>
                  </a:lnTo>
                  <a:lnTo>
                    <a:pt x="41" y="174"/>
                  </a:lnTo>
                  <a:lnTo>
                    <a:pt x="42" y="173"/>
                  </a:lnTo>
                  <a:lnTo>
                    <a:pt x="41" y="171"/>
                  </a:lnTo>
                  <a:lnTo>
                    <a:pt x="38" y="167"/>
                  </a:lnTo>
                  <a:lnTo>
                    <a:pt x="37" y="164"/>
                  </a:lnTo>
                  <a:lnTo>
                    <a:pt x="39" y="159"/>
                  </a:lnTo>
                  <a:lnTo>
                    <a:pt x="42" y="158"/>
                  </a:lnTo>
                  <a:lnTo>
                    <a:pt x="46" y="158"/>
                  </a:lnTo>
                  <a:lnTo>
                    <a:pt x="46" y="156"/>
                  </a:lnTo>
                  <a:lnTo>
                    <a:pt x="42" y="124"/>
                  </a:lnTo>
                  <a:lnTo>
                    <a:pt x="35" y="116"/>
                  </a:lnTo>
                  <a:lnTo>
                    <a:pt x="33" y="112"/>
                  </a:lnTo>
                  <a:lnTo>
                    <a:pt x="35" y="103"/>
                  </a:lnTo>
                  <a:lnTo>
                    <a:pt x="39" y="98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5" name="Freeform 72"/>
            <p:cNvSpPr>
              <a:spLocks/>
            </p:cNvSpPr>
            <p:nvPr/>
          </p:nvSpPr>
          <p:spPr bwMode="auto">
            <a:xfrm>
              <a:off x="3876854" y="3020989"/>
              <a:ext cx="414327" cy="398903"/>
            </a:xfrm>
            <a:custGeom>
              <a:avLst/>
              <a:gdLst>
                <a:gd name="T0" fmla="*/ 56 w 348"/>
                <a:gd name="T1" fmla="*/ 1 h 401"/>
                <a:gd name="T2" fmla="*/ 47 w 348"/>
                <a:gd name="T3" fmla="*/ 0 h 401"/>
                <a:gd name="T4" fmla="*/ 39 w 348"/>
                <a:gd name="T5" fmla="*/ 3 h 401"/>
                <a:gd name="T6" fmla="*/ 37 w 348"/>
                <a:gd name="T7" fmla="*/ 6 h 401"/>
                <a:gd name="T8" fmla="*/ 37 w 348"/>
                <a:gd name="T9" fmla="*/ 11 h 401"/>
                <a:gd name="T10" fmla="*/ 33 w 348"/>
                <a:gd name="T11" fmla="*/ 10 h 401"/>
                <a:gd name="T12" fmla="*/ 28 w 348"/>
                <a:gd name="T13" fmla="*/ 9 h 401"/>
                <a:gd name="T14" fmla="*/ 16 w 348"/>
                <a:gd name="T15" fmla="*/ 9 h 401"/>
                <a:gd name="T16" fmla="*/ 15 w 348"/>
                <a:gd name="T17" fmla="*/ 14 h 401"/>
                <a:gd name="T18" fmla="*/ 19 w 348"/>
                <a:gd name="T19" fmla="*/ 12 h 401"/>
                <a:gd name="T20" fmla="*/ 23 w 348"/>
                <a:gd name="T21" fmla="*/ 14 h 401"/>
                <a:gd name="T22" fmla="*/ 22 w 348"/>
                <a:gd name="T23" fmla="*/ 19 h 401"/>
                <a:gd name="T24" fmla="*/ 23 w 348"/>
                <a:gd name="T25" fmla="*/ 25 h 401"/>
                <a:gd name="T26" fmla="*/ 20 w 348"/>
                <a:gd name="T27" fmla="*/ 34 h 401"/>
                <a:gd name="T28" fmla="*/ 13 w 348"/>
                <a:gd name="T29" fmla="*/ 32 h 401"/>
                <a:gd name="T30" fmla="*/ 11 w 348"/>
                <a:gd name="T31" fmla="*/ 31 h 401"/>
                <a:gd name="T32" fmla="*/ 4 w 348"/>
                <a:gd name="T33" fmla="*/ 34 h 401"/>
                <a:gd name="T34" fmla="*/ 4 w 348"/>
                <a:gd name="T35" fmla="*/ 36 h 401"/>
                <a:gd name="T36" fmla="*/ 4 w 348"/>
                <a:gd name="T37" fmla="*/ 40 h 401"/>
                <a:gd name="T38" fmla="*/ 1 w 348"/>
                <a:gd name="T39" fmla="*/ 40 h 401"/>
                <a:gd name="T40" fmla="*/ 0 w 348"/>
                <a:gd name="T41" fmla="*/ 42 h 401"/>
                <a:gd name="T42" fmla="*/ 5 w 348"/>
                <a:gd name="T43" fmla="*/ 45 h 401"/>
                <a:gd name="T44" fmla="*/ 10 w 348"/>
                <a:gd name="T45" fmla="*/ 47 h 401"/>
                <a:gd name="T46" fmla="*/ 12 w 348"/>
                <a:gd name="T47" fmla="*/ 45 h 401"/>
                <a:gd name="T48" fmla="*/ 14 w 348"/>
                <a:gd name="T49" fmla="*/ 46 h 401"/>
                <a:gd name="T50" fmla="*/ 18 w 348"/>
                <a:gd name="T51" fmla="*/ 47 h 401"/>
                <a:gd name="T52" fmla="*/ 21 w 348"/>
                <a:gd name="T53" fmla="*/ 45 h 401"/>
                <a:gd name="T54" fmla="*/ 24 w 348"/>
                <a:gd name="T55" fmla="*/ 45 h 401"/>
                <a:gd name="T56" fmla="*/ 26 w 348"/>
                <a:gd name="T57" fmla="*/ 47 h 401"/>
                <a:gd name="T58" fmla="*/ 33 w 348"/>
                <a:gd name="T59" fmla="*/ 43 h 401"/>
                <a:gd name="T60" fmla="*/ 39 w 348"/>
                <a:gd name="T61" fmla="*/ 32 h 401"/>
                <a:gd name="T62" fmla="*/ 49 w 348"/>
                <a:gd name="T63" fmla="*/ 25 h 401"/>
                <a:gd name="T64" fmla="*/ 57 w 348"/>
                <a:gd name="T65" fmla="*/ 2 h 4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8"/>
                <a:gd name="T100" fmla="*/ 0 h 401"/>
                <a:gd name="T101" fmla="*/ 348 w 348"/>
                <a:gd name="T102" fmla="*/ 401 h 4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8" h="401">
                  <a:moveTo>
                    <a:pt x="345" y="0"/>
                  </a:moveTo>
                  <a:lnTo>
                    <a:pt x="340" y="6"/>
                  </a:lnTo>
                  <a:lnTo>
                    <a:pt x="315" y="14"/>
                  </a:lnTo>
                  <a:lnTo>
                    <a:pt x="286" y="0"/>
                  </a:lnTo>
                  <a:lnTo>
                    <a:pt x="270" y="4"/>
                  </a:lnTo>
                  <a:lnTo>
                    <a:pt x="236" y="28"/>
                  </a:lnTo>
                  <a:lnTo>
                    <a:pt x="229" y="40"/>
                  </a:lnTo>
                  <a:lnTo>
                    <a:pt x="227" y="49"/>
                  </a:lnTo>
                  <a:lnTo>
                    <a:pt x="229" y="85"/>
                  </a:lnTo>
                  <a:lnTo>
                    <a:pt x="226" y="93"/>
                  </a:lnTo>
                  <a:lnTo>
                    <a:pt x="223" y="96"/>
                  </a:lnTo>
                  <a:lnTo>
                    <a:pt x="203" y="81"/>
                  </a:lnTo>
                  <a:lnTo>
                    <a:pt x="195" y="81"/>
                  </a:lnTo>
                  <a:lnTo>
                    <a:pt x="171" y="76"/>
                  </a:lnTo>
                  <a:lnTo>
                    <a:pt x="162" y="71"/>
                  </a:lnTo>
                  <a:lnTo>
                    <a:pt x="99" y="71"/>
                  </a:lnTo>
                  <a:lnTo>
                    <a:pt x="93" y="83"/>
                  </a:lnTo>
                  <a:lnTo>
                    <a:pt x="93" y="114"/>
                  </a:lnTo>
                  <a:lnTo>
                    <a:pt x="100" y="118"/>
                  </a:lnTo>
                  <a:lnTo>
                    <a:pt x="113" y="99"/>
                  </a:lnTo>
                  <a:lnTo>
                    <a:pt x="138" y="105"/>
                  </a:lnTo>
                  <a:lnTo>
                    <a:pt x="146" y="115"/>
                  </a:lnTo>
                  <a:lnTo>
                    <a:pt x="147" y="133"/>
                  </a:lnTo>
                  <a:lnTo>
                    <a:pt x="132" y="157"/>
                  </a:lnTo>
                  <a:lnTo>
                    <a:pt x="131" y="171"/>
                  </a:lnTo>
                  <a:lnTo>
                    <a:pt x="144" y="206"/>
                  </a:lnTo>
                  <a:lnTo>
                    <a:pt x="134" y="276"/>
                  </a:lnTo>
                  <a:lnTo>
                    <a:pt x="122" y="280"/>
                  </a:lnTo>
                  <a:lnTo>
                    <a:pt x="105" y="267"/>
                  </a:lnTo>
                  <a:lnTo>
                    <a:pt x="84" y="269"/>
                  </a:lnTo>
                  <a:lnTo>
                    <a:pt x="77" y="260"/>
                  </a:lnTo>
                  <a:lnTo>
                    <a:pt x="70" y="255"/>
                  </a:lnTo>
                  <a:lnTo>
                    <a:pt x="54" y="272"/>
                  </a:lnTo>
                  <a:lnTo>
                    <a:pt x="26" y="286"/>
                  </a:lnTo>
                  <a:lnTo>
                    <a:pt x="21" y="294"/>
                  </a:lnTo>
                  <a:lnTo>
                    <a:pt x="21" y="303"/>
                  </a:lnTo>
                  <a:lnTo>
                    <a:pt x="28" y="326"/>
                  </a:lnTo>
                  <a:lnTo>
                    <a:pt x="25" y="331"/>
                  </a:lnTo>
                  <a:lnTo>
                    <a:pt x="15" y="330"/>
                  </a:lnTo>
                  <a:lnTo>
                    <a:pt x="6" y="332"/>
                  </a:lnTo>
                  <a:lnTo>
                    <a:pt x="1" y="339"/>
                  </a:lnTo>
                  <a:lnTo>
                    <a:pt x="0" y="351"/>
                  </a:lnTo>
                  <a:lnTo>
                    <a:pt x="10" y="356"/>
                  </a:lnTo>
                  <a:lnTo>
                    <a:pt x="28" y="375"/>
                  </a:lnTo>
                  <a:lnTo>
                    <a:pt x="40" y="401"/>
                  </a:lnTo>
                  <a:lnTo>
                    <a:pt x="61" y="388"/>
                  </a:lnTo>
                  <a:lnTo>
                    <a:pt x="66" y="376"/>
                  </a:lnTo>
                  <a:lnTo>
                    <a:pt x="75" y="371"/>
                  </a:lnTo>
                  <a:lnTo>
                    <a:pt x="82" y="374"/>
                  </a:lnTo>
                  <a:lnTo>
                    <a:pt x="86" y="383"/>
                  </a:lnTo>
                  <a:lnTo>
                    <a:pt x="100" y="392"/>
                  </a:lnTo>
                  <a:lnTo>
                    <a:pt x="110" y="389"/>
                  </a:lnTo>
                  <a:lnTo>
                    <a:pt x="116" y="379"/>
                  </a:lnTo>
                  <a:lnTo>
                    <a:pt x="123" y="374"/>
                  </a:lnTo>
                  <a:lnTo>
                    <a:pt x="145" y="369"/>
                  </a:lnTo>
                  <a:lnTo>
                    <a:pt x="147" y="372"/>
                  </a:lnTo>
                  <a:lnTo>
                    <a:pt x="148" y="388"/>
                  </a:lnTo>
                  <a:lnTo>
                    <a:pt x="158" y="391"/>
                  </a:lnTo>
                  <a:lnTo>
                    <a:pt x="174" y="383"/>
                  </a:lnTo>
                  <a:lnTo>
                    <a:pt x="205" y="361"/>
                  </a:lnTo>
                  <a:lnTo>
                    <a:pt x="229" y="330"/>
                  </a:lnTo>
                  <a:lnTo>
                    <a:pt x="240" y="265"/>
                  </a:lnTo>
                  <a:lnTo>
                    <a:pt x="274" y="222"/>
                  </a:lnTo>
                  <a:lnTo>
                    <a:pt x="302" y="203"/>
                  </a:lnTo>
                  <a:lnTo>
                    <a:pt x="318" y="82"/>
                  </a:lnTo>
                  <a:lnTo>
                    <a:pt x="348" y="15"/>
                  </a:lnTo>
                  <a:lnTo>
                    <a:pt x="34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6" name="Freeform 73"/>
            <p:cNvSpPr>
              <a:spLocks/>
            </p:cNvSpPr>
            <p:nvPr/>
          </p:nvSpPr>
          <p:spPr bwMode="auto">
            <a:xfrm>
              <a:off x="3876854" y="3020989"/>
              <a:ext cx="414327" cy="398903"/>
            </a:xfrm>
            <a:custGeom>
              <a:avLst/>
              <a:gdLst>
                <a:gd name="T0" fmla="*/ 56 w 348"/>
                <a:gd name="T1" fmla="*/ 1 h 401"/>
                <a:gd name="T2" fmla="*/ 47 w 348"/>
                <a:gd name="T3" fmla="*/ 0 h 401"/>
                <a:gd name="T4" fmla="*/ 39 w 348"/>
                <a:gd name="T5" fmla="*/ 3 h 401"/>
                <a:gd name="T6" fmla="*/ 37 w 348"/>
                <a:gd name="T7" fmla="*/ 6 h 401"/>
                <a:gd name="T8" fmla="*/ 37 w 348"/>
                <a:gd name="T9" fmla="*/ 11 h 401"/>
                <a:gd name="T10" fmla="*/ 33 w 348"/>
                <a:gd name="T11" fmla="*/ 10 h 401"/>
                <a:gd name="T12" fmla="*/ 28 w 348"/>
                <a:gd name="T13" fmla="*/ 9 h 401"/>
                <a:gd name="T14" fmla="*/ 16 w 348"/>
                <a:gd name="T15" fmla="*/ 9 h 401"/>
                <a:gd name="T16" fmla="*/ 15 w 348"/>
                <a:gd name="T17" fmla="*/ 14 h 401"/>
                <a:gd name="T18" fmla="*/ 19 w 348"/>
                <a:gd name="T19" fmla="*/ 12 h 401"/>
                <a:gd name="T20" fmla="*/ 23 w 348"/>
                <a:gd name="T21" fmla="*/ 14 h 401"/>
                <a:gd name="T22" fmla="*/ 22 w 348"/>
                <a:gd name="T23" fmla="*/ 19 h 401"/>
                <a:gd name="T24" fmla="*/ 23 w 348"/>
                <a:gd name="T25" fmla="*/ 25 h 401"/>
                <a:gd name="T26" fmla="*/ 20 w 348"/>
                <a:gd name="T27" fmla="*/ 34 h 401"/>
                <a:gd name="T28" fmla="*/ 13 w 348"/>
                <a:gd name="T29" fmla="*/ 32 h 401"/>
                <a:gd name="T30" fmla="*/ 11 w 348"/>
                <a:gd name="T31" fmla="*/ 31 h 401"/>
                <a:gd name="T32" fmla="*/ 4 w 348"/>
                <a:gd name="T33" fmla="*/ 34 h 401"/>
                <a:gd name="T34" fmla="*/ 4 w 348"/>
                <a:gd name="T35" fmla="*/ 36 h 401"/>
                <a:gd name="T36" fmla="*/ 4 w 348"/>
                <a:gd name="T37" fmla="*/ 40 h 401"/>
                <a:gd name="T38" fmla="*/ 1 w 348"/>
                <a:gd name="T39" fmla="*/ 40 h 401"/>
                <a:gd name="T40" fmla="*/ 0 w 348"/>
                <a:gd name="T41" fmla="*/ 42 h 401"/>
                <a:gd name="T42" fmla="*/ 5 w 348"/>
                <a:gd name="T43" fmla="*/ 45 h 401"/>
                <a:gd name="T44" fmla="*/ 10 w 348"/>
                <a:gd name="T45" fmla="*/ 47 h 401"/>
                <a:gd name="T46" fmla="*/ 12 w 348"/>
                <a:gd name="T47" fmla="*/ 45 h 401"/>
                <a:gd name="T48" fmla="*/ 14 w 348"/>
                <a:gd name="T49" fmla="*/ 46 h 401"/>
                <a:gd name="T50" fmla="*/ 18 w 348"/>
                <a:gd name="T51" fmla="*/ 47 h 401"/>
                <a:gd name="T52" fmla="*/ 21 w 348"/>
                <a:gd name="T53" fmla="*/ 45 h 401"/>
                <a:gd name="T54" fmla="*/ 24 w 348"/>
                <a:gd name="T55" fmla="*/ 45 h 401"/>
                <a:gd name="T56" fmla="*/ 26 w 348"/>
                <a:gd name="T57" fmla="*/ 47 h 401"/>
                <a:gd name="T58" fmla="*/ 33 w 348"/>
                <a:gd name="T59" fmla="*/ 43 h 401"/>
                <a:gd name="T60" fmla="*/ 39 w 348"/>
                <a:gd name="T61" fmla="*/ 32 h 401"/>
                <a:gd name="T62" fmla="*/ 49 w 348"/>
                <a:gd name="T63" fmla="*/ 25 h 401"/>
                <a:gd name="T64" fmla="*/ 57 w 348"/>
                <a:gd name="T65" fmla="*/ 2 h 40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8"/>
                <a:gd name="T100" fmla="*/ 0 h 401"/>
                <a:gd name="T101" fmla="*/ 348 w 348"/>
                <a:gd name="T102" fmla="*/ 401 h 40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8" h="401">
                  <a:moveTo>
                    <a:pt x="345" y="0"/>
                  </a:moveTo>
                  <a:lnTo>
                    <a:pt x="340" y="6"/>
                  </a:lnTo>
                  <a:lnTo>
                    <a:pt x="315" y="14"/>
                  </a:lnTo>
                  <a:lnTo>
                    <a:pt x="286" y="0"/>
                  </a:lnTo>
                  <a:lnTo>
                    <a:pt x="270" y="4"/>
                  </a:lnTo>
                  <a:lnTo>
                    <a:pt x="236" y="28"/>
                  </a:lnTo>
                  <a:lnTo>
                    <a:pt x="229" y="40"/>
                  </a:lnTo>
                  <a:lnTo>
                    <a:pt x="227" y="49"/>
                  </a:lnTo>
                  <a:lnTo>
                    <a:pt x="229" y="85"/>
                  </a:lnTo>
                  <a:lnTo>
                    <a:pt x="226" y="93"/>
                  </a:lnTo>
                  <a:lnTo>
                    <a:pt x="223" y="96"/>
                  </a:lnTo>
                  <a:lnTo>
                    <a:pt x="203" y="81"/>
                  </a:lnTo>
                  <a:lnTo>
                    <a:pt x="195" y="81"/>
                  </a:lnTo>
                  <a:lnTo>
                    <a:pt x="171" y="76"/>
                  </a:lnTo>
                  <a:lnTo>
                    <a:pt x="162" y="71"/>
                  </a:lnTo>
                  <a:lnTo>
                    <a:pt x="99" y="71"/>
                  </a:lnTo>
                  <a:lnTo>
                    <a:pt x="93" y="83"/>
                  </a:lnTo>
                  <a:lnTo>
                    <a:pt x="93" y="114"/>
                  </a:lnTo>
                  <a:lnTo>
                    <a:pt x="100" y="118"/>
                  </a:lnTo>
                  <a:lnTo>
                    <a:pt x="113" y="99"/>
                  </a:lnTo>
                  <a:lnTo>
                    <a:pt x="138" y="105"/>
                  </a:lnTo>
                  <a:lnTo>
                    <a:pt x="146" y="115"/>
                  </a:lnTo>
                  <a:lnTo>
                    <a:pt x="147" y="133"/>
                  </a:lnTo>
                  <a:lnTo>
                    <a:pt x="132" y="157"/>
                  </a:lnTo>
                  <a:lnTo>
                    <a:pt x="131" y="171"/>
                  </a:lnTo>
                  <a:lnTo>
                    <a:pt x="144" y="206"/>
                  </a:lnTo>
                  <a:lnTo>
                    <a:pt x="134" y="276"/>
                  </a:lnTo>
                  <a:lnTo>
                    <a:pt x="122" y="280"/>
                  </a:lnTo>
                  <a:lnTo>
                    <a:pt x="105" y="267"/>
                  </a:lnTo>
                  <a:lnTo>
                    <a:pt x="84" y="269"/>
                  </a:lnTo>
                  <a:lnTo>
                    <a:pt x="77" y="260"/>
                  </a:lnTo>
                  <a:lnTo>
                    <a:pt x="70" y="255"/>
                  </a:lnTo>
                  <a:lnTo>
                    <a:pt x="54" y="272"/>
                  </a:lnTo>
                  <a:lnTo>
                    <a:pt x="26" y="286"/>
                  </a:lnTo>
                  <a:lnTo>
                    <a:pt x="21" y="294"/>
                  </a:lnTo>
                  <a:lnTo>
                    <a:pt x="21" y="303"/>
                  </a:lnTo>
                  <a:lnTo>
                    <a:pt x="28" y="326"/>
                  </a:lnTo>
                  <a:lnTo>
                    <a:pt x="25" y="331"/>
                  </a:lnTo>
                  <a:lnTo>
                    <a:pt x="15" y="330"/>
                  </a:lnTo>
                  <a:lnTo>
                    <a:pt x="6" y="332"/>
                  </a:lnTo>
                  <a:lnTo>
                    <a:pt x="1" y="339"/>
                  </a:lnTo>
                  <a:lnTo>
                    <a:pt x="0" y="351"/>
                  </a:lnTo>
                  <a:lnTo>
                    <a:pt x="10" y="356"/>
                  </a:lnTo>
                  <a:lnTo>
                    <a:pt x="28" y="375"/>
                  </a:lnTo>
                  <a:lnTo>
                    <a:pt x="40" y="401"/>
                  </a:lnTo>
                  <a:lnTo>
                    <a:pt x="61" y="388"/>
                  </a:lnTo>
                  <a:lnTo>
                    <a:pt x="66" y="376"/>
                  </a:lnTo>
                  <a:lnTo>
                    <a:pt x="75" y="371"/>
                  </a:lnTo>
                  <a:lnTo>
                    <a:pt x="82" y="374"/>
                  </a:lnTo>
                  <a:lnTo>
                    <a:pt x="86" y="383"/>
                  </a:lnTo>
                  <a:lnTo>
                    <a:pt x="100" y="392"/>
                  </a:lnTo>
                  <a:lnTo>
                    <a:pt x="110" y="389"/>
                  </a:lnTo>
                  <a:lnTo>
                    <a:pt x="116" y="379"/>
                  </a:lnTo>
                  <a:lnTo>
                    <a:pt x="123" y="374"/>
                  </a:lnTo>
                  <a:lnTo>
                    <a:pt x="145" y="369"/>
                  </a:lnTo>
                  <a:lnTo>
                    <a:pt x="147" y="372"/>
                  </a:lnTo>
                  <a:lnTo>
                    <a:pt x="148" y="388"/>
                  </a:lnTo>
                  <a:lnTo>
                    <a:pt x="158" y="391"/>
                  </a:lnTo>
                  <a:lnTo>
                    <a:pt x="174" y="383"/>
                  </a:lnTo>
                  <a:lnTo>
                    <a:pt x="205" y="361"/>
                  </a:lnTo>
                  <a:lnTo>
                    <a:pt x="229" y="330"/>
                  </a:lnTo>
                  <a:lnTo>
                    <a:pt x="240" y="265"/>
                  </a:lnTo>
                  <a:lnTo>
                    <a:pt x="274" y="222"/>
                  </a:lnTo>
                  <a:lnTo>
                    <a:pt x="302" y="203"/>
                  </a:lnTo>
                  <a:lnTo>
                    <a:pt x="318" y="82"/>
                  </a:lnTo>
                  <a:lnTo>
                    <a:pt x="348" y="15"/>
                  </a:lnTo>
                  <a:lnTo>
                    <a:pt x="34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7" name="Freeform 74"/>
            <p:cNvSpPr>
              <a:spLocks/>
            </p:cNvSpPr>
            <p:nvPr/>
          </p:nvSpPr>
          <p:spPr bwMode="auto">
            <a:xfrm>
              <a:off x="3777335" y="3087782"/>
              <a:ext cx="107643" cy="55661"/>
            </a:xfrm>
            <a:custGeom>
              <a:avLst/>
              <a:gdLst>
                <a:gd name="T0" fmla="*/ 16 w 88"/>
                <a:gd name="T1" fmla="*/ 0 h 57"/>
                <a:gd name="T2" fmla="*/ 3 w 88"/>
                <a:gd name="T3" fmla="*/ 1 h 57"/>
                <a:gd name="T4" fmla="*/ 3 w 88"/>
                <a:gd name="T5" fmla="*/ 1 h 57"/>
                <a:gd name="T6" fmla="*/ 2 w 88"/>
                <a:gd name="T7" fmla="*/ 2 h 57"/>
                <a:gd name="T8" fmla="*/ 1 w 88"/>
                <a:gd name="T9" fmla="*/ 4 h 57"/>
                <a:gd name="T10" fmla="*/ 0 w 88"/>
                <a:gd name="T11" fmla="*/ 5 h 57"/>
                <a:gd name="T12" fmla="*/ 2 w 88"/>
                <a:gd name="T13" fmla="*/ 6 h 57"/>
                <a:gd name="T14" fmla="*/ 2 w 88"/>
                <a:gd name="T15" fmla="*/ 6 h 57"/>
                <a:gd name="T16" fmla="*/ 2 w 88"/>
                <a:gd name="T17" fmla="*/ 6 h 57"/>
                <a:gd name="T18" fmla="*/ 2 w 88"/>
                <a:gd name="T19" fmla="*/ 6 h 57"/>
                <a:gd name="T20" fmla="*/ 16 w 88"/>
                <a:gd name="T21" fmla="*/ 6 h 57"/>
                <a:gd name="T22" fmla="*/ 16 w 88"/>
                <a:gd name="T23" fmla="*/ 5 h 57"/>
                <a:gd name="T24" fmla="*/ 15 w 88"/>
                <a:gd name="T25" fmla="*/ 2 h 57"/>
                <a:gd name="T26" fmla="*/ 16 w 88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57"/>
                <a:gd name="T44" fmla="*/ 88 w 88"/>
                <a:gd name="T45" fmla="*/ 57 h 5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57">
                  <a:moveTo>
                    <a:pt x="88" y="0"/>
                  </a:moveTo>
                  <a:lnTo>
                    <a:pt x="17" y="3"/>
                  </a:lnTo>
                  <a:lnTo>
                    <a:pt x="17" y="11"/>
                  </a:lnTo>
                  <a:lnTo>
                    <a:pt x="11" y="21"/>
                  </a:lnTo>
                  <a:lnTo>
                    <a:pt x="9" y="31"/>
                  </a:lnTo>
                  <a:lnTo>
                    <a:pt x="0" y="46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88" y="50"/>
                  </a:lnTo>
                  <a:lnTo>
                    <a:pt x="87" y="48"/>
                  </a:lnTo>
                  <a:lnTo>
                    <a:pt x="84" y="12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8" name="Freeform 75"/>
            <p:cNvSpPr>
              <a:spLocks/>
            </p:cNvSpPr>
            <p:nvPr/>
          </p:nvSpPr>
          <p:spPr bwMode="auto">
            <a:xfrm>
              <a:off x="3777335" y="3087782"/>
              <a:ext cx="107643" cy="55661"/>
            </a:xfrm>
            <a:custGeom>
              <a:avLst/>
              <a:gdLst>
                <a:gd name="T0" fmla="*/ 16 w 88"/>
                <a:gd name="T1" fmla="*/ 0 h 57"/>
                <a:gd name="T2" fmla="*/ 3 w 88"/>
                <a:gd name="T3" fmla="*/ 1 h 57"/>
                <a:gd name="T4" fmla="*/ 3 w 88"/>
                <a:gd name="T5" fmla="*/ 1 h 57"/>
                <a:gd name="T6" fmla="*/ 2 w 88"/>
                <a:gd name="T7" fmla="*/ 2 h 57"/>
                <a:gd name="T8" fmla="*/ 1 w 88"/>
                <a:gd name="T9" fmla="*/ 4 h 57"/>
                <a:gd name="T10" fmla="*/ 0 w 88"/>
                <a:gd name="T11" fmla="*/ 5 h 57"/>
                <a:gd name="T12" fmla="*/ 2 w 88"/>
                <a:gd name="T13" fmla="*/ 6 h 57"/>
                <a:gd name="T14" fmla="*/ 2 w 88"/>
                <a:gd name="T15" fmla="*/ 6 h 57"/>
                <a:gd name="T16" fmla="*/ 2 w 88"/>
                <a:gd name="T17" fmla="*/ 6 h 57"/>
                <a:gd name="T18" fmla="*/ 2 w 88"/>
                <a:gd name="T19" fmla="*/ 6 h 57"/>
                <a:gd name="T20" fmla="*/ 16 w 88"/>
                <a:gd name="T21" fmla="*/ 6 h 57"/>
                <a:gd name="T22" fmla="*/ 16 w 88"/>
                <a:gd name="T23" fmla="*/ 5 h 57"/>
                <a:gd name="T24" fmla="*/ 15 w 88"/>
                <a:gd name="T25" fmla="*/ 2 h 57"/>
                <a:gd name="T26" fmla="*/ 16 w 88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57"/>
                <a:gd name="T44" fmla="*/ 88 w 88"/>
                <a:gd name="T45" fmla="*/ 57 h 5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57">
                  <a:moveTo>
                    <a:pt x="88" y="0"/>
                  </a:moveTo>
                  <a:lnTo>
                    <a:pt x="17" y="3"/>
                  </a:lnTo>
                  <a:lnTo>
                    <a:pt x="17" y="11"/>
                  </a:lnTo>
                  <a:lnTo>
                    <a:pt x="11" y="21"/>
                  </a:lnTo>
                  <a:lnTo>
                    <a:pt x="9" y="31"/>
                  </a:lnTo>
                  <a:lnTo>
                    <a:pt x="0" y="46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88" y="50"/>
                  </a:lnTo>
                  <a:lnTo>
                    <a:pt x="87" y="48"/>
                  </a:lnTo>
                  <a:lnTo>
                    <a:pt x="84" y="12"/>
                  </a:lnTo>
                  <a:lnTo>
                    <a:pt x="88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69" name="Freeform 76"/>
            <p:cNvSpPr>
              <a:spLocks/>
            </p:cNvSpPr>
            <p:nvPr/>
          </p:nvSpPr>
          <p:spPr bwMode="auto">
            <a:xfrm>
              <a:off x="5272163" y="2351204"/>
              <a:ext cx="361521" cy="270883"/>
            </a:xfrm>
            <a:custGeom>
              <a:avLst/>
              <a:gdLst>
                <a:gd name="T0" fmla="*/ 14 w 301"/>
                <a:gd name="T1" fmla="*/ 3 h 270"/>
                <a:gd name="T2" fmla="*/ 7 w 301"/>
                <a:gd name="T3" fmla="*/ 5 h 270"/>
                <a:gd name="T4" fmla="*/ 4 w 301"/>
                <a:gd name="T5" fmla="*/ 6 h 270"/>
                <a:gd name="T6" fmla="*/ 1 w 301"/>
                <a:gd name="T7" fmla="*/ 22 h 270"/>
                <a:gd name="T8" fmla="*/ 2 w 301"/>
                <a:gd name="T9" fmla="*/ 23 h 270"/>
                <a:gd name="T10" fmla="*/ 4 w 301"/>
                <a:gd name="T11" fmla="*/ 23 h 270"/>
                <a:gd name="T12" fmla="*/ 4 w 301"/>
                <a:gd name="T13" fmla="*/ 22 h 270"/>
                <a:gd name="T14" fmla="*/ 6 w 301"/>
                <a:gd name="T15" fmla="*/ 22 h 270"/>
                <a:gd name="T16" fmla="*/ 7 w 301"/>
                <a:gd name="T17" fmla="*/ 23 h 270"/>
                <a:gd name="T18" fmla="*/ 11 w 301"/>
                <a:gd name="T19" fmla="*/ 19 h 270"/>
                <a:gd name="T20" fmla="*/ 13 w 301"/>
                <a:gd name="T21" fmla="*/ 20 h 270"/>
                <a:gd name="T22" fmla="*/ 13 w 301"/>
                <a:gd name="T23" fmla="*/ 21 h 270"/>
                <a:gd name="T24" fmla="*/ 16 w 301"/>
                <a:gd name="T25" fmla="*/ 22 h 270"/>
                <a:gd name="T26" fmla="*/ 18 w 301"/>
                <a:gd name="T27" fmla="*/ 21 h 270"/>
                <a:gd name="T28" fmla="*/ 19 w 301"/>
                <a:gd name="T29" fmla="*/ 21 h 270"/>
                <a:gd name="T30" fmla="*/ 21 w 301"/>
                <a:gd name="T31" fmla="*/ 21 h 270"/>
                <a:gd name="T32" fmla="*/ 21 w 301"/>
                <a:gd name="T33" fmla="*/ 22 h 270"/>
                <a:gd name="T34" fmla="*/ 22 w 301"/>
                <a:gd name="T35" fmla="*/ 21 h 270"/>
                <a:gd name="T36" fmla="*/ 24 w 301"/>
                <a:gd name="T37" fmla="*/ 21 h 270"/>
                <a:gd name="T38" fmla="*/ 25 w 301"/>
                <a:gd name="T39" fmla="*/ 21 h 270"/>
                <a:gd name="T40" fmla="*/ 26 w 301"/>
                <a:gd name="T41" fmla="*/ 22 h 270"/>
                <a:gd name="T42" fmla="*/ 28 w 301"/>
                <a:gd name="T43" fmla="*/ 22 h 270"/>
                <a:gd name="T44" fmla="*/ 33 w 301"/>
                <a:gd name="T45" fmla="*/ 23 h 270"/>
                <a:gd name="T46" fmla="*/ 40 w 301"/>
                <a:gd name="T47" fmla="*/ 29 h 270"/>
                <a:gd name="T48" fmla="*/ 44 w 301"/>
                <a:gd name="T49" fmla="*/ 32 h 270"/>
                <a:gd name="T50" fmla="*/ 46 w 301"/>
                <a:gd name="T51" fmla="*/ 33 h 270"/>
                <a:gd name="T52" fmla="*/ 50 w 301"/>
                <a:gd name="T53" fmla="*/ 30 h 270"/>
                <a:gd name="T54" fmla="*/ 48 w 301"/>
                <a:gd name="T55" fmla="*/ 30 h 270"/>
                <a:gd name="T56" fmla="*/ 48 w 301"/>
                <a:gd name="T57" fmla="*/ 29 h 270"/>
                <a:gd name="T58" fmla="*/ 47 w 301"/>
                <a:gd name="T59" fmla="*/ 29 h 270"/>
                <a:gd name="T60" fmla="*/ 46 w 301"/>
                <a:gd name="T61" fmla="*/ 28 h 270"/>
                <a:gd name="T62" fmla="*/ 45 w 301"/>
                <a:gd name="T63" fmla="*/ 26 h 270"/>
                <a:gd name="T64" fmla="*/ 43 w 301"/>
                <a:gd name="T65" fmla="*/ 26 h 270"/>
                <a:gd name="T66" fmla="*/ 43 w 301"/>
                <a:gd name="T67" fmla="*/ 25 h 270"/>
                <a:gd name="T68" fmla="*/ 41 w 301"/>
                <a:gd name="T69" fmla="*/ 25 h 270"/>
                <a:gd name="T70" fmla="*/ 40 w 301"/>
                <a:gd name="T71" fmla="*/ 24 h 270"/>
                <a:gd name="T72" fmla="*/ 37 w 301"/>
                <a:gd name="T73" fmla="*/ 21 h 270"/>
                <a:gd name="T74" fmla="*/ 35 w 301"/>
                <a:gd name="T75" fmla="*/ 21 h 270"/>
                <a:gd name="T76" fmla="*/ 33 w 301"/>
                <a:gd name="T77" fmla="*/ 20 h 270"/>
                <a:gd name="T78" fmla="*/ 32 w 301"/>
                <a:gd name="T79" fmla="*/ 19 h 270"/>
                <a:gd name="T80" fmla="*/ 30 w 301"/>
                <a:gd name="T81" fmla="*/ 18 h 270"/>
                <a:gd name="T82" fmla="*/ 30 w 301"/>
                <a:gd name="T83" fmla="*/ 19 h 270"/>
                <a:gd name="T84" fmla="*/ 28 w 301"/>
                <a:gd name="T85" fmla="*/ 17 h 270"/>
                <a:gd name="T86" fmla="*/ 27 w 301"/>
                <a:gd name="T87" fmla="*/ 17 h 270"/>
                <a:gd name="T88" fmla="*/ 28 w 301"/>
                <a:gd name="T89" fmla="*/ 16 h 270"/>
                <a:gd name="T90" fmla="*/ 27 w 301"/>
                <a:gd name="T91" fmla="*/ 16 h 270"/>
                <a:gd name="T92" fmla="*/ 25 w 301"/>
                <a:gd name="T93" fmla="*/ 16 h 270"/>
                <a:gd name="T94" fmla="*/ 26 w 301"/>
                <a:gd name="T95" fmla="*/ 17 h 270"/>
                <a:gd name="T96" fmla="*/ 25 w 301"/>
                <a:gd name="T97" fmla="*/ 17 h 270"/>
                <a:gd name="T98" fmla="*/ 24 w 301"/>
                <a:gd name="T99" fmla="*/ 17 h 270"/>
                <a:gd name="T100" fmla="*/ 24 w 301"/>
                <a:gd name="T101" fmla="*/ 16 h 270"/>
                <a:gd name="T102" fmla="*/ 24 w 301"/>
                <a:gd name="T103" fmla="*/ 15 h 270"/>
                <a:gd name="T104" fmla="*/ 22 w 301"/>
                <a:gd name="T105" fmla="*/ 15 h 270"/>
                <a:gd name="T106" fmla="*/ 22 w 301"/>
                <a:gd name="T107" fmla="*/ 14 h 270"/>
                <a:gd name="T108" fmla="*/ 21 w 301"/>
                <a:gd name="T109" fmla="*/ 12 h 270"/>
                <a:gd name="T110" fmla="*/ 16 w 301"/>
                <a:gd name="T111" fmla="*/ 0 h 2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1"/>
                <a:gd name="T169" fmla="*/ 0 h 270"/>
                <a:gd name="T170" fmla="*/ 301 w 301"/>
                <a:gd name="T171" fmla="*/ 270 h 2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1" h="270">
                  <a:moveTo>
                    <a:pt x="91" y="0"/>
                  </a:moveTo>
                  <a:lnTo>
                    <a:pt x="83" y="20"/>
                  </a:lnTo>
                  <a:lnTo>
                    <a:pt x="48" y="35"/>
                  </a:lnTo>
                  <a:lnTo>
                    <a:pt x="44" y="41"/>
                  </a:lnTo>
                  <a:lnTo>
                    <a:pt x="37" y="46"/>
                  </a:lnTo>
                  <a:lnTo>
                    <a:pt x="26" y="47"/>
                  </a:lnTo>
                  <a:lnTo>
                    <a:pt x="0" y="167"/>
                  </a:lnTo>
                  <a:lnTo>
                    <a:pt x="2" y="180"/>
                  </a:lnTo>
                  <a:lnTo>
                    <a:pt x="4" y="181"/>
                  </a:lnTo>
                  <a:lnTo>
                    <a:pt x="15" y="181"/>
                  </a:lnTo>
                  <a:lnTo>
                    <a:pt x="19" y="183"/>
                  </a:lnTo>
                  <a:lnTo>
                    <a:pt x="23" y="183"/>
                  </a:lnTo>
                  <a:lnTo>
                    <a:pt x="25" y="180"/>
                  </a:lnTo>
                  <a:lnTo>
                    <a:pt x="26" y="178"/>
                  </a:lnTo>
                  <a:lnTo>
                    <a:pt x="28" y="174"/>
                  </a:lnTo>
                  <a:lnTo>
                    <a:pt x="34" y="174"/>
                  </a:lnTo>
                  <a:lnTo>
                    <a:pt x="38" y="179"/>
                  </a:lnTo>
                  <a:lnTo>
                    <a:pt x="39" y="182"/>
                  </a:lnTo>
                  <a:lnTo>
                    <a:pt x="46" y="191"/>
                  </a:lnTo>
                  <a:lnTo>
                    <a:pt x="62" y="155"/>
                  </a:lnTo>
                  <a:lnTo>
                    <a:pt x="71" y="163"/>
                  </a:lnTo>
                  <a:lnTo>
                    <a:pt x="76" y="163"/>
                  </a:lnTo>
                  <a:lnTo>
                    <a:pt x="78" y="164"/>
                  </a:lnTo>
                  <a:lnTo>
                    <a:pt x="79" y="166"/>
                  </a:lnTo>
                  <a:lnTo>
                    <a:pt x="85" y="175"/>
                  </a:lnTo>
                  <a:lnTo>
                    <a:pt x="93" y="175"/>
                  </a:lnTo>
                  <a:lnTo>
                    <a:pt x="96" y="174"/>
                  </a:lnTo>
                  <a:lnTo>
                    <a:pt x="108" y="172"/>
                  </a:lnTo>
                  <a:lnTo>
                    <a:pt x="112" y="169"/>
                  </a:lnTo>
                  <a:lnTo>
                    <a:pt x="112" y="165"/>
                  </a:lnTo>
                  <a:lnTo>
                    <a:pt x="116" y="165"/>
                  </a:lnTo>
                  <a:lnTo>
                    <a:pt x="121" y="169"/>
                  </a:lnTo>
                  <a:lnTo>
                    <a:pt x="123" y="174"/>
                  </a:lnTo>
                  <a:lnTo>
                    <a:pt x="125" y="174"/>
                  </a:lnTo>
                  <a:lnTo>
                    <a:pt x="126" y="173"/>
                  </a:lnTo>
                  <a:lnTo>
                    <a:pt x="132" y="172"/>
                  </a:lnTo>
                  <a:lnTo>
                    <a:pt x="136" y="169"/>
                  </a:lnTo>
                  <a:lnTo>
                    <a:pt x="139" y="169"/>
                  </a:lnTo>
                  <a:lnTo>
                    <a:pt x="143" y="172"/>
                  </a:lnTo>
                  <a:lnTo>
                    <a:pt x="152" y="172"/>
                  </a:lnTo>
                  <a:lnTo>
                    <a:pt x="153" y="175"/>
                  </a:lnTo>
                  <a:lnTo>
                    <a:pt x="156" y="175"/>
                  </a:lnTo>
                  <a:lnTo>
                    <a:pt x="158" y="174"/>
                  </a:lnTo>
                  <a:lnTo>
                    <a:pt x="168" y="173"/>
                  </a:lnTo>
                  <a:lnTo>
                    <a:pt x="187" y="187"/>
                  </a:lnTo>
                  <a:lnTo>
                    <a:pt x="193" y="188"/>
                  </a:lnTo>
                  <a:lnTo>
                    <a:pt x="213" y="213"/>
                  </a:lnTo>
                  <a:lnTo>
                    <a:pt x="238" y="231"/>
                  </a:lnTo>
                  <a:lnTo>
                    <a:pt x="249" y="249"/>
                  </a:lnTo>
                  <a:lnTo>
                    <a:pt x="261" y="258"/>
                  </a:lnTo>
                  <a:lnTo>
                    <a:pt x="270" y="270"/>
                  </a:lnTo>
                  <a:lnTo>
                    <a:pt x="274" y="265"/>
                  </a:lnTo>
                  <a:lnTo>
                    <a:pt x="301" y="249"/>
                  </a:lnTo>
                  <a:lnTo>
                    <a:pt x="297" y="245"/>
                  </a:lnTo>
                  <a:lnTo>
                    <a:pt x="292" y="247"/>
                  </a:lnTo>
                  <a:lnTo>
                    <a:pt x="288" y="244"/>
                  </a:lnTo>
                  <a:lnTo>
                    <a:pt x="286" y="241"/>
                  </a:lnTo>
                  <a:lnTo>
                    <a:pt x="284" y="236"/>
                  </a:lnTo>
                  <a:lnTo>
                    <a:pt x="283" y="235"/>
                  </a:lnTo>
                  <a:lnTo>
                    <a:pt x="275" y="234"/>
                  </a:lnTo>
                  <a:lnTo>
                    <a:pt x="272" y="232"/>
                  </a:lnTo>
                  <a:lnTo>
                    <a:pt x="268" y="221"/>
                  </a:lnTo>
                  <a:lnTo>
                    <a:pt x="265" y="217"/>
                  </a:lnTo>
                  <a:lnTo>
                    <a:pt x="264" y="214"/>
                  </a:lnTo>
                  <a:lnTo>
                    <a:pt x="260" y="213"/>
                  </a:lnTo>
                  <a:lnTo>
                    <a:pt x="256" y="211"/>
                  </a:lnTo>
                  <a:lnTo>
                    <a:pt x="252" y="202"/>
                  </a:lnTo>
                  <a:lnTo>
                    <a:pt x="251" y="201"/>
                  </a:lnTo>
                  <a:lnTo>
                    <a:pt x="246" y="202"/>
                  </a:lnTo>
                  <a:lnTo>
                    <a:pt x="243" y="200"/>
                  </a:lnTo>
                  <a:lnTo>
                    <a:pt x="241" y="200"/>
                  </a:lnTo>
                  <a:lnTo>
                    <a:pt x="239" y="198"/>
                  </a:lnTo>
                  <a:lnTo>
                    <a:pt x="238" y="194"/>
                  </a:lnTo>
                  <a:lnTo>
                    <a:pt x="220" y="168"/>
                  </a:lnTo>
                  <a:lnTo>
                    <a:pt x="213" y="164"/>
                  </a:lnTo>
                  <a:lnTo>
                    <a:pt x="205" y="164"/>
                  </a:lnTo>
                  <a:lnTo>
                    <a:pt x="200" y="161"/>
                  </a:lnTo>
                  <a:lnTo>
                    <a:pt x="197" y="161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84" y="148"/>
                  </a:lnTo>
                  <a:lnTo>
                    <a:pt x="179" y="147"/>
                  </a:lnTo>
                  <a:lnTo>
                    <a:pt x="176" y="150"/>
                  </a:lnTo>
                  <a:lnTo>
                    <a:pt x="174" y="151"/>
                  </a:lnTo>
                  <a:lnTo>
                    <a:pt x="171" y="150"/>
                  </a:lnTo>
                  <a:lnTo>
                    <a:pt x="166" y="142"/>
                  </a:lnTo>
                  <a:lnTo>
                    <a:pt x="163" y="138"/>
                  </a:lnTo>
                  <a:lnTo>
                    <a:pt x="162" y="135"/>
                  </a:lnTo>
                  <a:lnTo>
                    <a:pt x="164" y="132"/>
                  </a:lnTo>
                  <a:lnTo>
                    <a:pt x="163" y="129"/>
                  </a:lnTo>
                  <a:lnTo>
                    <a:pt x="160" y="128"/>
                  </a:lnTo>
                  <a:lnTo>
                    <a:pt x="157" y="125"/>
                  </a:lnTo>
                  <a:lnTo>
                    <a:pt x="153" y="126"/>
                  </a:lnTo>
                  <a:lnTo>
                    <a:pt x="152" y="128"/>
                  </a:lnTo>
                  <a:lnTo>
                    <a:pt x="152" y="132"/>
                  </a:lnTo>
                  <a:lnTo>
                    <a:pt x="155" y="135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46" y="139"/>
                  </a:lnTo>
                  <a:lnTo>
                    <a:pt x="146" y="136"/>
                  </a:lnTo>
                  <a:lnTo>
                    <a:pt x="146" y="133"/>
                  </a:lnTo>
                  <a:lnTo>
                    <a:pt x="144" y="130"/>
                  </a:lnTo>
                  <a:lnTo>
                    <a:pt x="142" y="121"/>
                  </a:lnTo>
                  <a:lnTo>
                    <a:pt x="141" y="119"/>
                  </a:lnTo>
                  <a:lnTo>
                    <a:pt x="137" y="119"/>
                  </a:lnTo>
                  <a:lnTo>
                    <a:pt x="135" y="117"/>
                  </a:lnTo>
                  <a:lnTo>
                    <a:pt x="135" y="115"/>
                  </a:lnTo>
                  <a:lnTo>
                    <a:pt x="133" y="113"/>
                  </a:lnTo>
                  <a:lnTo>
                    <a:pt x="133" y="108"/>
                  </a:lnTo>
                  <a:lnTo>
                    <a:pt x="125" y="100"/>
                  </a:lnTo>
                  <a:lnTo>
                    <a:pt x="108" y="26"/>
                  </a:lnTo>
                  <a:lnTo>
                    <a:pt x="94" y="0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0" name="Freeform 77"/>
            <p:cNvSpPr>
              <a:spLocks/>
            </p:cNvSpPr>
            <p:nvPr/>
          </p:nvSpPr>
          <p:spPr bwMode="auto">
            <a:xfrm>
              <a:off x="5272163" y="2351204"/>
              <a:ext cx="361521" cy="270883"/>
            </a:xfrm>
            <a:custGeom>
              <a:avLst/>
              <a:gdLst>
                <a:gd name="T0" fmla="*/ 14 w 301"/>
                <a:gd name="T1" fmla="*/ 3 h 270"/>
                <a:gd name="T2" fmla="*/ 7 w 301"/>
                <a:gd name="T3" fmla="*/ 5 h 270"/>
                <a:gd name="T4" fmla="*/ 4 w 301"/>
                <a:gd name="T5" fmla="*/ 6 h 270"/>
                <a:gd name="T6" fmla="*/ 1 w 301"/>
                <a:gd name="T7" fmla="*/ 22 h 270"/>
                <a:gd name="T8" fmla="*/ 2 w 301"/>
                <a:gd name="T9" fmla="*/ 23 h 270"/>
                <a:gd name="T10" fmla="*/ 4 w 301"/>
                <a:gd name="T11" fmla="*/ 23 h 270"/>
                <a:gd name="T12" fmla="*/ 4 w 301"/>
                <a:gd name="T13" fmla="*/ 22 h 270"/>
                <a:gd name="T14" fmla="*/ 6 w 301"/>
                <a:gd name="T15" fmla="*/ 22 h 270"/>
                <a:gd name="T16" fmla="*/ 7 w 301"/>
                <a:gd name="T17" fmla="*/ 23 h 270"/>
                <a:gd name="T18" fmla="*/ 11 w 301"/>
                <a:gd name="T19" fmla="*/ 19 h 270"/>
                <a:gd name="T20" fmla="*/ 13 w 301"/>
                <a:gd name="T21" fmla="*/ 20 h 270"/>
                <a:gd name="T22" fmla="*/ 13 w 301"/>
                <a:gd name="T23" fmla="*/ 21 h 270"/>
                <a:gd name="T24" fmla="*/ 16 w 301"/>
                <a:gd name="T25" fmla="*/ 22 h 270"/>
                <a:gd name="T26" fmla="*/ 18 w 301"/>
                <a:gd name="T27" fmla="*/ 21 h 270"/>
                <a:gd name="T28" fmla="*/ 19 w 301"/>
                <a:gd name="T29" fmla="*/ 21 h 270"/>
                <a:gd name="T30" fmla="*/ 21 w 301"/>
                <a:gd name="T31" fmla="*/ 21 h 270"/>
                <a:gd name="T32" fmla="*/ 21 w 301"/>
                <a:gd name="T33" fmla="*/ 22 h 270"/>
                <a:gd name="T34" fmla="*/ 22 w 301"/>
                <a:gd name="T35" fmla="*/ 21 h 270"/>
                <a:gd name="T36" fmla="*/ 24 w 301"/>
                <a:gd name="T37" fmla="*/ 21 h 270"/>
                <a:gd name="T38" fmla="*/ 25 w 301"/>
                <a:gd name="T39" fmla="*/ 21 h 270"/>
                <a:gd name="T40" fmla="*/ 26 w 301"/>
                <a:gd name="T41" fmla="*/ 22 h 270"/>
                <a:gd name="T42" fmla="*/ 28 w 301"/>
                <a:gd name="T43" fmla="*/ 22 h 270"/>
                <a:gd name="T44" fmla="*/ 33 w 301"/>
                <a:gd name="T45" fmla="*/ 23 h 270"/>
                <a:gd name="T46" fmla="*/ 40 w 301"/>
                <a:gd name="T47" fmla="*/ 29 h 270"/>
                <a:gd name="T48" fmla="*/ 44 w 301"/>
                <a:gd name="T49" fmla="*/ 32 h 270"/>
                <a:gd name="T50" fmla="*/ 46 w 301"/>
                <a:gd name="T51" fmla="*/ 33 h 270"/>
                <a:gd name="T52" fmla="*/ 50 w 301"/>
                <a:gd name="T53" fmla="*/ 30 h 270"/>
                <a:gd name="T54" fmla="*/ 48 w 301"/>
                <a:gd name="T55" fmla="*/ 30 h 270"/>
                <a:gd name="T56" fmla="*/ 48 w 301"/>
                <a:gd name="T57" fmla="*/ 29 h 270"/>
                <a:gd name="T58" fmla="*/ 47 w 301"/>
                <a:gd name="T59" fmla="*/ 29 h 270"/>
                <a:gd name="T60" fmla="*/ 46 w 301"/>
                <a:gd name="T61" fmla="*/ 28 h 270"/>
                <a:gd name="T62" fmla="*/ 45 w 301"/>
                <a:gd name="T63" fmla="*/ 26 h 270"/>
                <a:gd name="T64" fmla="*/ 43 w 301"/>
                <a:gd name="T65" fmla="*/ 26 h 270"/>
                <a:gd name="T66" fmla="*/ 43 w 301"/>
                <a:gd name="T67" fmla="*/ 25 h 270"/>
                <a:gd name="T68" fmla="*/ 41 w 301"/>
                <a:gd name="T69" fmla="*/ 25 h 270"/>
                <a:gd name="T70" fmla="*/ 40 w 301"/>
                <a:gd name="T71" fmla="*/ 24 h 270"/>
                <a:gd name="T72" fmla="*/ 37 w 301"/>
                <a:gd name="T73" fmla="*/ 21 h 270"/>
                <a:gd name="T74" fmla="*/ 35 w 301"/>
                <a:gd name="T75" fmla="*/ 21 h 270"/>
                <a:gd name="T76" fmla="*/ 33 w 301"/>
                <a:gd name="T77" fmla="*/ 20 h 270"/>
                <a:gd name="T78" fmla="*/ 32 w 301"/>
                <a:gd name="T79" fmla="*/ 19 h 270"/>
                <a:gd name="T80" fmla="*/ 30 w 301"/>
                <a:gd name="T81" fmla="*/ 18 h 270"/>
                <a:gd name="T82" fmla="*/ 30 w 301"/>
                <a:gd name="T83" fmla="*/ 19 h 270"/>
                <a:gd name="T84" fmla="*/ 28 w 301"/>
                <a:gd name="T85" fmla="*/ 17 h 270"/>
                <a:gd name="T86" fmla="*/ 27 w 301"/>
                <a:gd name="T87" fmla="*/ 17 h 270"/>
                <a:gd name="T88" fmla="*/ 28 w 301"/>
                <a:gd name="T89" fmla="*/ 16 h 270"/>
                <a:gd name="T90" fmla="*/ 27 w 301"/>
                <a:gd name="T91" fmla="*/ 16 h 270"/>
                <a:gd name="T92" fmla="*/ 25 w 301"/>
                <a:gd name="T93" fmla="*/ 16 h 270"/>
                <a:gd name="T94" fmla="*/ 26 w 301"/>
                <a:gd name="T95" fmla="*/ 17 h 270"/>
                <a:gd name="T96" fmla="*/ 25 w 301"/>
                <a:gd name="T97" fmla="*/ 17 h 270"/>
                <a:gd name="T98" fmla="*/ 24 w 301"/>
                <a:gd name="T99" fmla="*/ 17 h 270"/>
                <a:gd name="T100" fmla="*/ 24 w 301"/>
                <a:gd name="T101" fmla="*/ 16 h 270"/>
                <a:gd name="T102" fmla="*/ 24 w 301"/>
                <a:gd name="T103" fmla="*/ 15 h 270"/>
                <a:gd name="T104" fmla="*/ 22 w 301"/>
                <a:gd name="T105" fmla="*/ 15 h 270"/>
                <a:gd name="T106" fmla="*/ 22 w 301"/>
                <a:gd name="T107" fmla="*/ 14 h 270"/>
                <a:gd name="T108" fmla="*/ 21 w 301"/>
                <a:gd name="T109" fmla="*/ 12 h 270"/>
                <a:gd name="T110" fmla="*/ 16 w 301"/>
                <a:gd name="T111" fmla="*/ 0 h 27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01"/>
                <a:gd name="T169" fmla="*/ 0 h 270"/>
                <a:gd name="T170" fmla="*/ 301 w 301"/>
                <a:gd name="T171" fmla="*/ 270 h 27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01" h="270">
                  <a:moveTo>
                    <a:pt x="91" y="0"/>
                  </a:moveTo>
                  <a:lnTo>
                    <a:pt x="83" y="20"/>
                  </a:lnTo>
                  <a:lnTo>
                    <a:pt x="48" y="35"/>
                  </a:lnTo>
                  <a:lnTo>
                    <a:pt x="44" y="41"/>
                  </a:lnTo>
                  <a:lnTo>
                    <a:pt x="37" y="46"/>
                  </a:lnTo>
                  <a:lnTo>
                    <a:pt x="26" y="47"/>
                  </a:lnTo>
                  <a:lnTo>
                    <a:pt x="0" y="167"/>
                  </a:lnTo>
                  <a:lnTo>
                    <a:pt x="2" y="180"/>
                  </a:lnTo>
                  <a:lnTo>
                    <a:pt x="4" y="181"/>
                  </a:lnTo>
                  <a:lnTo>
                    <a:pt x="15" y="181"/>
                  </a:lnTo>
                  <a:lnTo>
                    <a:pt x="19" y="183"/>
                  </a:lnTo>
                  <a:lnTo>
                    <a:pt x="23" y="183"/>
                  </a:lnTo>
                  <a:lnTo>
                    <a:pt x="25" y="180"/>
                  </a:lnTo>
                  <a:lnTo>
                    <a:pt x="26" y="178"/>
                  </a:lnTo>
                  <a:lnTo>
                    <a:pt x="28" y="174"/>
                  </a:lnTo>
                  <a:lnTo>
                    <a:pt x="34" y="174"/>
                  </a:lnTo>
                  <a:lnTo>
                    <a:pt x="38" y="179"/>
                  </a:lnTo>
                  <a:lnTo>
                    <a:pt x="39" y="182"/>
                  </a:lnTo>
                  <a:lnTo>
                    <a:pt x="46" y="191"/>
                  </a:lnTo>
                  <a:lnTo>
                    <a:pt x="62" y="155"/>
                  </a:lnTo>
                  <a:lnTo>
                    <a:pt x="71" y="163"/>
                  </a:lnTo>
                  <a:lnTo>
                    <a:pt x="76" y="163"/>
                  </a:lnTo>
                  <a:lnTo>
                    <a:pt x="78" y="164"/>
                  </a:lnTo>
                  <a:lnTo>
                    <a:pt x="79" y="166"/>
                  </a:lnTo>
                  <a:lnTo>
                    <a:pt x="85" y="175"/>
                  </a:lnTo>
                  <a:lnTo>
                    <a:pt x="93" y="175"/>
                  </a:lnTo>
                  <a:lnTo>
                    <a:pt x="96" y="174"/>
                  </a:lnTo>
                  <a:lnTo>
                    <a:pt x="108" y="172"/>
                  </a:lnTo>
                  <a:lnTo>
                    <a:pt x="112" y="169"/>
                  </a:lnTo>
                  <a:lnTo>
                    <a:pt x="112" y="165"/>
                  </a:lnTo>
                  <a:lnTo>
                    <a:pt x="116" y="165"/>
                  </a:lnTo>
                  <a:lnTo>
                    <a:pt x="121" y="169"/>
                  </a:lnTo>
                  <a:lnTo>
                    <a:pt x="123" y="174"/>
                  </a:lnTo>
                  <a:lnTo>
                    <a:pt x="125" y="174"/>
                  </a:lnTo>
                  <a:lnTo>
                    <a:pt x="126" y="173"/>
                  </a:lnTo>
                  <a:lnTo>
                    <a:pt x="132" y="172"/>
                  </a:lnTo>
                  <a:lnTo>
                    <a:pt x="136" y="169"/>
                  </a:lnTo>
                  <a:lnTo>
                    <a:pt x="139" y="169"/>
                  </a:lnTo>
                  <a:lnTo>
                    <a:pt x="143" y="172"/>
                  </a:lnTo>
                  <a:lnTo>
                    <a:pt x="152" y="172"/>
                  </a:lnTo>
                  <a:lnTo>
                    <a:pt x="153" y="175"/>
                  </a:lnTo>
                  <a:lnTo>
                    <a:pt x="156" y="175"/>
                  </a:lnTo>
                  <a:lnTo>
                    <a:pt x="158" y="174"/>
                  </a:lnTo>
                  <a:lnTo>
                    <a:pt x="168" y="173"/>
                  </a:lnTo>
                  <a:lnTo>
                    <a:pt x="187" y="187"/>
                  </a:lnTo>
                  <a:lnTo>
                    <a:pt x="193" y="188"/>
                  </a:lnTo>
                  <a:lnTo>
                    <a:pt x="213" y="213"/>
                  </a:lnTo>
                  <a:lnTo>
                    <a:pt x="238" y="231"/>
                  </a:lnTo>
                  <a:lnTo>
                    <a:pt x="249" y="249"/>
                  </a:lnTo>
                  <a:lnTo>
                    <a:pt x="261" y="258"/>
                  </a:lnTo>
                  <a:lnTo>
                    <a:pt x="270" y="270"/>
                  </a:lnTo>
                  <a:lnTo>
                    <a:pt x="274" y="265"/>
                  </a:lnTo>
                  <a:lnTo>
                    <a:pt x="301" y="249"/>
                  </a:lnTo>
                  <a:lnTo>
                    <a:pt x="297" y="245"/>
                  </a:lnTo>
                  <a:lnTo>
                    <a:pt x="292" y="247"/>
                  </a:lnTo>
                  <a:lnTo>
                    <a:pt x="288" y="244"/>
                  </a:lnTo>
                  <a:lnTo>
                    <a:pt x="286" y="241"/>
                  </a:lnTo>
                  <a:lnTo>
                    <a:pt x="284" y="236"/>
                  </a:lnTo>
                  <a:lnTo>
                    <a:pt x="283" y="235"/>
                  </a:lnTo>
                  <a:lnTo>
                    <a:pt x="275" y="234"/>
                  </a:lnTo>
                  <a:lnTo>
                    <a:pt x="272" y="232"/>
                  </a:lnTo>
                  <a:lnTo>
                    <a:pt x="268" y="221"/>
                  </a:lnTo>
                  <a:lnTo>
                    <a:pt x="265" y="217"/>
                  </a:lnTo>
                  <a:lnTo>
                    <a:pt x="264" y="214"/>
                  </a:lnTo>
                  <a:lnTo>
                    <a:pt x="260" y="213"/>
                  </a:lnTo>
                  <a:lnTo>
                    <a:pt x="256" y="211"/>
                  </a:lnTo>
                  <a:lnTo>
                    <a:pt x="252" y="202"/>
                  </a:lnTo>
                  <a:lnTo>
                    <a:pt x="251" y="201"/>
                  </a:lnTo>
                  <a:lnTo>
                    <a:pt x="246" y="202"/>
                  </a:lnTo>
                  <a:lnTo>
                    <a:pt x="243" y="200"/>
                  </a:lnTo>
                  <a:lnTo>
                    <a:pt x="241" y="200"/>
                  </a:lnTo>
                  <a:lnTo>
                    <a:pt x="239" y="198"/>
                  </a:lnTo>
                  <a:lnTo>
                    <a:pt x="238" y="194"/>
                  </a:lnTo>
                  <a:lnTo>
                    <a:pt x="220" y="168"/>
                  </a:lnTo>
                  <a:lnTo>
                    <a:pt x="213" y="164"/>
                  </a:lnTo>
                  <a:lnTo>
                    <a:pt x="205" y="164"/>
                  </a:lnTo>
                  <a:lnTo>
                    <a:pt x="200" y="161"/>
                  </a:lnTo>
                  <a:lnTo>
                    <a:pt x="197" y="161"/>
                  </a:lnTo>
                  <a:lnTo>
                    <a:pt x="194" y="158"/>
                  </a:lnTo>
                  <a:lnTo>
                    <a:pt x="191" y="151"/>
                  </a:lnTo>
                  <a:lnTo>
                    <a:pt x="184" y="148"/>
                  </a:lnTo>
                  <a:lnTo>
                    <a:pt x="179" y="147"/>
                  </a:lnTo>
                  <a:lnTo>
                    <a:pt x="176" y="150"/>
                  </a:lnTo>
                  <a:lnTo>
                    <a:pt x="174" y="151"/>
                  </a:lnTo>
                  <a:lnTo>
                    <a:pt x="171" y="150"/>
                  </a:lnTo>
                  <a:lnTo>
                    <a:pt x="166" y="142"/>
                  </a:lnTo>
                  <a:lnTo>
                    <a:pt x="163" y="138"/>
                  </a:lnTo>
                  <a:lnTo>
                    <a:pt x="162" y="135"/>
                  </a:lnTo>
                  <a:lnTo>
                    <a:pt x="164" y="132"/>
                  </a:lnTo>
                  <a:lnTo>
                    <a:pt x="163" y="129"/>
                  </a:lnTo>
                  <a:lnTo>
                    <a:pt x="160" y="128"/>
                  </a:lnTo>
                  <a:lnTo>
                    <a:pt x="157" y="125"/>
                  </a:lnTo>
                  <a:lnTo>
                    <a:pt x="153" y="126"/>
                  </a:lnTo>
                  <a:lnTo>
                    <a:pt x="152" y="128"/>
                  </a:lnTo>
                  <a:lnTo>
                    <a:pt x="152" y="132"/>
                  </a:lnTo>
                  <a:lnTo>
                    <a:pt x="155" y="135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46" y="139"/>
                  </a:lnTo>
                  <a:lnTo>
                    <a:pt x="146" y="136"/>
                  </a:lnTo>
                  <a:lnTo>
                    <a:pt x="146" y="133"/>
                  </a:lnTo>
                  <a:lnTo>
                    <a:pt x="144" y="130"/>
                  </a:lnTo>
                  <a:lnTo>
                    <a:pt x="142" y="121"/>
                  </a:lnTo>
                  <a:lnTo>
                    <a:pt x="141" y="119"/>
                  </a:lnTo>
                  <a:lnTo>
                    <a:pt x="137" y="119"/>
                  </a:lnTo>
                  <a:lnTo>
                    <a:pt x="135" y="117"/>
                  </a:lnTo>
                  <a:lnTo>
                    <a:pt x="135" y="115"/>
                  </a:lnTo>
                  <a:lnTo>
                    <a:pt x="133" y="113"/>
                  </a:lnTo>
                  <a:lnTo>
                    <a:pt x="133" y="108"/>
                  </a:lnTo>
                  <a:lnTo>
                    <a:pt x="125" y="100"/>
                  </a:lnTo>
                  <a:lnTo>
                    <a:pt x="108" y="26"/>
                  </a:lnTo>
                  <a:lnTo>
                    <a:pt x="94" y="0"/>
                  </a:lnTo>
                  <a:lnTo>
                    <a:pt x="9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1" name="Freeform 78"/>
            <p:cNvSpPr>
              <a:spLocks/>
            </p:cNvSpPr>
            <p:nvPr/>
          </p:nvSpPr>
          <p:spPr bwMode="auto">
            <a:xfrm>
              <a:off x="4867990" y="3291872"/>
              <a:ext cx="93427" cy="96479"/>
            </a:xfrm>
            <a:custGeom>
              <a:avLst/>
              <a:gdLst>
                <a:gd name="T0" fmla="*/ 12 w 78"/>
                <a:gd name="T1" fmla="*/ 1 h 96"/>
                <a:gd name="T2" fmla="*/ 11 w 78"/>
                <a:gd name="T3" fmla="*/ 1 h 96"/>
                <a:gd name="T4" fmla="*/ 11 w 78"/>
                <a:gd name="T5" fmla="*/ 1 h 96"/>
                <a:gd name="T6" fmla="*/ 11 w 78"/>
                <a:gd name="T7" fmla="*/ 0 h 96"/>
                <a:gd name="T8" fmla="*/ 10 w 78"/>
                <a:gd name="T9" fmla="*/ 0 h 96"/>
                <a:gd name="T10" fmla="*/ 8 w 78"/>
                <a:gd name="T11" fmla="*/ 1 h 96"/>
                <a:gd name="T12" fmla="*/ 6 w 78"/>
                <a:gd name="T13" fmla="*/ 1 h 96"/>
                <a:gd name="T14" fmla="*/ 6 w 78"/>
                <a:gd name="T15" fmla="*/ 1 h 96"/>
                <a:gd name="T16" fmla="*/ 6 w 78"/>
                <a:gd name="T17" fmla="*/ 1 h 96"/>
                <a:gd name="T18" fmla="*/ 6 w 78"/>
                <a:gd name="T19" fmla="*/ 2 h 96"/>
                <a:gd name="T20" fmla="*/ 6 w 78"/>
                <a:gd name="T21" fmla="*/ 2 h 96"/>
                <a:gd name="T22" fmla="*/ 5 w 78"/>
                <a:gd name="T23" fmla="*/ 2 h 96"/>
                <a:gd name="T24" fmla="*/ 4 w 78"/>
                <a:gd name="T25" fmla="*/ 3 h 96"/>
                <a:gd name="T26" fmla="*/ 3 w 78"/>
                <a:gd name="T27" fmla="*/ 3 h 96"/>
                <a:gd name="T28" fmla="*/ 3 w 78"/>
                <a:gd name="T29" fmla="*/ 3 h 96"/>
                <a:gd name="T30" fmla="*/ 2 w 78"/>
                <a:gd name="T31" fmla="*/ 1 h 96"/>
                <a:gd name="T32" fmla="*/ 2 w 78"/>
                <a:gd name="T33" fmla="*/ 1 h 96"/>
                <a:gd name="T34" fmla="*/ 1 w 78"/>
                <a:gd name="T35" fmla="*/ 1 h 96"/>
                <a:gd name="T36" fmla="*/ 1 w 78"/>
                <a:gd name="T37" fmla="*/ 2 h 96"/>
                <a:gd name="T38" fmla="*/ 1 w 78"/>
                <a:gd name="T39" fmla="*/ 2 h 96"/>
                <a:gd name="T40" fmla="*/ 0 w 78"/>
                <a:gd name="T41" fmla="*/ 2 h 96"/>
                <a:gd name="T42" fmla="*/ 1 w 78"/>
                <a:gd name="T43" fmla="*/ 4 h 96"/>
                <a:gd name="T44" fmla="*/ 1 w 78"/>
                <a:gd name="T45" fmla="*/ 6 h 96"/>
                <a:gd name="T46" fmla="*/ 2 w 78"/>
                <a:gd name="T47" fmla="*/ 7 h 96"/>
                <a:gd name="T48" fmla="*/ 3 w 78"/>
                <a:gd name="T49" fmla="*/ 11 h 96"/>
                <a:gd name="T50" fmla="*/ 4 w 78"/>
                <a:gd name="T51" fmla="*/ 12 h 96"/>
                <a:gd name="T52" fmla="*/ 5 w 78"/>
                <a:gd name="T53" fmla="*/ 12 h 96"/>
                <a:gd name="T54" fmla="*/ 8 w 78"/>
                <a:gd name="T55" fmla="*/ 11 h 96"/>
                <a:gd name="T56" fmla="*/ 13 w 78"/>
                <a:gd name="T57" fmla="*/ 5 h 96"/>
                <a:gd name="T58" fmla="*/ 13 w 78"/>
                <a:gd name="T59" fmla="*/ 4 h 96"/>
                <a:gd name="T60" fmla="*/ 12 w 78"/>
                <a:gd name="T61" fmla="*/ 4 h 96"/>
                <a:gd name="T62" fmla="*/ 12 w 78"/>
                <a:gd name="T63" fmla="*/ 3 h 96"/>
                <a:gd name="T64" fmla="*/ 11 w 78"/>
                <a:gd name="T65" fmla="*/ 3 h 96"/>
                <a:gd name="T66" fmla="*/ 11 w 78"/>
                <a:gd name="T67" fmla="*/ 3 h 96"/>
                <a:gd name="T68" fmla="*/ 11 w 78"/>
                <a:gd name="T69" fmla="*/ 2 h 96"/>
                <a:gd name="T70" fmla="*/ 11 w 78"/>
                <a:gd name="T71" fmla="*/ 1 h 96"/>
                <a:gd name="T72" fmla="*/ 12 w 78"/>
                <a:gd name="T73" fmla="*/ 1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8"/>
                <a:gd name="T112" fmla="*/ 0 h 96"/>
                <a:gd name="T113" fmla="*/ 78 w 7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8" h="96">
                  <a:moveTo>
                    <a:pt x="70" y="4"/>
                  </a:moveTo>
                  <a:lnTo>
                    <a:pt x="68" y="1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9" y="4"/>
                  </a:lnTo>
                  <a:lnTo>
                    <a:pt x="41" y="3"/>
                  </a:lnTo>
                  <a:lnTo>
                    <a:pt x="39" y="5"/>
                  </a:lnTo>
                  <a:lnTo>
                    <a:pt x="38" y="7"/>
                  </a:lnTo>
                  <a:lnTo>
                    <a:pt x="38" y="14"/>
                  </a:lnTo>
                  <a:lnTo>
                    <a:pt x="35" y="19"/>
                  </a:lnTo>
                  <a:lnTo>
                    <a:pt x="28" y="19"/>
                  </a:lnTo>
                  <a:lnTo>
                    <a:pt x="24" y="21"/>
                  </a:lnTo>
                  <a:lnTo>
                    <a:pt x="19" y="22"/>
                  </a:lnTo>
                  <a:lnTo>
                    <a:pt x="17" y="21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6" y="8"/>
                  </a:lnTo>
                  <a:lnTo>
                    <a:pt x="2" y="1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8" y="29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16" y="84"/>
                  </a:lnTo>
                  <a:lnTo>
                    <a:pt x="25" y="96"/>
                  </a:lnTo>
                  <a:lnTo>
                    <a:pt x="27" y="94"/>
                  </a:lnTo>
                  <a:lnTo>
                    <a:pt x="48" y="88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6" y="29"/>
                  </a:lnTo>
                  <a:lnTo>
                    <a:pt x="73" y="26"/>
                  </a:lnTo>
                  <a:lnTo>
                    <a:pt x="68" y="25"/>
                  </a:lnTo>
                  <a:lnTo>
                    <a:pt x="64" y="22"/>
                  </a:lnTo>
                  <a:lnTo>
                    <a:pt x="64" y="14"/>
                  </a:lnTo>
                  <a:lnTo>
                    <a:pt x="65" y="8"/>
                  </a:lnTo>
                  <a:lnTo>
                    <a:pt x="70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2" name="Freeform 79"/>
            <p:cNvSpPr>
              <a:spLocks/>
            </p:cNvSpPr>
            <p:nvPr/>
          </p:nvSpPr>
          <p:spPr bwMode="auto">
            <a:xfrm>
              <a:off x="4867990" y="3291872"/>
              <a:ext cx="93427" cy="96479"/>
            </a:xfrm>
            <a:custGeom>
              <a:avLst/>
              <a:gdLst>
                <a:gd name="T0" fmla="*/ 12 w 78"/>
                <a:gd name="T1" fmla="*/ 1 h 96"/>
                <a:gd name="T2" fmla="*/ 11 w 78"/>
                <a:gd name="T3" fmla="*/ 1 h 96"/>
                <a:gd name="T4" fmla="*/ 11 w 78"/>
                <a:gd name="T5" fmla="*/ 1 h 96"/>
                <a:gd name="T6" fmla="*/ 11 w 78"/>
                <a:gd name="T7" fmla="*/ 0 h 96"/>
                <a:gd name="T8" fmla="*/ 10 w 78"/>
                <a:gd name="T9" fmla="*/ 0 h 96"/>
                <a:gd name="T10" fmla="*/ 8 w 78"/>
                <a:gd name="T11" fmla="*/ 1 h 96"/>
                <a:gd name="T12" fmla="*/ 6 w 78"/>
                <a:gd name="T13" fmla="*/ 1 h 96"/>
                <a:gd name="T14" fmla="*/ 6 w 78"/>
                <a:gd name="T15" fmla="*/ 1 h 96"/>
                <a:gd name="T16" fmla="*/ 6 w 78"/>
                <a:gd name="T17" fmla="*/ 1 h 96"/>
                <a:gd name="T18" fmla="*/ 6 w 78"/>
                <a:gd name="T19" fmla="*/ 2 h 96"/>
                <a:gd name="T20" fmla="*/ 6 w 78"/>
                <a:gd name="T21" fmla="*/ 2 h 96"/>
                <a:gd name="T22" fmla="*/ 5 w 78"/>
                <a:gd name="T23" fmla="*/ 2 h 96"/>
                <a:gd name="T24" fmla="*/ 4 w 78"/>
                <a:gd name="T25" fmla="*/ 3 h 96"/>
                <a:gd name="T26" fmla="*/ 3 w 78"/>
                <a:gd name="T27" fmla="*/ 3 h 96"/>
                <a:gd name="T28" fmla="*/ 3 w 78"/>
                <a:gd name="T29" fmla="*/ 3 h 96"/>
                <a:gd name="T30" fmla="*/ 2 w 78"/>
                <a:gd name="T31" fmla="*/ 1 h 96"/>
                <a:gd name="T32" fmla="*/ 2 w 78"/>
                <a:gd name="T33" fmla="*/ 1 h 96"/>
                <a:gd name="T34" fmla="*/ 1 w 78"/>
                <a:gd name="T35" fmla="*/ 1 h 96"/>
                <a:gd name="T36" fmla="*/ 1 w 78"/>
                <a:gd name="T37" fmla="*/ 2 h 96"/>
                <a:gd name="T38" fmla="*/ 1 w 78"/>
                <a:gd name="T39" fmla="*/ 2 h 96"/>
                <a:gd name="T40" fmla="*/ 0 w 78"/>
                <a:gd name="T41" fmla="*/ 2 h 96"/>
                <a:gd name="T42" fmla="*/ 1 w 78"/>
                <a:gd name="T43" fmla="*/ 4 h 96"/>
                <a:gd name="T44" fmla="*/ 1 w 78"/>
                <a:gd name="T45" fmla="*/ 6 h 96"/>
                <a:gd name="T46" fmla="*/ 2 w 78"/>
                <a:gd name="T47" fmla="*/ 7 h 96"/>
                <a:gd name="T48" fmla="*/ 3 w 78"/>
                <a:gd name="T49" fmla="*/ 11 h 96"/>
                <a:gd name="T50" fmla="*/ 4 w 78"/>
                <a:gd name="T51" fmla="*/ 12 h 96"/>
                <a:gd name="T52" fmla="*/ 5 w 78"/>
                <a:gd name="T53" fmla="*/ 12 h 96"/>
                <a:gd name="T54" fmla="*/ 8 w 78"/>
                <a:gd name="T55" fmla="*/ 11 h 96"/>
                <a:gd name="T56" fmla="*/ 13 w 78"/>
                <a:gd name="T57" fmla="*/ 5 h 96"/>
                <a:gd name="T58" fmla="*/ 13 w 78"/>
                <a:gd name="T59" fmla="*/ 4 h 96"/>
                <a:gd name="T60" fmla="*/ 12 w 78"/>
                <a:gd name="T61" fmla="*/ 4 h 96"/>
                <a:gd name="T62" fmla="*/ 12 w 78"/>
                <a:gd name="T63" fmla="*/ 3 h 96"/>
                <a:gd name="T64" fmla="*/ 11 w 78"/>
                <a:gd name="T65" fmla="*/ 3 h 96"/>
                <a:gd name="T66" fmla="*/ 11 w 78"/>
                <a:gd name="T67" fmla="*/ 3 h 96"/>
                <a:gd name="T68" fmla="*/ 11 w 78"/>
                <a:gd name="T69" fmla="*/ 2 h 96"/>
                <a:gd name="T70" fmla="*/ 11 w 78"/>
                <a:gd name="T71" fmla="*/ 1 h 96"/>
                <a:gd name="T72" fmla="*/ 12 w 78"/>
                <a:gd name="T73" fmla="*/ 1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8"/>
                <a:gd name="T112" fmla="*/ 0 h 96"/>
                <a:gd name="T113" fmla="*/ 78 w 7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8" h="96">
                  <a:moveTo>
                    <a:pt x="70" y="4"/>
                  </a:moveTo>
                  <a:lnTo>
                    <a:pt x="68" y="1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9" y="4"/>
                  </a:lnTo>
                  <a:lnTo>
                    <a:pt x="41" y="3"/>
                  </a:lnTo>
                  <a:lnTo>
                    <a:pt x="39" y="5"/>
                  </a:lnTo>
                  <a:lnTo>
                    <a:pt x="38" y="7"/>
                  </a:lnTo>
                  <a:lnTo>
                    <a:pt x="38" y="14"/>
                  </a:lnTo>
                  <a:lnTo>
                    <a:pt x="35" y="19"/>
                  </a:lnTo>
                  <a:lnTo>
                    <a:pt x="28" y="19"/>
                  </a:lnTo>
                  <a:lnTo>
                    <a:pt x="24" y="21"/>
                  </a:lnTo>
                  <a:lnTo>
                    <a:pt x="19" y="22"/>
                  </a:lnTo>
                  <a:lnTo>
                    <a:pt x="17" y="21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6" y="8"/>
                  </a:lnTo>
                  <a:lnTo>
                    <a:pt x="2" y="1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8" y="29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16" y="84"/>
                  </a:lnTo>
                  <a:lnTo>
                    <a:pt x="25" y="96"/>
                  </a:lnTo>
                  <a:lnTo>
                    <a:pt x="27" y="94"/>
                  </a:lnTo>
                  <a:lnTo>
                    <a:pt x="48" y="88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6" y="29"/>
                  </a:lnTo>
                  <a:lnTo>
                    <a:pt x="73" y="26"/>
                  </a:lnTo>
                  <a:lnTo>
                    <a:pt x="68" y="25"/>
                  </a:lnTo>
                  <a:lnTo>
                    <a:pt x="64" y="22"/>
                  </a:lnTo>
                  <a:lnTo>
                    <a:pt x="64" y="14"/>
                  </a:lnTo>
                  <a:lnTo>
                    <a:pt x="65" y="8"/>
                  </a:lnTo>
                  <a:lnTo>
                    <a:pt x="70" y="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3" name="Freeform 80"/>
            <p:cNvSpPr>
              <a:spLocks/>
            </p:cNvSpPr>
            <p:nvPr/>
          </p:nvSpPr>
          <p:spPr bwMode="auto">
            <a:xfrm>
              <a:off x="5067030" y="3616560"/>
              <a:ext cx="174667" cy="358085"/>
            </a:xfrm>
            <a:custGeom>
              <a:avLst/>
              <a:gdLst>
                <a:gd name="T0" fmla="*/ 8 w 145"/>
                <a:gd name="T1" fmla="*/ 1 h 359"/>
                <a:gd name="T2" fmla="*/ 7 w 145"/>
                <a:gd name="T3" fmla="*/ 1 h 359"/>
                <a:gd name="T4" fmla="*/ 5 w 145"/>
                <a:gd name="T5" fmla="*/ 1 h 359"/>
                <a:gd name="T6" fmla="*/ 3 w 145"/>
                <a:gd name="T7" fmla="*/ 1 h 359"/>
                <a:gd name="T8" fmla="*/ 1 w 145"/>
                <a:gd name="T9" fmla="*/ 1 h 359"/>
                <a:gd name="T10" fmla="*/ 2 w 145"/>
                <a:gd name="T11" fmla="*/ 1 h 359"/>
                <a:gd name="T12" fmla="*/ 3 w 145"/>
                <a:gd name="T13" fmla="*/ 2 h 359"/>
                <a:gd name="T14" fmla="*/ 5 w 145"/>
                <a:gd name="T15" fmla="*/ 4 h 359"/>
                <a:gd name="T16" fmla="*/ 7 w 145"/>
                <a:gd name="T17" fmla="*/ 6 h 359"/>
                <a:gd name="T18" fmla="*/ 7 w 145"/>
                <a:gd name="T19" fmla="*/ 7 h 359"/>
                <a:gd name="T20" fmla="*/ 6 w 145"/>
                <a:gd name="T21" fmla="*/ 8 h 359"/>
                <a:gd name="T22" fmla="*/ 5 w 145"/>
                <a:gd name="T23" fmla="*/ 9 h 359"/>
                <a:gd name="T24" fmla="*/ 4 w 145"/>
                <a:gd name="T25" fmla="*/ 12 h 359"/>
                <a:gd name="T26" fmla="*/ 5 w 145"/>
                <a:gd name="T27" fmla="*/ 17 h 359"/>
                <a:gd name="T28" fmla="*/ 5 w 145"/>
                <a:gd name="T29" fmla="*/ 17 h 359"/>
                <a:gd name="T30" fmla="*/ 4 w 145"/>
                <a:gd name="T31" fmla="*/ 18 h 359"/>
                <a:gd name="T32" fmla="*/ 2 w 145"/>
                <a:gd name="T33" fmla="*/ 18 h 359"/>
                <a:gd name="T34" fmla="*/ 1 w 145"/>
                <a:gd name="T35" fmla="*/ 23 h 359"/>
                <a:gd name="T36" fmla="*/ 0 w 145"/>
                <a:gd name="T37" fmla="*/ 24 h 359"/>
                <a:gd name="T38" fmla="*/ 1 w 145"/>
                <a:gd name="T39" fmla="*/ 25 h 359"/>
                <a:gd name="T40" fmla="*/ 2 w 145"/>
                <a:gd name="T41" fmla="*/ 26 h 359"/>
                <a:gd name="T42" fmla="*/ 3 w 145"/>
                <a:gd name="T43" fmla="*/ 26 h 359"/>
                <a:gd name="T44" fmla="*/ 5 w 145"/>
                <a:gd name="T45" fmla="*/ 28 h 359"/>
                <a:gd name="T46" fmla="*/ 7 w 145"/>
                <a:gd name="T47" fmla="*/ 30 h 359"/>
                <a:gd name="T48" fmla="*/ 13 w 145"/>
                <a:gd name="T49" fmla="*/ 28 h 359"/>
                <a:gd name="T50" fmla="*/ 14 w 145"/>
                <a:gd name="T51" fmla="*/ 33 h 359"/>
                <a:gd name="T52" fmla="*/ 13 w 145"/>
                <a:gd name="T53" fmla="*/ 35 h 359"/>
                <a:gd name="T54" fmla="*/ 12 w 145"/>
                <a:gd name="T55" fmla="*/ 36 h 359"/>
                <a:gd name="T56" fmla="*/ 12 w 145"/>
                <a:gd name="T57" fmla="*/ 38 h 359"/>
                <a:gd name="T58" fmla="*/ 14 w 145"/>
                <a:gd name="T59" fmla="*/ 39 h 359"/>
                <a:gd name="T60" fmla="*/ 17 w 145"/>
                <a:gd name="T61" fmla="*/ 41 h 359"/>
                <a:gd name="T62" fmla="*/ 18 w 145"/>
                <a:gd name="T63" fmla="*/ 42 h 359"/>
                <a:gd name="T64" fmla="*/ 18 w 145"/>
                <a:gd name="T65" fmla="*/ 44 h 359"/>
                <a:gd name="T66" fmla="*/ 20 w 145"/>
                <a:gd name="T67" fmla="*/ 44 h 359"/>
                <a:gd name="T68" fmla="*/ 20 w 145"/>
                <a:gd name="T69" fmla="*/ 42 h 359"/>
                <a:gd name="T70" fmla="*/ 19 w 145"/>
                <a:gd name="T71" fmla="*/ 41 h 359"/>
                <a:gd name="T72" fmla="*/ 20 w 145"/>
                <a:gd name="T73" fmla="*/ 40 h 359"/>
                <a:gd name="T74" fmla="*/ 20 w 145"/>
                <a:gd name="T75" fmla="*/ 39 h 359"/>
                <a:gd name="T76" fmla="*/ 24 w 145"/>
                <a:gd name="T77" fmla="*/ 37 h 359"/>
                <a:gd name="T78" fmla="*/ 24 w 145"/>
                <a:gd name="T79" fmla="*/ 34 h 359"/>
                <a:gd name="T80" fmla="*/ 25 w 145"/>
                <a:gd name="T81" fmla="*/ 31 h 359"/>
                <a:gd name="T82" fmla="*/ 17 w 145"/>
                <a:gd name="T83" fmla="*/ 24 h 359"/>
                <a:gd name="T84" fmla="*/ 16 w 145"/>
                <a:gd name="T85" fmla="*/ 24 h 359"/>
                <a:gd name="T86" fmla="*/ 17 w 145"/>
                <a:gd name="T87" fmla="*/ 25 h 359"/>
                <a:gd name="T88" fmla="*/ 19 w 145"/>
                <a:gd name="T89" fmla="*/ 28 h 359"/>
                <a:gd name="T90" fmla="*/ 18 w 145"/>
                <a:gd name="T91" fmla="*/ 28 h 359"/>
                <a:gd name="T92" fmla="*/ 18 w 145"/>
                <a:gd name="T93" fmla="*/ 27 h 359"/>
                <a:gd name="T94" fmla="*/ 17 w 145"/>
                <a:gd name="T95" fmla="*/ 26 h 359"/>
                <a:gd name="T96" fmla="*/ 16 w 145"/>
                <a:gd name="T97" fmla="*/ 26 h 359"/>
                <a:gd name="T98" fmla="*/ 15 w 145"/>
                <a:gd name="T99" fmla="*/ 27 h 359"/>
                <a:gd name="T100" fmla="*/ 14 w 145"/>
                <a:gd name="T101" fmla="*/ 27 h 359"/>
                <a:gd name="T102" fmla="*/ 14 w 145"/>
                <a:gd name="T103" fmla="*/ 26 h 359"/>
                <a:gd name="T104" fmla="*/ 14 w 145"/>
                <a:gd name="T105" fmla="*/ 25 h 359"/>
                <a:gd name="T106" fmla="*/ 12 w 145"/>
                <a:gd name="T107" fmla="*/ 23 h 359"/>
                <a:gd name="T108" fmla="*/ 12 w 145"/>
                <a:gd name="T109" fmla="*/ 21 h 359"/>
                <a:gd name="T110" fmla="*/ 9 w 145"/>
                <a:gd name="T111" fmla="*/ 16 h 359"/>
                <a:gd name="T112" fmla="*/ 12 w 145"/>
                <a:gd name="T113" fmla="*/ 13 h 359"/>
                <a:gd name="T114" fmla="*/ 12 w 145"/>
                <a:gd name="T115" fmla="*/ 6 h 359"/>
                <a:gd name="T116" fmla="*/ 11 w 145"/>
                <a:gd name="T117" fmla="*/ 5 h 359"/>
                <a:gd name="T118" fmla="*/ 9 w 145"/>
                <a:gd name="T119" fmla="*/ 3 h 359"/>
                <a:gd name="T120" fmla="*/ 9 w 145"/>
                <a:gd name="T121" fmla="*/ 1 h 35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5"/>
                <a:gd name="T184" fmla="*/ 0 h 359"/>
                <a:gd name="T185" fmla="*/ 145 w 145"/>
                <a:gd name="T186" fmla="*/ 359 h 35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5" h="359">
                  <a:moveTo>
                    <a:pt x="52" y="14"/>
                  </a:moveTo>
                  <a:lnTo>
                    <a:pt x="49" y="9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34" y="10"/>
                  </a:lnTo>
                  <a:lnTo>
                    <a:pt x="32" y="9"/>
                  </a:lnTo>
                  <a:lnTo>
                    <a:pt x="28" y="5"/>
                  </a:lnTo>
                  <a:lnTo>
                    <a:pt x="20" y="5"/>
                  </a:lnTo>
                  <a:lnTo>
                    <a:pt x="11" y="0"/>
                  </a:lnTo>
                  <a:lnTo>
                    <a:pt x="9" y="1"/>
                  </a:lnTo>
                  <a:lnTo>
                    <a:pt x="9" y="5"/>
                  </a:lnTo>
                  <a:lnTo>
                    <a:pt x="11" y="7"/>
                  </a:lnTo>
                  <a:lnTo>
                    <a:pt x="12" y="11"/>
                  </a:lnTo>
                  <a:lnTo>
                    <a:pt x="20" y="11"/>
                  </a:lnTo>
                  <a:lnTo>
                    <a:pt x="27" y="23"/>
                  </a:lnTo>
                  <a:lnTo>
                    <a:pt x="30" y="32"/>
                  </a:lnTo>
                  <a:lnTo>
                    <a:pt x="35" y="36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2" y="59"/>
                  </a:lnTo>
                  <a:lnTo>
                    <a:pt x="41" y="62"/>
                  </a:lnTo>
                  <a:lnTo>
                    <a:pt x="35" y="66"/>
                  </a:lnTo>
                  <a:lnTo>
                    <a:pt x="33" y="67"/>
                  </a:lnTo>
                  <a:lnTo>
                    <a:pt x="30" y="69"/>
                  </a:lnTo>
                  <a:lnTo>
                    <a:pt x="28" y="85"/>
                  </a:lnTo>
                  <a:lnTo>
                    <a:pt x="23" y="99"/>
                  </a:lnTo>
                  <a:lnTo>
                    <a:pt x="24" y="132"/>
                  </a:lnTo>
                  <a:lnTo>
                    <a:pt x="27" y="135"/>
                  </a:lnTo>
                  <a:lnTo>
                    <a:pt x="32" y="137"/>
                  </a:lnTo>
                  <a:lnTo>
                    <a:pt x="33" y="143"/>
                  </a:lnTo>
                  <a:lnTo>
                    <a:pt x="32" y="145"/>
                  </a:lnTo>
                  <a:lnTo>
                    <a:pt x="23" y="147"/>
                  </a:lnTo>
                  <a:lnTo>
                    <a:pt x="19" y="150"/>
                  </a:lnTo>
                  <a:lnTo>
                    <a:pt x="14" y="152"/>
                  </a:lnTo>
                  <a:lnTo>
                    <a:pt x="13" y="153"/>
                  </a:lnTo>
                  <a:lnTo>
                    <a:pt x="6" y="189"/>
                  </a:lnTo>
                  <a:lnTo>
                    <a:pt x="1" y="195"/>
                  </a:lnTo>
                  <a:lnTo>
                    <a:pt x="0" y="198"/>
                  </a:lnTo>
                  <a:lnTo>
                    <a:pt x="2" y="206"/>
                  </a:lnTo>
                  <a:lnTo>
                    <a:pt x="6" y="208"/>
                  </a:lnTo>
                  <a:lnTo>
                    <a:pt x="8" y="213"/>
                  </a:lnTo>
                  <a:lnTo>
                    <a:pt x="15" y="213"/>
                  </a:lnTo>
                  <a:lnTo>
                    <a:pt x="17" y="214"/>
                  </a:lnTo>
                  <a:lnTo>
                    <a:pt x="19" y="217"/>
                  </a:lnTo>
                  <a:lnTo>
                    <a:pt x="23" y="219"/>
                  </a:lnTo>
                  <a:lnTo>
                    <a:pt x="31" y="232"/>
                  </a:lnTo>
                  <a:lnTo>
                    <a:pt x="39" y="241"/>
                  </a:lnTo>
                  <a:lnTo>
                    <a:pt x="42" y="242"/>
                  </a:lnTo>
                  <a:lnTo>
                    <a:pt x="73" y="235"/>
                  </a:lnTo>
                  <a:lnTo>
                    <a:pt x="76" y="236"/>
                  </a:lnTo>
                  <a:lnTo>
                    <a:pt x="80" y="241"/>
                  </a:lnTo>
                  <a:lnTo>
                    <a:pt x="84" y="274"/>
                  </a:lnTo>
                  <a:lnTo>
                    <a:pt x="82" y="279"/>
                  </a:lnTo>
                  <a:lnTo>
                    <a:pt x="77" y="285"/>
                  </a:lnTo>
                  <a:lnTo>
                    <a:pt x="78" y="291"/>
                  </a:lnTo>
                  <a:lnTo>
                    <a:pt x="73" y="295"/>
                  </a:lnTo>
                  <a:lnTo>
                    <a:pt x="71" y="305"/>
                  </a:lnTo>
                  <a:lnTo>
                    <a:pt x="73" y="308"/>
                  </a:lnTo>
                  <a:lnTo>
                    <a:pt x="77" y="320"/>
                  </a:lnTo>
                  <a:lnTo>
                    <a:pt x="80" y="323"/>
                  </a:lnTo>
                  <a:lnTo>
                    <a:pt x="83" y="325"/>
                  </a:lnTo>
                  <a:lnTo>
                    <a:pt x="97" y="342"/>
                  </a:lnTo>
                  <a:lnTo>
                    <a:pt x="106" y="346"/>
                  </a:lnTo>
                  <a:lnTo>
                    <a:pt x="109" y="350"/>
                  </a:lnTo>
                  <a:lnTo>
                    <a:pt x="109" y="353"/>
                  </a:lnTo>
                  <a:lnTo>
                    <a:pt x="105" y="358"/>
                  </a:lnTo>
                  <a:lnTo>
                    <a:pt x="106" y="359"/>
                  </a:lnTo>
                  <a:lnTo>
                    <a:pt x="116" y="359"/>
                  </a:lnTo>
                  <a:lnTo>
                    <a:pt x="117" y="358"/>
                  </a:lnTo>
                  <a:lnTo>
                    <a:pt x="117" y="345"/>
                  </a:lnTo>
                  <a:lnTo>
                    <a:pt x="115" y="341"/>
                  </a:lnTo>
                  <a:lnTo>
                    <a:pt x="112" y="339"/>
                  </a:lnTo>
                  <a:lnTo>
                    <a:pt x="112" y="334"/>
                  </a:lnTo>
                  <a:lnTo>
                    <a:pt x="115" y="327"/>
                  </a:lnTo>
                  <a:lnTo>
                    <a:pt x="115" y="324"/>
                  </a:lnTo>
                  <a:lnTo>
                    <a:pt x="116" y="320"/>
                  </a:lnTo>
                  <a:lnTo>
                    <a:pt x="137" y="311"/>
                  </a:lnTo>
                  <a:lnTo>
                    <a:pt x="140" y="307"/>
                  </a:lnTo>
                  <a:lnTo>
                    <a:pt x="141" y="289"/>
                  </a:lnTo>
                  <a:lnTo>
                    <a:pt x="143" y="283"/>
                  </a:lnTo>
                  <a:lnTo>
                    <a:pt x="140" y="271"/>
                  </a:lnTo>
                  <a:lnTo>
                    <a:pt x="145" y="256"/>
                  </a:lnTo>
                  <a:lnTo>
                    <a:pt x="142" y="246"/>
                  </a:lnTo>
                  <a:lnTo>
                    <a:pt x="97" y="191"/>
                  </a:lnTo>
                  <a:lnTo>
                    <a:pt x="95" y="192"/>
                  </a:lnTo>
                  <a:lnTo>
                    <a:pt x="95" y="198"/>
                  </a:lnTo>
                  <a:lnTo>
                    <a:pt x="97" y="203"/>
                  </a:lnTo>
                  <a:lnTo>
                    <a:pt x="102" y="206"/>
                  </a:lnTo>
                  <a:lnTo>
                    <a:pt x="104" y="208"/>
                  </a:lnTo>
                  <a:lnTo>
                    <a:pt x="112" y="228"/>
                  </a:lnTo>
                  <a:lnTo>
                    <a:pt x="112" y="233"/>
                  </a:lnTo>
                  <a:lnTo>
                    <a:pt x="111" y="234"/>
                  </a:lnTo>
                  <a:lnTo>
                    <a:pt x="109" y="233"/>
                  </a:lnTo>
                  <a:lnTo>
                    <a:pt x="104" y="226"/>
                  </a:lnTo>
                  <a:lnTo>
                    <a:pt x="100" y="224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1" y="225"/>
                  </a:lnTo>
                  <a:lnTo>
                    <a:pt x="89" y="226"/>
                  </a:lnTo>
                  <a:lnTo>
                    <a:pt x="85" y="226"/>
                  </a:lnTo>
                  <a:lnTo>
                    <a:pt x="83" y="225"/>
                  </a:lnTo>
                  <a:lnTo>
                    <a:pt x="81" y="221"/>
                  </a:lnTo>
                  <a:lnTo>
                    <a:pt x="80" y="214"/>
                  </a:lnTo>
                  <a:lnTo>
                    <a:pt x="82" y="207"/>
                  </a:lnTo>
                  <a:lnTo>
                    <a:pt x="82" y="203"/>
                  </a:lnTo>
                  <a:lnTo>
                    <a:pt x="75" y="195"/>
                  </a:lnTo>
                  <a:lnTo>
                    <a:pt x="71" y="185"/>
                  </a:lnTo>
                  <a:lnTo>
                    <a:pt x="71" y="174"/>
                  </a:lnTo>
                  <a:lnTo>
                    <a:pt x="70" y="174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6" y="128"/>
                  </a:lnTo>
                  <a:lnTo>
                    <a:pt x="68" y="106"/>
                  </a:lnTo>
                  <a:lnTo>
                    <a:pt x="65" y="58"/>
                  </a:lnTo>
                  <a:lnTo>
                    <a:pt x="67" y="52"/>
                  </a:lnTo>
                  <a:lnTo>
                    <a:pt x="67" y="47"/>
                  </a:lnTo>
                  <a:lnTo>
                    <a:pt x="64" y="41"/>
                  </a:lnTo>
                  <a:lnTo>
                    <a:pt x="56" y="37"/>
                  </a:lnTo>
                  <a:lnTo>
                    <a:pt x="51" y="26"/>
                  </a:lnTo>
                  <a:lnTo>
                    <a:pt x="52" y="14"/>
                  </a:lnTo>
                  <a:lnTo>
                    <a:pt x="56" y="8"/>
                  </a:lnTo>
                  <a:lnTo>
                    <a:pt x="52" y="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4" name="Freeform 81"/>
            <p:cNvSpPr>
              <a:spLocks/>
            </p:cNvSpPr>
            <p:nvPr/>
          </p:nvSpPr>
          <p:spPr bwMode="auto">
            <a:xfrm>
              <a:off x="5067030" y="3616560"/>
              <a:ext cx="174667" cy="358085"/>
            </a:xfrm>
            <a:custGeom>
              <a:avLst/>
              <a:gdLst>
                <a:gd name="T0" fmla="*/ 8 w 145"/>
                <a:gd name="T1" fmla="*/ 1 h 359"/>
                <a:gd name="T2" fmla="*/ 7 w 145"/>
                <a:gd name="T3" fmla="*/ 1 h 359"/>
                <a:gd name="T4" fmla="*/ 5 w 145"/>
                <a:gd name="T5" fmla="*/ 1 h 359"/>
                <a:gd name="T6" fmla="*/ 3 w 145"/>
                <a:gd name="T7" fmla="*/ 1 h 359"/>
                <a:gd name="T8" fmla="*/ 1 w 145"/>
                <a:gd name="T9" fmla="*/ 1 h 359"/>
                <a:gd name="T10" fmla="*/ 2 w 145"/>
                <a:gd name="T11" fmla="*/ 1 h 359"/>
                <a:gd name="T12" fmla="*/ 3 w 145"/>
                <a:gd name="T13" fmla="*/ 2 h 359"/>
                <a:gd name="T14" fmla="*/ 5 w 145"/>
                <a:gd name="T15" fmla="*/ 4 h 359"/>
                <a:gd name="T16" fmla="*/ 7 w 145"/>
                <a:gd name="T17" fmla="*/ 6 h 359"/>
                <a:gd name="T18" fmla="*/ 7 w 145"/>
                <a:gd name="T19" fmla="*/ 7 h 359"/>
                <a:gd name="T20" fmla="*/ 6 w 145"/>
                <a:gd name="T21" fmla="*/ 8 h 359"/>
                <a:gd name="T22" fmla="*/ 5 w 145"/>
                <a:gd name="T23" fmla="*/ 9 h 359"/>
                <a:gd name="T24" fmla="*/ 4 w 145"/>
                <a:gd name="T25" fmla="*/ 12 h 359"/>
                <a:gd name="T26" fmla="*/ 5 w 145"/>
                <a:gd name="T27" fmla="*/ 17 h 359"/>
                <a:gd name="T28" fmla="*/ 5 w 145"/>
                <a:gd name="T29" fmla="*/ 17 h 359"/>
                <a:gd name="T30" fmla="*/ 4 w 145"/>
                <a:gd name="T31" fmla="*/ 18 h 359"/>
                <a:gd name="T32" fmla="*/ 2 w 145"/>
                <a:gd name="T33" fmla="*/ 18 h 359"/>
                <a:gd name="T34" fmla="*/ 1 w 145"/>
                <a:gd name="T35" fmla="*/ 23 h 359"/>
                <a:gd name="T36" fmla="*/ 0 w 145"/>
                <a:gd name="T37" fmla="*/ 24 h 359"/>
                <a:gd name="T38" fmla="*/ 1 w 145"/>
                <a:gd name="T39" fmla="*/ 25 h 359"/>
                <a:gd name="T40" fmla="*/ 2 w 145"/>
                <a:gd name="T41" fmla="*/ 26 h 359"/>
                <a:gd name="T42" fmla="*/ 3 w 145"/>
                <a:gd name="T43" fmla="*/ 26 h 359"/>
                <a:gd name="T44" fmla="*/ 5 w 145"/>
                <a:gd name="T45" fmla="*/ 28 h 359"/>
                <a:gd name="T46" fmla="*/ 7 w 145"/>
                <a:gd name="T47" fmla="*/ 30 h 359"/>
                <a:gd name="T48" fmla="*/ 13 w 145"/>
                <a:gd name="T49" fmla="*/ 28 h 359"/>
                <a:gd name="T50" fmla="*/ 14 w 145"/>
                <a:gd name="T51" fmla="*/ 33 h 359"/>
                <a:gd name="T52" fmla="*/ 13 w 145"/>
                <a:gd name="T53" fmla="*/ 35 h 359"/>
                <a:gd name="T54" fmla="*/ 12 w 145"/>
                <a:gd name="T55" fmla="*/ 36 h 359"/>
                <a:gd name="T56" fmla="*/ 12 w 145"/>
                <a:gd name="T57" fmla="*/ 38 h 359"/>
                <a:gd name="T58" fmla="*/ 14 w 145"/>
                <a:gd name="T59" fmla="*/ 39 h 359"/>
                <a:gd name="T60" fmla="*/ 17 w 145"/>
                <a:gd name="T61" fmla="*/ 41 h 359"/>
                <a:gd name="T62" fmla="*/ 18 w 145"/>
                <a:gd name="T63" fmla="*/ 42 h 359"/>
                <a:gd name="T64" fmla="*/ 18 w 145"/>
                <a:gd name="T65" fmla="*/ 44 h 359"/>
                <a:gd name="T66" fmla="*/ 20 w 145"/>
                <a:gd name="T67" fmla="*/ 44 h 359"/>
                <a:gd name="T68" fmla="*/ 20 w 145"/>
                <a:gd name="T69" fmla="*/ 42 h 359"/>
                <a:gd name="T70" fmla="*/ 19 w 145"/>
                <a:gd name="T71" fmla="*/ 41 h 359"/>
                <a:gd name="T72" fmla="*/ 20 w 145"/>
                <a:gd name="T73" fmla="*/ 40 h 359"/>
                <a:gd name="T74" fmla="*/ 20 w 145"/>
                <a:gd name="T75" fmla="*/ 39 h 359"/>
                <a:gd name="T76" fmla="*/ 24 w 145"/>
                <a:gd name="T77" fmla="*/ 37 h 359"/>
                <a:gd name="T78" fmla="*/ 24 w 145"/>
                <a:gd name="T79" fmla="*/ 34 h 359"/>
                <a:gd name="T80" fmla="*/ 25 w 145"/>
                <a:gd name="T81" fmla="*/ 31 h 359"/>
                <a:gd name="T82" fmla="*/ 17 w 145"/>
                <a:gd name="T83" fmla="*/ 24 h 359"/>
                <a:gd name="T84" fmla="*/ 16 w 145"/>
                <a:gd name="T85" fmla="*/ 24 h 359"/>
                <a:gd name="T86" fmla="*/ 17 w 145"/>
                <a:gd name="T87" fmla="*/ 25 h 359"/>
                <a:gd name="T88" fmla="*/ 19 w 145"/>
                <a:gd name="T89" fmla="*/ 28 h 359"/>
                <a:gd name="T90" fmla="*/ 18 w 145"/>
                <a:gd name="T91" fmla="*/ 28 h 359"/>
                <a:gd name="T92" fmla="*/ 18 w 145"/>
                <a:gd name="T93" fmla="*/ 27 h 359"/>
                <a:gd name="T94" fmla="*/ 17 w 145"/>
                <a:gd name="T95" fmla="*/ 26 h 359"/>
                <a:gd name="T96" fmla="*/ 16 w 145"/>
                <a:gd name="T97" fmla="*/ 26 h 359"/>
                <a:gd name="T98" fmla="*/ 15 w 145"/>
                <a:gd name="T99" fmla="*/ 27 h 359"/>
                <a:gd name="T100" fmla="*/ 14 w 145"/>
                <a:gd name="T101" fmla="*/ 27 h 359"/>
                <a:gd name="T102" fmla="*/ 14 w 145"/>
                <a:gd name="T103" fmla="*/ 26 h 359"/>
                <a:gd name="T104" fmla="*/ 14 w 145"/>
                <a:gd name="T105" fmla="*/ 25 h 359"/>
                <a:gd name="T106" fmla="*/ 12 w 145"/>
                <a:gd name="T107" fmla="*/ 23 h 359"/>
                <a:gd name="T108" fmla="*/ 12 w 145"/>
                <a:gd name="T109" fmla="*/ 21 h 359"/>
                <a:gd name="T110" fmla="*/ 9 w 145"/>
                <a:gd name="T111" fmla="*/ 16 h 359"/>
                <a:gd name="T112" fmla="*/ 12 w 145"/>
                <a:gd name="T113" fmla="*/ 13 h 359"/>
                <a:gd name="T114" fmla="*/ 12 w 145"/>
                <a:gd name="T115" fmla="*/ 6 h 359"/>
                <a:gd name="T116" fmla="*/ 11 w 145"/>
                <a:gd name="T117" fmla="*/ 5 h 359"/>
                <a:gd name="T118" fmla="*/ 9 w 145"/>
                <a:gd name="T119" fmla="*/ 3 h 359"/>
                <a:gd name="T120" fmla="*/ 9 w 145"/>
                <a:gd name="T121" fmla="*/ 1 h 35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45"/>
                <a:gd name="T184" fmla="*/ 0 h 359"/>
                <a:gd name="T185" fmla="*/ 145 w 145"/>
                <a:gd name="T186" fmla="*/ 359 h 35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45" h="359">
                  <a:moveTo>
                    <a:pt x="52" y="14"/>
                  </a:moveTo>
                  <a:lnTo>
                    <a:pt x="49" y="9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34" y="10"/>
                  </a:lnTo>
                  <a:lnTo>
                    <a:pt x="32" y="9"/>
                  </a:lnTo>
                  <a:lnTo>
                    <a:pt x="28" y="5"/>
                  </a:lnTo>
                  <a:lnTo>
                    <a:pt x="20" y="5"/>
                  </a:lnTo>
                  <a:lnTo>
                    <a:pt x="11" y="0"/>
                  </a:lnTo>
                  <a:lnTo>
                    <a:pt x="9" y="1"/>
                  </a:lnTo>
                  <a:lnTo>
                    <a:pt x="9" y="5"/>
                  </a:lnTo>
                  <a:lnTo>
                    <a:pt x="11" y="7"/>
                  </a:lnTo>
                  <a:lnTo>
                    <a:pt x="12" y="11"/>
                  </a:lnTo>
                  <a:lnTo>
                    <a:pt x="20" y="11"/>
                  </a:lnTo>
                  <a:lnTo>
                    <a:pt x="27" y="23"/>
                  </a:lnTo>
                  <a:lnTo>
                    <a:pt x="30" y="32"/>
                  </a:lnTo>
                  <a:lnTo>
                    <a:pt x="35" y="36"/>
                  </a:lnTo>
                  <a:lnTo>
                    <a:pt x="37" y="52"/>
                  </a:lnTo>
                  <a:lnTo>
                    <a:pt x="41" y="54"/>
                  </a:lnTo>
                  <a:lnTo>
                    <a:pt x="42" y="59"/>
                  </a:lnTo>
                  <a:lnTo>
                    <a:pt x="41" y="62"/>
                  </a:lnTo>
                  <a:lnTo>
                    <a:pt x="35" y="66"/>
                  </a:lnTo>
                  <a:lnTo>
                    <a:pt x="33" y="67"/>
                  </a:lnTo>
                  <a:lnTo>
                    <a:pt x="30" y="69"/>
                  </a:lnTo>
                  <a:lnTo>
                    <a:pt x="28" y="85"/>
                  </a:lnTo>
                  <a:lnTo>
                    <a:pt x="23" y="99"/>
                  </a:lnTo>
                  <a:lnTo>
                    <a:pt x="24" y="132"/>
                  </a:lnTo>
                  <a:lnTo>
                    <a:pt x="27" y="135"/>
                  </a:lnTo>
                  <a:lnTo>
                    <a:pt x="32" y="137"/>
                  </a:lnTo>
                  <a:lnTo>
                    <a:pt x="33" y="143"/>
                  </a:lnTo>
                  <a:lnTo>
                    <a:pt x="32" y="145"/>
                  </a:lnTo>
                  <a:lnTo>
                    <a:pt x="23" y="147"/>
                  </a:lnTo>
                  <a:lnTo>
                    <a:pt x="19" y="150"/>
                  </a:lnTo>
                  <a:lnTo>
                    <a:pt x="14" y="152"/>
                  </a:lnTo>
                  <a:lnTo>
                    <a:pt x="13" y="153"/>
                  </a:lnTo>
                  <a:lnTo>
                    <a:pt x="6" y="189"/>
                  </a:lnTo>
                  <a:lnTo>
                    <a:pt x="1" y="195"/>
                  </a:lnTo>
                  <a:lnTo>
                    <a:pt x="0" y="198"/>
                  </a:lnTo>
                  <a:lnTo>
                    <a:pt x="2" y="206"/>
                  </a:lnTo>
                  <a:lnTo>
                    <a:pt x="6" y="208"/>
                  </a:lnTo>
                  <a:lnTo>
                    <a:pt x="8" y="213"/>
                  </a:lnTo>
                  <a:lnTo>
                    <a:pt x="15" y="213"/>
                  </a:lnTo>
                  <a:lnTo>
                    <a:pt x="17" y="214"/>
                  </a:lnTo>
                  <a:lnTo>
                    <a:pt x="19" y="217"/>
                  </a:lnTo>
                  <a:lnTo>
                    <a:pt x="23" y="219"/>
                  </a:lnTo>
                  <a:lnTo>
                    <a:pt x="31" y="232"/>
                  </a:lnTo>
                  <a:lnTo>
                    <a:pt x="39" y="241"/>
                  </a:lnTo>
                  <a:lnTo>
                    <a:pt x="42" y="242"/>
                  </a:lnTo>
                  <a:lnTo>
                    <a:pt x="73" y="235"/>
                  </a:lnTo>
                  <a:lnTo>
                    <a:pt x="76" y="236"/>
                  </a:lnTo>
                  <a:lnTo>
                    <a:pt x="80" y="241"/>
                  </a:lnTo>
                  <a:lnTo>
                    <a:pt x="84" y="274"/>
                  </a:lnTo>
                  <a:lnTo>
                    <a:pt x="82" y="279"/>
                  </a:lnTo>
                  <a:lnTo>
                    <a:pt x="77" y="285"/>
                  </a:lnTo>
                  <a:lnTo>
                    <a:pt x="78" y="291"/>
                  </a:lnTo>
                  <a:lnTo>
                    <a:pt x="73" y="295"/>
                  </a:lnTo>
                  <a:lnTo>
                    <a:pt x="71" y="305"/>
                  </a:lnTo>
                  <a:lnTo>
                    <a:pt x="73" y="308"/>
                  </a:lnTo>
                  <a:lnTo>
                    <a:pt x="77" y="320"/>
                  </a:lnTo>
                  <a:lnTo>
                    <a:pt x="80" y="323"/>
                  </a:lnTo>
                  <a:lnTo>
                    <a:pt x="83" y="325"/>
                  </a:lnTo>
                  <a:lnTo>
                    <a:pt x="97" y="342"/>
                  </a:lnTo>
                  <a:lnTo>
                    <a:pt x="106" y="346"/>
                  </a:lnTo>
                  <a:lnTo>
                    <a:pt x="109" y="350"/>
                  </a:lnTo>
                  <a:lnTo>
                    <a:pt x="109" y="353"/>
                  </a:lnTo>
                  <a:lnTo>
                    <a:pt x="105" y="358"/>
                  </a:lnTo>
                  <a:lnTo>
                    <a:pt x="106" y="359"/>
                  </a:lnTo>
                  <a:lnTo>
                    <a:pt x="116" y="359"/>
                  </a:lnTo>
                  <a:lnTo>
                    <a:pt x="117" y="358"/>
                  </a:lnTo>
                  <a:lnTo>
                    <a:pt x="117" y="345"/>
                  </a:lnTo>
                  <a:lnTo>
                    <a:pt x="115" y="341"/>
                  </a:lnTo>
                  <a:lnTo>
                    <a:pt x="112" y="339"/>
                  </a:lnTo>
                  <a:lnTo>
                    <a:pt x="112" y="334"/>
                  </a:lnTo>
                  <a:lnTo>
                    <a:pt x="115" y="327"/>
                  </a:lnTo>
                  <a:lnTo>
                    <a:pt x="115" y="324"/>
                  </a:lnTo>
                  <a:lnTo>
                    <a:pt x="116" y="320"/>
                  </a:lnTo>
                  <a:lnTo>
                    <a:pt x="137" y="311"/>
                  </a:lnTo>
                  <a:lnTo>
                    <a:pt x="140" y="307"/>
                  </a:lnTo>
                  <a:lnTo>
                    <a:pt x="141" y="289"/>
                  </a:lnTo>
                  <a:lnTo>
                    <a:pt x="143" y="283"/>
                  </a:lnTo>
                  <a:lnTo>
                    <a:pt x="140" y="271"/>
                  </a:lnTo>
                  <a:lnTo>
                    <a:pt x="145" y="256"/>
                  </a:lnTo>
                  <a:lnTo>
                    <a:pt x="142" y="246"/>
                  </a:lnTo>
                  <a:lnTo>
                    <a:pt x="97" y="191"/>
                  </a:lnTo>
                  <a:lnTo>
                    <a:pt x="95" y="192"/>
                  </a:lnTo>
                  <a:lnTo>
                    <a:pt x="95" y="198"/>
                  </a:lnTo>
                  <a:lnTo>
                    <a:pt x="97" y="203"/>
                  </a:lnTo>
                  <a:lnTo>
                    <a:pt x="102" y="206"/>
                  </a:lnTo>
                  <a:lnTo>
                    <a:pt x="104" y="208"/>
                  </a:lnTo>
                  <a:lnTo>
                    <a:pt x="112" y="228"/>
                  </a:lnTo>
                  <a:lnTo>
                    <a:pt x="112" y="233"/>
                  </a:lnTo>
                  <a:lnTo>
                    <a:pt x="111" y="234"/>
                  </a:lnTo>
                  <a:lnTo>
                    <a:pt x="109" y="233"/>
                  </a:lnTo>
                  <a:lnTo>
                    <a:pt x="104" y="226"/>
                  </a:lnTo>
                  <a:lnTo>
                    <a:pt x="100" y="224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1" y="225"/>
                  </a:lnTo>
                  <a:lnTo>
                    <a:pt x="89" y="226"/>
                  </a:lnTo>
                  <a:lnTo>
                    <a:pt x="85" y="226"/>
                  </a:lnTo>
                  <a:lnTo>
                    <a:pt x="83" y="225"/>
                  </a:lnTo>
                  <a:lnTo>
                    <a:pt x="81" y="221"/>
                  </a:lnTo>
                  <a:lnTo>
                    <a:pt x="80" y="214"/>
                  </a:lnTo>
                  <a:lnTo>
                    <a:pt x="82" y="207"/>
                  </a:lnTo>
                  <a:lnTo>
                    <a:pt x="82" y="203"/>
                  </a:lnTo>
                  <a:lnTo>
                    <a:pt x="75" y="195"/>
                  </a:lnTo>
                  <a:lnTo>
                    <a:pt x="71" y="185"/>
                  </a:lnTo>
                  <a:lnTo>
                    <a:pt x="71" y="174"/>
                  </a:lnTo>
                  <a:lnTo>
                    <a:pt x="70" y="174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6" y="128"/>
                  </a:lnTo>
                  <a:lnTo>
                    <a:pt x="68" y="106"/>
                  </a:lnTo>
                  <a:lnTo>
                    <a:pt x="65" y="58"/>
                  </a:lnTo>
                  <a:lnTo>
                    <a:pt x="67" y="52"/>
                  </a:lnTo>
                  <a:lnTo>
                    <a:pt x="67" y="47"/>
                  </a:lnTo>
                  <a:lnTo>
                    <a:pt x="64" y="41"/>
                  </a:lnTo>
                  <a:lnTo>
                    <a:pt x="56" y="37"/>
                  </a:lnTo>
                  <a:lnTo>
                    <a:pt x="51" y="26"/>
                  </a:lnTo>
                  <a:lnTo>
                    <a:pt x="52" y="14"/>
                  </a:lnTo>
                  <a:lnTo>
                    <a:pt x="56" y="8"/>
                  </a:lnTo>
                  <a:lnTo>
                    <a:pt x="52" y="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5" name="Freeform 82"/>
            <p:cNvSpPr>
              <a:spLocks/>
            </p:cNvSpPr>
            <p:nvPr/>
          </p:nvSpPr>
          <p:spPr bwMode="auto">
            <a:xfrm>
              <a:off x="5690553" y="1206446"/>
              <a:ext cx="1054097" cy="803372"/>
            </a:xfrm>
            <a:custGeom>
              <a:avLst/>
              <a:gdLst>
                <a:gd name="T0" fmla="*/ 134 w 877"/>
                <a:gd name="T1" fmla="*/ 99 h 803"/>
                <a:gd name="T2" fmla="*/ 125 w 877"/>
                <a:gd name="T3" fmla="*/ 98 h 803"/>
                <a:gd name="T4" fmla="*/ 115 w 877"/>
                <a:gd name="T5" fmla="*/ 97 h 803"/>
                <a:gd name="T6" fmla="*/ 98 w 877"/>
                <a:gd name="T7" fmla="*/ 87 h 803"/>
                <a:gd name="T8" fmla="*/ 88 w 877"/>
                <a:gd name="T9" fmla="*/ 87 h 803"/>
                <a:gd name="T10" fmla="*/ 85 w 877"/>
                <a:gd name="T11" fmla="*/ 89 h 803"/>
                <a:gd name="T12" fmla="*/ 79 w 877"/>
                <a:gd name="T13" fmla="*/ 90 h 803"/>
                <a:gd name="T14" fmla="*/ 73 w 877"/>
                <a:gd name="T15" fmla="*/ 89 h 803"/>
                <a:gd name="T16" fmla="*/ 72 w 877"/>
                <a:gd name="T17" fmla="*/ 87 h 803"/>
                <a:gd name="T18" fmla="*/ 65 w 877"/>
                <a:gd name="T19" fmla="*/ 84 h 803"/>
                <a:gd name="T20" fmla="*/ 58 w 877"/>
                <a:gd name="T21" fmla="*/ 82 h 803"/>
                <a:gd name="T22" fmla="*/ 53 w 877"/>
                <a:gd name="T23" fmla="*/ 75 h 803"/>
                <a:gd name="T24" fmla="*/ 47 w 877"/>
                <a:gd name="T25" fmla="*/ 70 h 803"/>
                <a:gd name="T26" fmla="*/ 45 w 877"/>
                <a:gd name="T27" fmla="*/ 67 h 803"/>
                <a:gd name="T28" fmla="*/ 41 w 877"/>
                <a:gd name="T29" fmla="*/ 68 h 803"/>
                <a:gd name="T30" fmla="*/ 40 w 877"/>
                <a:gd name="T31" fmla="*/ 67 h 803"/>
                <a:gd name="T32" fmla="*/ 38 w 877"/>
                <a:gd name="T33" fmla="*/ 65 h 803"/>
                <a:gd name="T34" fmla="*/ 36 w 877"/>
                <a:gd name="T35" fmla="*/ 64 h 803"/>
                <a:gd name="T36" fmla="*/ 36 w 877"/>
                <a:gd name="T37" fmla="*/ 66 h 803"/>
                <a:gd name="T38" fmla="*/ 30 w 877"/>
                <a:gd name="T39" fmla="*/ 65 h 803"/>
                <a:gd name="T40" fmla="*/ 27 w 877"/>
                <a:gd name="T41" fmla="*/ 61 h 803"/>
                <a:gd name="T42" fmla="*/ 20 w 877"/>
                <a:gd name="T43" fmla="*/ 50 h 803"/>
                <a:gd name="T44" fmla="*/ 13 w 877"/>
                <a:gd name="T45" fmla="*/ 45 h 803"/>
                <a:gd name="T46" fmla="*/ 11 w 877"/>
                <a:gd name="T47" fmla="*/ 43 h 803"/>
                <a:gd name="T48" fmla="*/ 10 w 877"/>
                <a:gd name="T49" fmla="*/ 41 h 803"/>
                <a:gd name="T50" fmla="*/ 11 w 877"/>
                <a:gd name="T51" fmla="*/ 37 h 803"/>
                <a:gd name="T52" fmla="*/ 15 w 877"/>
                <a:gd name="T53" fmla="*/ 32 h 803"/>
                <a:gd name="T54" fmla="*/ 17 w 877"/>
                <a:gd name="T55" fmla="*/ 29 h 803"/>
                <a:gd name="T56" fmla="*/ 9 w 877"/>
                <a:gd name="T57" fmla="*/ 24 h 803"/>
                <a:gd name="T58" fmla="*/ 5 w 877"/>
                <a:gd name="T59" fmla="*/ 17 h 803"/>
                <a:gd name="T60" fmla="*/ 1 w 877"/>
                <a:gd name="T61" fmla="*/ 6 h 803"/>
                <a:gd name="T62" fmla="*/ 3 w 877"/>
                <a:gd name="T63" fmla="*/ 0 h 803"/>
                <a:gd name="T64" fmla="*/ 22 w 877"/>
                <a:gd name="T65" fmla="*/ 4 h 803"/>
                <a:gd name="T66" fmla="*/ 31 w 877"/>
                <a:gd name="T67" fmla="*/ 2 h 803"/>
                <a:gd name="T68" fmla="*/ 30 w 877"/>
                <a:gd name="T69" fmla="*/ 6 h 803"/>
                <a:gd name="T70" fmla="*/ 32 w 877"/>
                <a:gd name="T71" fmla="*/ 9 h 803"/>
                <a:gd name="T72" fmla="*/ 36 w 877"/>
                <a:gd name="T73" fmla="*/ 10 h 803"/>
                <a:gd name="T74" fmla="*/ 40 w 877"/>
                <a:gd name="T75" fmla="*/ 17 h 803"/>
                <a:gd name="T76" fmla="*/ 47 w 877"/>
                <a:gd name="T77" fmla="*/ 18 h 803"/>
                <a:gd name="T78" fmla="*/ 60 w 877"/>
                <a:gd name="T79" fmla="*/ 23 h 803"/>
                <a:gd name="T80" fmla="*/ 71 w 877"/>
                <a:gd name="T81" fmla="*/ 21 h 803"/>
                <a:gd name="T82" fmla="*/ 76 w 877"/>
                <a:gd name="T83" fmla="*/ 19 h 803"/>
                <a:gd name="T84" fmla="*/ 87 w 877"/>
                <a:gd name="T85" fmla="*/ 12 h 803"/>
                <a:gd name="T86" fmla="*/ 94 w 877"/>
                <a:gd name="T87" fmla="*/ 12 h 803"/>
                <a:gd name="T88" fmla="*/ 100 w 877"/>
                <a:gd name="T89" fmla="*/ 11 h 803"/>
                <a:gd name="T90" fmla="*/ 114 w 877"/>
                <a:gd name="T91" fmla="*/ 16 h 803"/>
                <a:gd name="T92" fmla="*/ 119 w 877"/>
                <a:gd name="T93" fmla="*/ 17 h 803"/>
                <a:gd name="T94" fmla="*/ 131 w 877"/>
                <a:gd name="T95" fmla="*/ 23 h 803"/>
                <a:gd name="T96" fmla="*/ 133 w 877"/>
                <a:gd name="T97" fmla="*/ 29 h 803"/>
                <a:gd name="T98" fmla="*/ 130 w 877"/>
                <a:gd name="T99" fmla="*/ 39 h 803"/>
                <a:gd name="T100" fmla="*/ 128 w 877"/>
                <a:gd name="T101" fmla="*/ 43 h 803"/>
                <a:gd name="T102" fmla="*/ 128 w 877"/>
                <a:gd name="T103" fmla="*/ 51 h 803"/>
                <a:gd name="T104" fmla="*/ 133 w 877"/>
                <a:gd name="T105" fmla="*/ 58 h 803"/>
                <a:gd name="T106" fmla="*/ 136 w 877"/>
                <a:gd name="T107" fmla="*/ 61 h 803"/>
                <a:gd name="T108" fmla="*/ 135 w 877"/>
                <a:gd name="T109" fmla="*/ 76 h 803"/>
                <a:gd name="T110" fmla="*/ 144 w 877"/>
                <a:gd name="T111" fmla="*/ 79 h 803"/>
                <a:gd name="T112" fmla="*/ 148 w 877"/>
                <a:gd name="T113" fmla="*/ 86 h 803"/>
                <a:gd name="T114" fmla="*/ 146 w 877"/>
                <a:gd name="T115" fmla="*/ 89 h 803"/>
                <a:gd name="T116" fmla="*/ 135 w 877"/>
                <a:gd name="T117" fmla="*/ 98 h 8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77"/>
                <a:gd name="T178" fmla="*/ 0 h 803"/>
                <a:gd name="T179" fmla="*/ 877 w 877"/>
                <a:gd name="T180" fmla="*/ 803 h 8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77" h="803">
                  <a:moveTo>
                    <a:pt x="800" y="801"/>
                  </a:moveTo>
                  <a:lnTo>
                    <a:pt x="796" y="800"/>
                  </a:lnTo>
                  <a:lnTo>
                    <a:pt x="791" y="803"/>
                  </a:lnTo>
                  <a:lnTo>
                    <a:pt x="754" y="795"/>
                  </a:lnTo>
                  <a:lnTo>
                    <a:pt x="748" y="789"/>
                  </a:lnTo>
                  <a:lnTo>
                    <a:pt x="743" y="793"/>
                  </a:lnTo>
                  <a:lnTo>
                    <a:pt x="689" y="784"/>
                  </a:lnTo>
                  <a:lnTo>
                    <a:pt x="685" y="786"/>
                  </a:lnTo>
                  <a:lnTo>
                    <a:pt x="683" y="790"/>
                  </a:lnTo>
                  <a:lnTo>
                    <a:pt x="674" y="783"/>
                  </a:lnTo>
                  <a:lnTo>
                    <a:pt x="607" y="773"/>
                  </a:lnTo>
                  <a:lnTo>
                    <a:pt x="583" y="712"/>
                  </a:lnTo>
                  <a:lnTo>
                    <a:pt x="562" y="701"/>
                  </a:lnTo>
                  <a:lnTo>
                    <a:pt x="556" y="701"/>
                  </a:lnTo>
                  <a:lnTo>
                    <a:pt x="522" y="712"/>
                  </a:lnTo>
                  <a:lnTo>
                    <a:pt x="517" y="719"/>
                  </a:lnTo>
                  <a:lnTo>
                    <a:pt x="511" y="722"/>
                  </a:lnTo>
                  <a:lnTo>
                    <a:pt x="502" y="724"/>
                  </a:lnTo>
                  <a:lnTo>
                    <a:pt x="488" y="731"/>
                  </a:lnTo>
                  <a:lnTo>
                    <a:pt x="479" y="733"/>
                  </a:lnTo>
                  <a:lnTo>
                    <a:pt x="466" y="731"/>
                  </a:lnTo>
                  <a:lnTo>
                    <a:pt x="461" y="725"/>
                  </a:lnTo>
                  <a:lnTo>
                    <a:pt x="449" y="722"/>
                  </a:lnTo>
                  <a:lnTo>
                    <a:pt x="431" y="725"/>
                  </a:lnTo>
                  <a:lnTo>
                    <a:pt x="423" y="715"/>
                  </a:lnTo>
                  <a:lnTo>
                    <a:pt x="426" y="717"/>
                  </a:lnTo>
                  <a:lnTo>
                    <a:pt x="426" y="713"/>
                  </a:lnTo>
                  <a:lnTo>
                    <a:pt x="393" y="701"/>
                  </a:lnTo>
                  <a:lnTo>
                    <a:pt x="386" y="690"/>
                  </a:lnTo>
                  <a:lnTo>
                    <a:pt x="386" y="686"/>
                  </a:lnTo>
                  <a:lnTo>
                    <a:pt x="379" y="679"/>
                  </a:lnTo>
                  <a:lnTo>
                    <a:pt x="355" y="669"/>
                  </a:lnTo>
                  <a:lnTo>
                    <a:pt x="341" y="668"/>
                  </a:lnTo>
                  <a:lnTo>
                    <a:pt x="334" y="664"/>
                  </a:lnTo>
                  <a:lnTo>
                    <a:pt x="327" y="655"/>
                  </a:lnTo>
                  <a:lnTo>
                    <a:pt x="310" y="610"/>
                  </a:lnTo>
                  <a:lnTo>
                    <a:pt x="294" y="596"/>
                  </a:lnTo>
                  <a:lnTo>
                    <a:pt x="287" y="576"/>
                  </a:lnTo>
                  <a:lnTo>
                    <a:pt x="279" y="572"/>
                  </a:lnTo>
                  <a:lnTo>
                    <a:pt x="270" y="558"/>
                  </a:lnTo>
                  <a:lnTo>
                    <a:pt x="269" y="552"/>
                  </a:lnTo>
                  <a:lnTo>
                    <a:pt x="266" y="547"/>
                  </a:lnTo>
                  <a:lnTo>
                    <a:pt x="262" y="544"/>
                  </a:lnTo>
                  <a:lnTo>
                    <a:pt x="252" y="548"/>
                  </a:lnTo>
                  <a:lnTo>
                    <a:pt x="245" y="554"/>
                  </a:lnTo>
                  <a:lnTo>
                    <a:pt x="243" y="552"/>
                  </a:lnTo>
                  <a:lnTo>
                    <a:pt x="239" y="550"/>
                  </a:lnTo>
                  <a:lnTo>
                    <a:pt x="236" y="547"/>
                  </a:lnTo>
                  <a:lnTo>
                    <a:pt x="230" y="542"/>
                  </a:lnTo>
                  <a:lnTo>
                    <a:pt x="227" y="536"/>
                  </a:lnTo>
                  <a:lnTo>
                    <a:pt x="226" y="527"/>
                  </a:lnTo>
                  <a:lnTo>
                    <a:pt x="222" y="523"/>
                  </a:lnTo>
                  <a:lnTo>
                    <a:pt x="214" y="521"/>
                  </a:lnTo>
                  <a:lnTo>
                    <a:pt x="210" y="524"/>
                  </a:lnTo>
                  <a:lnTo>
                    <a:pt x="212" y="531"/>
                  </a:lnTo>
                  <a:lnTo>
                    <a:pt x="210" y="535"/>
                  </a:lnTo>
                  <a:lnTo>
                    <a:pt x="210" y="541"/>
                  </a:lnTo>
                  <a:lnTo>
                    <a:pt x="204" y="541"/>
                  </a:lnTo>
                  <a:lnTo>
                    <a:pt x="203" y="548"/>
                  </a:lnTo>
                  <a:lnTo>
                    <a:pt x="175" y="526"/>
                  </a:lnTo>
                  <a:lnTo>
                    <a:pt x="171" y="519"/>
                  </a:lnTo>
                  <a:lnTo>
                    <a:pt x="168" y="503"/>
                  </a:lnTo>
                  <a:lnTo>
                    <a:pt x="157" y="497"/>
                  </a:lnTo>
                  <a:lnTo>
                    <a:pt x="161" y="457"/>
                  </a:lnTo>
                  <a:lnTo>
                    <a:pt x="137" y="415"/>
                  </a:lnTo>
                  <a:lnTo>
                    <a:pt x="116" y="408"/>
                  </a:lnTo>
                  <a:lnTo>
                    <a:pt x="83" y="384"/>
                  </a:lnTo>
                  <a:lnTo>
                    <a:pt x="82" y="375"/>
                  </a:lnTo>
                  <a:lnTo>
                    <a:pt x="77" y="364"/>
                  </a:lnTo>
                  <a:lnTo>
                    <a:pt x="72" y="358"/>
                  </a:lnTo>
                  <a:lnTo>
                    <a:pt x="69" y="352"/>
                  </a:lnTo>
                  <a:lnTo>
                    <a:pt x="62" y="352"/>
                  </a:lnTo>
                  <a:lnTo>
                    <a:pt x="57" y="348"/>
                  </a:lnTo>
                  <a:lnTo>
                    <a:pt x="54" y="335"/>
                  </a:lnTo>
                  <a:lnTo>
                    <a:pt x="58" y="333"/>
                  </a:lnTo>
                  <a:lnTo>
                    <a:pt x="60" y="328"/>
                  </a:lnTo>
                  <a:lnTo>
                    <a:pt x="63" y="307"/>
                  </a:lnTo>
                  <a:lnTo>
                    <a:pt x="66" y="301"/>
                  </a:lnTo>
                  <a:lnTo>
                    <a:pt x="73" y="298"/>
                  </a:lnTo>
                  <a:lnTo>
                    <a:pt x="73" y="292"/>
                  </a:lnTo>
                  <a:lnTo>
                    <a:pt x="92" y="265"/>
                  </a:lnTo>
                  <a:lnTo>
                    <a:pt x="88" y="250"/>
                  </a:lnTo>
                  <a:lnTo>
                    <a:pt x="92" y="238"/>
                  </a:lnTo>
                  <a:lnTo>
                    <a:pt x="98" y="232"/>
                  </a:lnTo>
                  <a:lnTo>
                    <a:pt x="66" y="227"/>
                  </a:lnTo>
                  <a:lnTo>
                    <a:pt x="58" y="219"/>
                  </a:lnTo>
                  <a:lnTo>
                    <a:pt x="51" y="199"/>
                  </a:lnTo>
                  <a:lnTo>
                    <a:pt x="42" y="192"/>
                  </a:lnTo>
                  <a:lnTo>
                    <a:pt x="34" y="178"/>
                  </a:lnTo>
                  <a:lnTo>
                    <a:pt x="29" y="136"/>
                  </a:lnTo>
                  <a:lnTo>
                    <a:pt x="18" y="123"/>
                  </a:lnTo>
                  <a:lnTo>
                    <a:pt x="7" y="116"/>
                  </a:lnTo>
                  <a:lnTo>
                    <a:pt x="7" y="49"/>
                  </a:lnTo>
                  <a:lnTo>
                    <a:pt x="0" y="27"/>
                  </a:lnTo>
                  <a:lnTo>
                    <a:pt x="12" y="21"/>
                  </a:lnTo>
                  <a:lnTo>
                    <a:pt x="20" y="0"/>
                  </a:lnTo>
                  <a:lnTo>
                    <a:pt x="59" y="52"/>
                  </a:lnTo>
                  <a:lnTo>
                    <a:pt x="115" y="55"/>
                  </a:lnTo>
                  <a:lnTo>
                    <a:pt x="131" y="31"/>
                  </a:lnTo>
                  <a:lnTo>
                    <a:pt x="148" y="15"/>
                  </a:lnTo>
                  <a:lnTo>
                    <a:pt x="170" y="10"/>
                  </a:lnTo>
                  <a:lnTo>
                    <a:pt x="185" y="19"/>
                  </a:lnTo>
                  <a:lnTo>
                    <a:pt x="183" y="30"/>
                  </a:lnTo>
                  <a:lnTo>
                    <a:pt x="190" y="46"/>
                  </a:lnTo>
                  <a:lnTo>
                    <a:pt x="177" y="55"/>
                  </a:lnTo>
                  <a:lnTo>
                    <a:pt x="174" y="59"/>
                  </a:lnTo>
                  <a:lnTo>
                    <a:pt x="183" y="63"/>
                  </a:lnTo>
                  <a:lnTo>
                    <a:pt x="188" y="68"/>
                  </a:lnTo>
                  <a:lnTo>
                    <a:pt x="194" y="71"/>
                  </a:lnTo>
                  <a:lnTo>
                    <a:pt x="200" y="76"/>
                  </a:lnTo>
                  <a:lnTo>
                    <a:pt x="212" y="79"/>
                  </a:lnTo>
                  <a:lnTo>
                    <a:pt x="215" y="77"/>
                  </a:lnTo>
                  <a:lnTo>
                    <a:pt x="226" y="130"/>
                  </a:lnTo>
                  <a:lnTo>
                    <a:pt x="236" y="137"/>
                  </a:lnTo>
                  <a:lnTo>
                    <a:pt x="254" y="142"/>
                  </a:lnTo>
                  <a:lnTo>
                    <a:pt x="274" y="142"/>
                  </a:lnTo>
                  <a:lnTo>
                    <a:pt x="280" y="147"/>
                  </a:lnTo>
                  <a:lnTo>
                    <a:pt x="287" y="160"/>
                  </a:lnTo>
                  <a:lnTo>
                    <a:pt x="315" y="179"/>
                  </a:lnTo>
                  <a:lnTo>
                    <a:pt x="354" y="189"/>
                  </a:lnTo>
                  <a:lnTo>
                    <a:pt x="434" y="168"/>
                  </a:lnTo>
                  <a:lnTo>
                    <a:pt x="431" y="171"/>
                  </a:lnTo>
                  <a:lnTo>
                    <a:pt x="420" y="174"/>
                  </a:lnTo>
                  <a:lnTo>
                    <a:pt x="434" y="175"/>
                  </a:lnTo>
                  <a:lnTo>
                    <a:pt x="454" y="172"/>
                  </a:lnTo>
                  <a:lnTo>
                    <a:pt x="453" y="156"/>
                  </a:lnTo>
                  <a:lnTo>
                    <a:pt x="447" y="138"/>
                  </a:lnTo>
                  <a:lnTo>
                    <a:pt x="473" y="135"/>
                  </a:lnTo>
                  <a:lnTo>
                    <a:pt x="514" y="101"/>
                  </a:lnTo>
                  <a:lnTo>
                    <a:pt x="536" y="98"/>
                  </a:lnTo>
                  <a:lnTo>
                    <a:pt x="546" y="101"/>
                  </a:lnTo>
                  <a:lnTo>
                    <a:pt x="555" y="101"/>
                  </a:lnTo>
                  <a:lnTo>
                    <a:pt x="560" y="96"/>
                  </a:lnTo>
                  <a:lnTo>
                    <a:pt x="561" y="90"/>
                  </a:lnTo>
                  <a:lnTo>
                    <a:pt x="591" y="89"/>
                  </a:lnTo>
                  <a:lnTo>
                    <a:pt x="611" y="108"/>
                  </a:lnTo>
                  <a:lnTo>
                    <a:pt x="663" y="128"/>
                  </a:lnTo>
                  <a:lnTo>
                    <a:pt x="673" y="125"/>
                  </a:lnTo>
                  <a:lnTo>
                    <a:pt x="684" y="128"/>
                  </a:lnTo>
                  <a:lnTo>
                    <a:pt x="692" y="132"/>
                  </a:lnTo>
                  <a:lnTo>
                    <a:pt x="701" y="142"/>
                  </a:lnTo>
                  <a:lnTo>
                    <a:pt x="704" y="154"/>
                  </a:lnTo>
                  <a:lnTo>
                    <a:pt x="756" y="188"/>
                  </a:lnTo>
                  <a:lnTo>
                    <a:pt x="778" y="188"/>
                  </a:lnTo>
                  <a:lnTo>
                    <a:pt x="782" y="192"/>
                  </a:lnTo>
                  <a:lnTo>
                    <a:pt x="782" y="223"/>
                  </a:lnTo>
                  <a:lnTo>
                    <a:pt x="784" y="231"/>
                  </a:lnTo>
                  <a:lnTo>
                    <a:pt x="777" y="287"/>
                  </a:lnTo>
                  <a:lnTo>
                    <a:pt x="766" y="304"/>
                  </a:lnTo>
                  <a:lnTo>
                    <a:pt x="766" y="317"/>
                  </a:lnTo>
                  <a:lnTo>
                    <a:pt x="748" y="324"/>
                  </a:lnTo>
                  <a:lnTo>
                    <a:pt x="748" y="349"/>
                  </a:lnTo>
                  <a:lnTo>
                    <a:pt x="759" y="353"/>
                  </a:lnTo>
                  <a:lnTo>
                    <a:pt x="760" y="362"/>
                  </a:lnTo>
                  <a:lnTo>
                    <a:pt x="751" y="392"/>
                  </a:lnTo>
                  <a:lnTo>
                    <a:pt x="758" y="416"/>
                  </a:lnTo>
                  <a:lnTo>
                    <a:pt x="759" y="456"/>
                  </a:lnTo>
                  <a:lnTo>
                    <a:pt x="768" y="464"/>
                  </a:lnTo>
                  <a:lnTo>
                    <a:pt x="788" y="469"/>
                  </a:lnTo>
                  <a:lnTo>
                    <a:pt x="796" y="476"/>
                  </a:lnTo>
                  <a:lnTo>
                    <a:pt x="802" y="490"/>
                  </a:lnTo>
                  <a:lnTo>
                    <a:pt x="802" y="502"/>
                  </a:lnTo>
                  <a:lnTo>
                    <a:pt x="764" y="565"/>
                  </a:lnTo>
                  <a:lnTo>
                    <a:pt x="782" y="583"/>
                  </a:lnTo>
                  <a:lnTo>
                    <a:pt x="800" y="618"/>
                  </a:lnTo>
                  <a:lnTo>
                    <a:pt x="823" y="635"/>
                  </a:lnTo>
                  <a:lnTo>
                    <a:pt x="846" y="641"/>
                  </a:lnTo>
                  <a:lnTo>
                    <a:pt x="851" y="647"/>
                  </a:lnTo>
                  <a:lnTo>
                    <a:pt x="855" y="693"/>
                  </a:lnTo>
                  <a:lnTo>
                    <a:pt x="871" y="696"/>
                  </a:lnTo>
                  <a:lnTo>
                    <a:pt x="876" y="700"/>
                  </a:lnTo>
                  <a:lnTo>
                    <a:pt x="877" y="708"/>
                  </a:lnTo>
                  <a:lnTo>
                    <a:pt x="874" y="713"/>
                  </a:lnTo>
                  <a:lnTo>
                    <a:pt x="863" y="725"/>
                  </a:lnTo>
                  <a:lnTo>
                    <a:pt x="828" y="735"/>
                  </a:lnTo>
                  <a:lnTo>
                    <a:pt x="811" y="753"/>
                  </a:lnTo>
                  <a:lnTo>
                    <a:pt x="800" y="80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6" name="Freeform 83"/>
            <p:cNvSpPr>
              <a:spLocks/>
            </p:cNvSpPr>
            <p:nvPr/>
          </p:nvSpPr>
          <p:spPr bwMode="auto">
            <a:xfrm>
              <a:off x="5690553" y="1206446"/>
              <a:ext cx="1054097" cy="803372"/>
            </a:xfrm>
            <a:custGeom>
              <a:avLst/>
              <a:gdLst>
                <a:gd name="T0" fmla="*/ 134 w 877"/>
                <a:gd name="T1" fmla="*/ 99 h 803"/>
                <a:gd name="T2" fmla="*/ 125 w 877"/>
                <a:gd name="T3" fmla="*/ 98 h 803"/>
                <a:gd name="T4" fmla="*/ 115 w 877"/>
                <a:gd name="T5" fmla="*/ 97 h 803"/>
                <a:gd name="T6" fmla="*/ 98 w 877"/>
                <a:gd name="T7" fmla="*/ 87 h 803"/>
                <a:gd name="T8" fmla="*/ 88 w 877"/>
                <a:gd name="T9" fmla="*/ 87 h 803"/>
                <a:gd name="T10" fmla="*/ 85 w 877"/>
                <a:gd name="T11" fmla="*/ 89 h 803"/>
                <a:gd name="T12" fmla="*/ 79 w 877"/>
                <a:gd name="T13" fmla="*/ 90 h 803"/>
                <a:gd name="T14" fmla="*/ 73 w 877"/>
                <a:gd name="T15" fmla="*/ 89 h 803"/>
                <a:gd name="T16" fmla="*/ 72 w 877"/>
                <a:gd name="T17" fmla="*/ 87 h 803"/>
                <a:gd name="T18" fmla="*/ 65 w 877"/>
                <a:gd name="T19" fmla="*/ 84 h 803"/>
                <a:gd name="T20" fmla="*/ 58 w 877"/>
                <a:gd name="T21" fmla="*/ 82 h 803"/>
                <a:gd name="T22" fmla="*/ 53 w 877"/>
                <a:gd name="T23" fmla="*/ 75 h 803"/>
                <a:gd name="T24" fmla="*/ 47 w 877"/>
                <a:gd name="T25" fmla="*/ 70 h 803"/>
                <a:gd name="T26" fmla="*/ 45 w 877"/>
                <a:gd name="T27" fmla="*/ 67 h 803"/>
                <a:gd name="T28" fmla="*/ 41 w 877"/>
                <a:gd name="T29" fmla="*/ 68 h 803"/>
                <a:gd name="T30" fmla="*/ 40 w 877"/>
                <a:gd name="T31" fmla="*/ 67 h 803"/>
                <a:gd name="T32" fmla="*/ 38 w 877"/>
                <a:gd name="T33" fmla="*/ 65 h 803"/>
                <a:gd name="T34" fmla="*/ 36 w 877"/>
                <a:gd name="T35" fmla="*/ 64 h 803"/>
                <a:gd name="T36" fmla="*/ 36 w 877"/>
                <a:gd name="T37" fmla="*/ 66 h 803"/>
                <a:gd name="T38" fmla="*/ 30 w 877"/>
                <a:gd name="T39" fmla="*/ 65 h 803"/>
                <a:gd name="T40" fmla="*/ 27 w 877"/>
                <a:gd name="T41" fmla="*/ 61 h 803"/>
                <a:gd name="T42" fmla="*/ 20 w 877"/>
                <a:gd name="T43" fmla="*/ 50 h 803"/>
                <a:gd name="T44" fmla="*/ 13 w 877"/>
                <a:gd name="T45" fmla="*/ 45 h 803"/>
                <a:gd name="T46" fmla="*/ 11 w 877"/>
                <a:gd name="T47" fmla="*/ 43 h 803"/>
                <a:gd name="T48" fmla="*/ 10 w 877"/>
                <a:gd name="T49" fmla="*/ 41 h 803"/>
                <a:gd name="T50" fmla="*/ 11 w 877"/>
                <a:gd name="T51" fmla="*/ 37 h 803"/>
                <a:gd name="T52" fmla="*/ 15 w 877"/>
                <a:gd name="T53" fmla="*/ 32 h 803"/>
                <a:gd name="T54" fmla="*/ 17 w 877"/>
                <a:gd name="T55" fmla="*/ 29 h 803"/>
                <a:gd name="T56" fmla="*/ 9 w 877"/>
                <a:gd name="T57" fmla="*/ 24 h 803"/>
                <a:gd name="T58" fmla="*/ 5 w 877"/>
                <a:gd name="T59" fmla="*/ 17 h 803"/>
                <a:gd name="T60" fmla="*/ 1 w 877"/>
                <a:gd name="T61" fmla="*/ 6 h 803"/>
                <a:gd name="T62" fmla="*/ 3 w 877"/>
                <a:gd name="T63" fmla="*/ 0 h 803"/>
                <a:gd name="T64" fmla="*/ 22 w 877"/>
                <a:gd name="T65" fmla="*/ 4 h 803"/>
                <a:gd name="T66" fmla="*/ 31 w 877"/>
                <a:gd name="T67" fmla="*/ 2 h 803"/>
                <a:gd name="T68" fmla="*/ 30 w 877"/>
                <a:gd name="T69" fmla="*/ 6 h 803"/>
                <a:gd name="T70" fmla="*/ 32 w 877"/>
                <a:gd name="T71" fmla="*/ 9 h 803"/>
                <a:gd name="T72" fmla="*/ 36 w 877"/>
                <a:gd name="T73" fmla="*/ 10 h 803"/>
                <a:gd name="T74" fmla="*/ 40 w 877"/>
                <a:gd name="T75" fmla="*/ 17 h 803"/>
                <a:gd name="T76" fmla="*/ 47 w 877"/>
                <a:gd name="T77" fmla="*/ 18 h 803"/>
                <a:gd name="T78" fmla="*/ 60 w 877"/>
                <a:gd name="T79" fmla="*/ 23 h 803"/>
                <a:gd name="T80" fmla="*/ 71 w 877"/>
                <a:gd name="T81" fmla="*/ 21 h 803"/>
                <a:gd name="T82" fmla="*/ 76 w 877"/>
                <a:gd name="T83" fmla="*/ 19 h 803"/>
                <a:gd name="T84" fmla="*/ 87 w 877"/>
                <a:gd name="T85" fmla="*/ 12 h 803"/>
                <a:gd name="T86" fmla="*/ 94 w 877"/>
                <a:gd name="T87" fmla="*/ 12 h 803"/>
                <a:gd name="T88" fmla="*/ 100 w 877"/>
                <a:gd name="T89" fmla="*/ 11 h 803"/>
                <a:gd name="T90" fmla="*/ 114 w 877"/>
                <a:gd name="T91" fmla="*/ 16 h 803"/>
                <a:gd name="T92" fmla="*/ 119 w 877"/>
                <a:gd name="T93" fmla="*/ 17 h 803"/>
                <a:gd name="T94" fmla="*/ 131 w 877"/>
                <a:gd name="T95" fmla="*/ 23 h 803"/>
                <a:gd name="T96" fmla="*/ 133 w 877"/>
                <a:gd name="T97" fmla="*/ 29 h 803"/>
                <a:gd name="T98" fmla="*/ 130 w 877"/>
                <a:gd name="T99" fmla="*/ 39 h 803"/>
                <a:gd name="T100" fmla="*/ 128 w 877"/>
                <a:gd name="T101" fmla="*/ 43 h 803"/>
                <a:gd name="T102" fmla="*/ 128 w 877"/>
                <a:gd name="T103" fmla="*/ 51 h 803"/>
                <a:gd name="T104" fmla="*/ 133 w 877"/>
                <a:gd name="T105" fmla="*/ 58 h 803"/>
                <a:gd name="T106" fmla="*/ 136 w 877"/>
                <a:gd name="T107" fmla="*/ 61 h 803"/>
                <a:gd name="T108" fmla="*/ 135 w 877"/>
                <a:gd name="T109" fmla="*/ 76 h 803"/>
                <a:gd name="T110" fmla="*/ 144 w 877"/>
                <a:gd name="T111" fmla="*/ 79 h 803"/>
                <a:gd name="T112" fmla="*/ 148 w 877"/>
                <a:gd name="T113" fmla="*/ 86 h 803"/>
                <a:gd name="T114" fmla="*/ 146 w 877"/>
                <a:gd name="T115" fmla="*/ 89 h 803"/>
                <a:gd name="T116" fmla="*/ 135 w 877"/>
                <a:gd name="T117" fmla="*/ 98 h 80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77"/>
                <a:gd name="T178" fmla="*/ 0 h 803"/>
                <a:gd name="T179" fmla="*/ 877 w 877"/>
                <a:gd name="T180" fmla="*/ 803 h 80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77" h="803">
                  <a:moveTo>
                    <a:pt x="800" y="801"/>
                  </a:moveTo>
                  <a:lnTo>
                    <a:pt x="796" y="800"/>
                  </a:lnTo>
                  <a:lnTo>
                    <a:pt x="791" y="803"/>
                  </a:lnTo>
                  <a:lnTo>
                    <a:pt x="754" y="795"/>
                  </a:lnTo>
                  <a:lnTo>
                    <a:pt x="748" y="789"/>
                  </a:lnTo>
                  <a:lnTo>
                    <a:pt x="743" y="793"/>
                  </a:lnTo>
                  <a:lnTo>
                    <a:pt x="689" y="784"/>
                  </a:lnTo>
                  <a:lnTo>
                    <a:pt x="685" y="786"/>
                  </a:lnTo>
                  <a:lnTo>
                    <a:pt x="683" y="790"/>
                  </a:lnTo>
                  <a:lnTo>
                    <a:pt x="674" y="783"/>
                  </a:lnTo>
                  <a:lnTo>
                    <a:pt x="607" y="773"/>
                  </a:lnTo>
                  <a:lnTo>
                    <a:pt x="583" y="712"/>
                  </a:lnTo>
                  <a:lnTo>
                    <a:pt x="562" y="701"/>
                  </a:lnTo>
                  <a:lnTo>
                    <a:pt x="556" y="701"/>
                  </a:lnTo>
                  <a:lnTo>
                    <a:pt x="522" y="712"/>
                  </a:lnTo>
                  <a:lnTo>
                    <a:pt x="517" y="719"/>
                  </a:lnTo>
                  <a:lnTo>
                    <a:pt x="511" y="722"/>
                  </a:lnTo>
                  <a:lnTo>
                    <a:pt x="502" y="724"/>
                  </a:lnTo>
                  <a:lnTo>
                    <a:pt x="488" y="731"/>
                  </a:lnTo>
                  <a:lnTo>
                    <a:pt x="479" y="733"/>
                  </a:lnTo>
                  <a:lnTo>
                    <a:pt x="466" y="731"/>
                  </a:lnTo>
                  <a:lnTo>
                    <a:pt x="461" y="725"/>
                  </a:lnTo>
                  <a:lnTo>
                    <a:pt x="449" y="722"/>
                  </a:lnTo>
                  <a:lnTo>
                    <a:pt x="431" y="725"/>
                  </a:lnTo>
                  <a:lnTo>
                    <a:pt x="423" y="715"/>
                  </a:lnTo>
                  <a:lnTo>
                    <a:pt x="426" y="717"/>
                  </a:lnTo>
                  <a:lnTo>
                    <a:pt x="426" y="713"/>
                  </a:lnTo>
                  <a:lnTo>
                    <a:pt x="393" y="701"/>
                  </a:lnTo>
                  <a:lnTo>
                    <a:pt x="386" y="690"/>
                  </a:lnTo>
                  <a:lnTo>
                    <a:pt x="386" y="686"/>
                  </a:lnTo>
                  <a:lnTo>
                    <a:pt x="379" y="679"/>
                  </a:lnTo>
                  <a:lnTo>
                    <a:pt x="355" y="669"/>
                  </a:lnTo>
                  <a:lnTo>
                    <a:pt x="341" y="668"/>
                  </a:lnTo>
                  <a:lnTo>
                    <a:pt x="334" y="664"/>
                  </a:lnTo>
                  <a:lnTo>
                    <a:pt x="327" y="655"/>
                  </a:lnTo>
                  <a:lnTo>
                    <a:pt x="310" y="610"/>
                  </a:lnTo>
                  <a:lnTo>
                    <a:pt x="294" y="596"/>
                  </a:lnTo>
                  <a:lnTo>
                    <a:pt x="287" y="576"/>
                  </a:lnTo>
                  <a:lnTo>
                    <a:pt x="279" y="572"/>
                  </a:lnTo>
                  <a:lnTo>
                    <a:pt x="270" y="558"/>
                  </a:lnTo>
                  <a:lnTo>
                    <a:pt x="269" y="552"/>
                  </a:lnTo>
                  <a:lnTo>
                    <a:pt x="266" y="547"/>
                  </a:lnTo>
                  <a:lnTo>
                    <a:pt x="262" y="544"/>
                  </a:lnTo>
                  <a:lnTo>
                    <a:pt x="252" y="548"/>
                  </a:lnTo>
                  <a:lnTo>
                    <a:pt x="245" y="554"/>
                  </a:lnTo>
                  <a:lnTo>
                    <a:pt x="243" y="552"/>
                  </a:lnTo>
                  <a:lnTo>
                    <a:pt x="239" y="550"/>
                  </a:lnTo>
                  <a:lnTo>
                    <a:pt x="236" y="547"/>
                  </a:lnTo>
                  <a:lnTo>
                    <a:pt x="230" y="542"/>
                  </a:lnTo>
                  <a:lnTo>
                    <a:pt x="227" y="536"/>
                  </a:lnTo>
                  <a:lnTo>
                    <a:pt x="226" y="527"/>
                  </a:lnTo>
                  <a:lnTo>
                    <a:pt x="222" y="523"/>
                  </a:lnTo>
                  <a:lnTo>
                    <a:pt x="214" y="521"/>
                  </a:lnTo>
                  <a:lnTo>
                    <a:pt x="210" y="524"/>
                  </a:lnTo>
                  <a:lnTo>
                    <a:pt x="212" y="531"/>
                  </a:lnTo>
                  <a:lnTo>
                    <a:pt x="210" y="535"/>
                  </a:lnTo>
                  <a:lnTo>
                    <a:pt x="210" y="541"/>
                  </a:lnTo>
                  <a:lnTo>
                    <a:pt x="204" y="541"/>
                  </a:lnTo>
                  <a:lnTo>
                    <a:pt x="203" y="548"/>
                  </a:lnTo>
                  <a:lnTo>
                    <a:pt x="175" y="526"/>
                  </a:lnTo>
                  <a:lnTo>
                    <a:pt x="171" y="519"/>
                  </a:lnTo>
                  <a:lnTo>
                    <a:pt x="168" y="503"/>
                  </a:lnTo>
                  <a:lnTo>
                    <a:pt x="157" y="497"/>
                  </a:lnTo>
                  <a:lnTo>
                    <a:pt x="161" y="457"/>
                  </a:lnTo>
                  <a:lnTo>
                    <a:pt x="137" y="415"/>
                  </a:lnTo>
                  <a:lnTo>
                    <a:pt x="116" y="408"/>
                  </a:lnTo>
                  <a:lnTo>
                    <a:pt x="83" y="384"/>
                  </a:lnTo>
                  <a:lnTo>
                    <a:pt x="82" y="375"/>
                  </a:lnTo>
                  <a:lnTo>
                    <a:pt x="77" y="364"/>
                  </a:lnTo>
                  <a:lnTo>
                    <a:pt x="72" y="358"/>
                  </a:lnTo>
                  <a:lnTo>
                    <a:pt x="69" y="352"/>
                  </a:lnTo>
                  <a:lnTo>
                    <a:pt x="62" y="352"/>
                  </a:lnTo>
                  <a:lnTo>
                    <a:pt x="57" y="348"/>
                  </a:lnTo>
                  <a:lnTo>
                    <a:pt x="54" y="335"/>
                  </a:lnTo>
                  <a:lnTo>
                    <a:pt x="58" y="333"/>
                  </a:lnTo>
                  <a:lnTo>
                    <a:pt x="60" y="328"/>
                  </a:lnTo>
                  <a:lnTo>
                    <a:pt x="63" y="307"/>
                  </a:lnTo>
                  <a:lnTo>
                    <a:pt x="66" y="301"/>
                  </a:lnTo>
                  <a:lnTo>
                    <a:pt x="73" y="298"/>
                  </a:lnTo>
                  <a:lnTo>
                    <a:pt x="73" y="292"/>
                  </a:lnTo>
                  <a:lnTo>
                    <a:pt x="92" y="265"/>
                  </a:lnTo>
                  <a:lnTo>
                    <a:pt x="88" y="250"/>
                  </a:lnTo>
                  <a:lnTo>
                    <a:pt x="92" y="238"/>
                  </a:lnTo>
                  <a:lnTo>
                    <a:pt x="98" y="232"/>
                  </a:lnTo>
                  <a:lnTo>
                    <a:pt x="66" y="227"/>
                  </a:lnTo>
                  <a:lnTo>
                    <a:pt x="58" y="219"/>
                  </a:lnTo>
                  <a:lnTo>
                    <a:pt x="51" y="199"/>
                  </a:lnTo>
                  <a:lnTo>
                    <a:pt x="42" y="192"/>
                  </a:lnTo>
                  <a:lnTo>
                    <a:pt x="34" y="178"/>
                  </a:lnTo>
                  <a:lnTo>
                    <a:pt x="29" y="136"/>
                  </a:lnTo>
                  <a:lnTo>
                    <a:pt x="18" y="123"/>
                  </a:lnTo>
                  <a:lnTo>
                    <a:pt x="7" y="116"/>
                  </a:lnTo>
                  <a:lnTo>
                    <a:pt x="7" y="49"/>
                  </a:lnTo>
                  <a:lnTo>
                    <a:pt x="0" y="27"/>
                  </a:lnTo>
                  <a:lnTo>
                    <a:pt x="12" y="21"/>
                  </a:lnTo>
                  <a:lnTo>
                    <a:pt x="20" y="0"/>
                  </a:lnTo>
                  <a:lnTo>
                    <a:pt x="59" y="52"/>
                  </a:lnTo>
                  <a:lnTo>
                    <a:pt x="115" y="55"/>
                  </a:lnTo>
                  <a:lnTo>
                    <a:pt x="131" y="31"/>
                  </a:lnTo>
                  <a:lnTo>
                    <a:pt x="148" y="15"/>
                  </a:lnTo>
                  <a:lnTo>
                    <a:pt x="170" y="10"/>
                  </a:lnTo>
                  <a:lnTo>
                    <a:pt x="185" y="19"/>
                  </a:lnTo>
                  <a:lnTo>
                    <a:pt x="183" y="30"/>
                  </a:lnTo>
                  <a:lnTo>
                    <a:pt x="190" y="46"/>
                  </a:lnTo>
                  <a:lnTo>
                    <a:pt x="177" y="55"/>
                  </a:lnTo>
                  <a:lnTo>
                    <a:pt x="174" y="59"/>
                  </a:lnTo>
                  <a:lnTo>
                    <a:pt x="183" y="63"/>
                  </a:lnTo>
                  <a:lnTo>
                    <a:pt x="188" y="68"/>
                  </a:lnTo>
                  <a:lnTo>
                    <a:pt x="194" y="71"/>
                  </a:lnTo>
                  <a:lnTo>
                    <a:pt x="200" y="76"/>
                  </a:lnTo>
                  <a:lnTo>
                    <a:pt x="212" y="79"/>
                  </a:lnTo>
                  <a:lnTo>
                    <a:pt x="215" y="77"/>
                  </a:lnTo>
                  <a:lnTo>
                    <a:pt x="226" y="130"/>
                  </a:lnTo>
                  <a:lnTo>
                    <a:pt x="236" y="137"/>
                  </a:lnTo>
                  <a:lnTo>
                    <a:pt x="254" y="142"/>
                  </a:lnTo>
                  <a:lnTo>
                    <a:pt x="274" y="142"/>
                  </a:lnTo>
                  <a:lnTo>
                    <a:pt x="280" y="147"/>
                  </a:lnTo>
                  <a:lnTo>
                    <a:pt x="287" y="160"/>
                  </a:lnTo>
                  <a:lnTo>
                    <a:pt x="315" y="179"/>
                  </a:lnTo>
                  <a:lnTo>
                    <a:pt x="354" y="189"/>
                  </a:lnTo>
                  <a:lnTo>
                    <a:pt x="434" y="168"/>
                  </a:lnTo>
                  <a:lnTo>
                    <a:pt x="431" y="171"/>
                  </a:lnTo>
                  <a:lnTo>
                    <a:pt x="420" y="174"/>
                  </a:lnTo>
                  <a:lnTo>
                    <a:pt x="434" y="175"/>
                  </a:lnTo>
                  <a:lnTo>
                    <a:pt x="454" y="172"/>
                  </a:lnTo>
                  <a:lnTo>
                    <a:pt x="453" y="156"/>
                  </a:lnTo>
                  <a:lnTo>
                    <a:pt x="447" y="138"/>
                  </a:lnTo>
                  <a:lnTo>
                    <a:pt x="473" y="135"/>
                  </a:lnTo>
                  <a:lnTo>
                    <a:pt x="514" y="101"/>
                  </a:lnTo>
                  <a:lnTo>
                    <a:pt x="536" y="98"/>
                  </a:lnTo>
                  <a:lnTo>
                    <a:pt x="546" y="101"/>
                  </a:lnTo>
                  <a:lnTo>
                    <a:pt x="555" y="101"/>
                  </a:lnTo>
                  <a:lnTo>
                    <a:pt x="560" y="96"/>
                  </a:lnTo>
                  <a:lnTo>
                    <a:pt x="561" y="90"/>
                  </a:lnTo>
                  <a:lnTo>
                    <a:pt x="591" y="89"/>
                  </a:lnTo>
                  <a:lnTo>
                    <a:pt x="611" y="108"/>
                  </a:lnTo>
                  <a:lnTo>
                    <a:pt x="663" y="128"/>
                  </a:lnTo>
                  <a:lnTo>
                    <a:pt x="673" y="125"/>
                  </a:lnTo>
                  <a:lnTo>
                    <a:pt x="684" y="128"/>
                  </a:lnTo>
                  <a:lnTo>
                    <a:pt x="692" y="132"/>
                  </a:lnTo>
                  <a:lnTo>
                    <a:pt x="701" y="142"/>
                  </a:lnTo>
                  <a:lnTo>
                    <a:pt x="704" y="154"/>
                  </a:lnTo>
                  <a:lnTo>
                    <a:pt x="756" y="188"/>
                  </a:lnTo>
                  <a:lnTo>
                    <a:pt x="778" y="188"/>
                  </a:lnTo>
                  <a:lnTo>
                    <a:pt x="782" y="192"/>
                  </a:lnTo>
                  <a:lnTo>
                    <a:pt x="782" y="223"/>
                  </a:lnTo>
                  <a:lnTo>
                    <a:pt x="784" y="231"/>
                  </a:lnTo>
                  <a:lnTo>
                    <a:pt x="777" y="287"/>
                  </a:lnTo>
                  <a:lnTo>
                    <a:pt x="766" y="304"/>
                  </a:lnTo>
                  <a:lnTo>
                    <a:pt x="766" y="317"/>
                  </a:lnTo>
                  <a:lnTo>
                    <a:pt x="748" y="324"/>
                  </a:lnTo>
                  <a:lnTo>
                    <a:pt x="748" y="349"/>
                  </a:lnTo>
                  <a:lnTo>
                    <a:pt x="759" y="353"/>
                  </a:lnTo>
                  <a:lnTo>
                    <a:pt x="760" y="362"/>
                  </a:lnTo>
                  <a:lnTo>
                    <a:pt x="751" y="392"/>
                  </a:lnTo>
                  <a:lnTo>
                    <a:pt x="758" y="416"/>
                  </a:lnTo>
                  <a:lnTo>
                    <a:pt x="759" y="456"/>
                  </a:lnTo>
                  <a:lnTo>
                    <a:pt x="768" y="464"/>
                  </a:lnTo>
                  <a:lnTo>
                    <a:pt x="788" y="469"/>
                  </a:lnTo>
                  <a:lnTo>
                    <a:pt x="796" y="476"/>
                  </a:lnTo>
                  <a:lnTo>
                    <a:pt x="802" y="490"/>
                  </a:lnTo>
                  <a:lnTo>
                    <a:pt x="802" y="502"/>
                  </a:lnTo>
                  <a:lnTo>
                    <a:pt x="764" y="565"/>
                  </a:lnTo>
                  <a:lnTo>
                    <a:pt x="782" y="583"/>
                  </a:lnTo>
                  <a:lnTo>
                    <a:pt x="800" y="618"/>
                  </a:lnTo>
                  <a:lnTo>
                    <a:pt x="823" y="635"/>
                  </a:lnTo>
                  <a:lnTo>
                    <a:pt x="846" y="641"/>
                  </a:lnTo>
                  <a:lnTo>
                    <a:pt x="851" y="647"/>
                  </a:lnTo>
                  <a:lnTo>
                    <a:pt x="855" y="693"/>
                  </a:lnTo>
                  <a:lnTo>
                    <a:pt x="871" y="696"/>
                  </a:lnTo>
                  <a:lnTo>
                    <a:pt x="876" y="700"/>
                  </a:lnTo>
                  <a:lnTo>
                    <a:pt x="877" y="708"/>
                  </a:lnTo>
                  <a:lnTo>
                    <a:pt x="874" y="713"/>
                  </a:lnTo>
                  <a:lnTo>
                    <a:pt x="863" y="725"/>
                  </a:lnTo>
                  <a:lnTo>
                    <a:pt x="828" y="735"/>
                  </a:lnTo>
                  <a:lnTo>
                    <a:pt x="811" y="753"/>
                  </a:lnTo>
                  <a:lnTo>
                    <a:pt x="800" y="80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7" name="Freeform 84"/>
            <p:cNvSpPr>
              <a:spLocks/>
            </p:cNvSpPr>
            <p:nvPr/>
          </p:nvSpPr>
          <p:spPr bwMode="auto">
            <a:xfrm>
              <a:off x="4614114" y="1672142"/>
              <a:ext cx="615397" cy="502803"/>
            </a:xfrm>
            <a:custGeom>
              <a:avLst/>
              <a:gdLst>
                <a:gd name="T0" fmla="*/ 4 w 512"/>
                <a:gd name="T1" fmla="*/ 17 h 505"/>
                <a:gd name="T2" fmla="*/ 1 w 512"/>
                <a:gd name="T3" fmla="*/ 13 h 505"/>
                <a:gd name="T4" fmla="*/ 0 w 512"/>
                <a:gd name="T5" fmla="*/ 10 h 505"/>
                <a:gd name="T6" fmla="*/ 1 w 512"/>
                <a:gd name="T7" fmla="*/ 9 h 505"/>
                <a:gd name="T8" fmla="*/ 2 w 512"/>
                <a:gd name="T9" fmla="*/ 9 h 505"/>
                <a:gd name="T10" fmla="*/ 1 w 512"/>
                <a:gd name="T11" fmla="*/ 2 h 505"/>
                <a:gd name="T12" fmla="*/ 2 w 512"/>
                <a:gd name="T13" fmla="*/ 1 h 505"/>
                <a:gd name="T14" fmla="*/ 4 w 512"/>
                <a:gd name="T15" fmla="*/ 0 h 505"/>
                <a:gd name="T16" fmla="*/ 5 w 512"/>
                <a:gd name="T17" fmla="*/ 1 h 505"/>
                <a:gd name="T18" fmla="*/ 18 w 512"/>
                <a:gd name="T19" fmla="*/ 1 h 505"/>
                <a:gd name="T20" fmla="*/ 25 w 512"/>
                <a:gd name="T21" fmla="*/ 3 h 505"/>
                <a:gd name="T22" fmla="*/ 30 w 512"/>
                <a:gd name="T23" fmla="*/ 4 h 505"/>
                <a:gd name="T24" fmla="*/ 44 w 512"/>
                <a:gd name="T25" fmla="*/ 2 h 505"/>
                <a:gd name="T26" fmla="*/ 48 w 512"/>
                <a:gd name="T27" fmla="*/ 1 h 505"/>
                <a:gd name="T28" fmla="*/ 46 w 512"/>
                <a:gd name="T29" fmla="*/ 2 h 505"/>
                <a:gd name="T30" fmla="*/ 49 w 512"/>
                <a:gd name="T31" fmla="*/ 2 h 505"/>
                <a:gd name="T32" fmla="*/ 50 w 512"/>
                <a:gd name="T33" fmla="*/ 1 h 505"/>
                <a:gd name="T34" fmla="*/ 56 w 512"/>
                <a:gd name="T35" fmla="*/ 1 h 505"/>
                <a:gd name="T36" fmla="*/ 57 w 512"/>
                <a:gd name="T37" fmla="*/ 1 h 505"/>
                <a:gd name="T38" fmla="*/ 58 w 512"/>
                <a:gd name="T39" fmla="*/ 2 h 505"/>
                <a:gd name="T40" fmla="*/ 59 w 512"/>
                <a:gd name="T41" fmla="*/ 3 h 505"/>
                <a:gd name="T42" fmla="*/ 62 w 512"/>
                <a:gd name="T43" fmla="*/ 4 h 505"/>
                <a:gd name="T44" fmla="*/ 65 w 512"/>
                <a:gd name="T45" fmla="*/ 3 h 505"/>
                <a:gd name="T46" fmla="*/ 66 w 512"/>
                <a:gd name="T47" fmla="*/ 4 h 505"/>
                <a:gd name="T48" fmla="*/ 74 w 512"/>
                <a:gd name="T49" fmla="*/ 2 h 505"/>
                <a:gd name="T50" fmla="*/ 76 w 512"/>
                <a:gd name="T51" fmla="*/ 22 h 505"/>
                <a:gd name="T52" fmla="*/ 76 w 512"/>
                <a:gd name="T53" fmla="*/ 24 h 505"/>
                <a:gd name="T54" fmla="*/ 75 w 512"/>
                <a:gd name="T55" fmla="*/ 25 h 505"/>
                <a:gd name="T56" fmla="*/ 67 w 512"/>
                <a:gd name="T57" fmla="*/ 19 h 505"/>
                <a:gd name="T58" fmla="*/ 63 w 512"/>
                <a:gd name="T59" fmla="*/ 13 h 505"/>
                <a:gd name="T60" fmla="*/ 62 w 512"/>
                <a:gd name="T61" fmla="*/ 11 h 505"/>
                <a:gd name="T62" fmla="*/ 62 w 512"/>
                <a:gd name="T63" fmla="*/ 10 h 505"/>
                <a:gd name="T64" fmla="*/ 62 w 512"/>
                <a:gd name="T65" fmla="*/ 11 h 505"/>
                <a:gd name="T66" fmla="*/ 60 w 512"/>
                <a:gd name="T67" fmla="*/ 13 h 505"/>
                <a:gd name="T68" fmla="*/ 62 w 512"/>
                <a:gd name="T69" fmla="*/ 14 h 505"/>
                <a:gd name="T70" fmla="*/ 63 w 512"/>
                <a:gd name="T71" fmla="*/ 17 h 505"/>
                <a:gd name="T72" fmla="*/ 69 w 512"/>
                <a:gd name="T73" fmla="*/ 23 h 505"/>
                <a:gd name="T74" fmla="*/ 70 w 512"/>
                <a:gd name="T75" fmla="*/ 26 h 505"/>
                <a:gd name="T76" fmla="*/ 86 w 512"/>
                <a:gd name="T77" fmla="*/ 47 h 505"/>
                <a:gd name="T78" fmla="*/ 87 w 512"/>
                <a:gd name="T79" fmla="*/ 48 h 505"/>
                <a:gd name="T80" fmla="*/ 85 w 512"/>
                <a:gd name="T81" fmla="*/ 48 h 505"/>
                <a:gd name="T82" fmla="*/ 85 w 512"/>
                <a:gd name="T83" fmla="*/ 48 h 505"/>
                <a:gd name="T84" fmla="*/ 85 w 512"/>
                <a:gd name="T85" fmla="*/ 52 h 505"/>
                <a:gd name="T86" fmla="*/ 83 w 512"/>
                <a:gd name="T87" fmla="*/ 55 h 505"/>
                <a:gd name="T88" fmla="*/ 79 w 512"/>
                <a:gd name="T89" fmla="*/ 57 h 505"/>
                <a:gd name="T90" fmla="*/ 73 w 512"/>
                <a:gd name="T91" fmla="*/ 61 h 505"/>
                <a:gd name="T92" fmla="*/ 67 w 512"/>
                <a:gd name="T93" fmla="*/ 60 h 505"/>
                <a:gd name="T94" fmla="*/ 54 w 512"/>
                <a:gd name="T95" fmla="*/ 58 h 505"/>
                <a:gd name="T96" fmla="*/ 54 w 512"/>
                <a:gd name="T97" fmla="*/ 58 h 505"/>
                <a:gd name="T98" fmla="*/ 52 w 512"/>
                <a:gd name="T99" fmla="*/ 60 h 505"/>
                <a:gd name="T100" fmla="*/ 4 w 512"/>
                <a:gd name="T101" fmla="*/ 56 h 5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12"/>
                <a:gd name="T154" fmla="*/ 0 h 505"/>
                <a:gd name="T155" fmla="*/ 512 w 512"/>
                <a:gd name="T156" fmla="*/ 505 h 5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12" h="505">
                  <a:moveTo>
                    <a:pt x="22" y="462"/>
                  </a:moveTo>
                  <a:lnTo>
                    <a:pt x="22" y="138"/>
                  </a:lnTo>
                  <a:lnTo>
                    <a:pt x="7" y="122"/>
                  </a:lnTo>
                  <a:lnTo>
                    <a:pt x="9" y="112"/>
                  </a:lnTo>
                  <a:lnTo>
                    <a:pt x="2" y="101"/>
                  </a:lnTo>
                  <a:lnTo>
                    <a:pt x="0" y="83"/>
                  </a:lnTo>
                  <a:lnTo>
                    <a:pt x="1" y="80"/>
                  </a:lnTo>
                  <a:lnTo>
                    <a:pt x="4" y="76"/>
                  </a:lnTo>
                  <a:lnTo>
                    <a:pt x="11" y="72"/>
                  </a:lnTo>
                  <a:lnTo>
                    <a:pt x="12" y="71"/>
                  </a:lnTo>
                  <a:lnTo>
                    <a:pt x="9" y="26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13" y="9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5" y="5"/>
                  </a:lnTo>
                  <a:lnTo>
                    <a:pt x="30" y="7"/>
                  </a:lnTo>
                  <a:lnTo>
                    <a:pt x="57" y="3"/>
                  </a:lnTo>
                  <a:lnTo>
                    <a:pt x="103" y="10"/>
                  </a:lnTo>
                  <a:lnTo>
                    <a:pt x="129" y="23"/>
                  </a:lnTo>
                  <a:lnTo>
                    <a:pt x="149" y="26"/>
                  </a:lnTo>
                  <a:lnTo>
                    <a:pt x="156" y="31"/>
                  </a:lnTo>
                  <a:lnTo>
                    <a:pt x="179" y="33"/>
                  </a:lnTo>
                  <a:lnTo>
                    <a:pt x="200" y="44"/>
                  </a:lnTo>
                  <a:lnTo>
                    <a:pt x="261" y="12"/>
                  </a:lnTo>
                  <a:lnTo>
                    <a:pt x="282" y="8"/>
                  </a:lnTo>
                  <a:lnTo>
                    <a:pt x="282" y="10"/>
                  </a:lnTo>
                  <a:lnTo>
                    <a:pt x="271" y="14"/>
                  </a:lnTo>
                  <a:lnTo>
                    <a:pt x="269" y="17"/>
                  </a:lnTo>
                  <a:lnTo>
                    <a:pt x="271" y="18"/>
                  </a:lnTo>
                  <a:lnTo>
                    <a:pt x="288" y="14"/>
                  </a:lnTo>
                  <a:lnTo>
                    <a:pt x="292" y="12"/>
                  </a:lnTo>
                  <a:lnTo>
                    <a:pt x="296" y="7"/>
                  </a:lnTo>
                  <a:lnTo>
                    <a:pt x="302" y="9"/>
                  </a:lnTo>
                  <a:lnTo>
                    <a:pt x="327" y="10"/>
                  </a:lnTo>
                  <a:lnTo>
                    <a:pt x="335" y="6"/>
                  </a:lnTo>
                  <a:lnTo>
                    <a:pt x="336" y="8"/>
                  </a:lnTo>
                  <a:lnTo>
                    <a:pt x="338" y="12"/>
                  </a:lnTo>
                  <a:lnTo>
                    <a:pt x="342" y="14"/>
                  </a:lnTo>
                  <a:lnTo>
                    <a:pt x="345" y="18"/>
                  </a:lnTo>
                  <a:lnTo>
                    <a:pt x="349" y="21"/>
                  </a:lnTo>
                  <a:lnTo>
                    <a:pt x="356" y="24"/>
                  </a:lnTo>
                  <a:lnTo>
                    <a:pt x="364" y="33"/>
                  </a:lnTo>
                  <a:lnTo>
                    <a:pt x="381" y="33"/>
                  </a:lnTo>
                  <a:lnTo>
                    <a:pt x="384" y="30"/>
                  </a:lnTo>
                  <a:lnTo>
                    <a:pt x="388" y="29"/>
                  </a:lnTo>
                  <a:lnTo>
                    <a:pt x="391" y="35"/>
                  </a:lnTo>
                  <a:lnTo>
                    <a:pt x="411" y="31"/>
                  </a:lnTo>
                  <a:lnTo>
                    <a:pt x="435" y="18"/>
                  </a:lnTo>
                  <a:lnTo>
                    <a:pt x="469" y="121"/>
                  </a:lnTo>
                  <a:lnTo>
                    <a:pt x="451" y="184"/>
                  </a:lnTo>
                  <a:lnTo>
                    <a:pt x="451" y="190"/>
                  </a:lnTo>
                  <a:lnTo>
                    <a:pt x="450" y="196"/>
                  </a:lnTo>
                  <a:lnTo>
                    <a:pt x="447" y="199"/>
                  </a:lnTo>
                  <a:lnTo>
                    <a:pt x="441" y="203"/>
                  </a:lnTo>
                  <a:lnTo>
                    <a:pt x="433" y="202"/>
                  </a:lnTo>
                  <a:lnTo>
                    <a:pt x="397" y="158"/>
                  </a:lnTo>
                  <a:lnTo>
                    <a:pt x="396" y="147"/>
                  </a:lnTo>
                  <a:lnTo>
                    <a:pt x="373" y="113"/>
                  </a:lnTo>
                  <a:lnTo>
                    <a:pt x="370" y="96"/>
                  </a:lnTo>
                  <a:lnTo>
                    <a:pt x="367" y="91"/>
                  </a:lnTo>
                  <a:lnTo>
                    <a:pt x="366" y="88"/>
                  </a:lnTo>
                  <a:lnTo>
                    <a:pt x="365" y="87"/>
                  </a:lnTo>
                  <a:lnTo>
                    <a:pt x="361" y="90"/>
                  </a:lnTo>
                  <a:lnTo>
                    <a:pt x="363" y="94"/>
                  </a:lnTo>
                  <a:lnTo>
                    <a:pt x="359" y="100"/>
                  </a:lnTo>
                  <a:lnTo>
                    <a:pt x="358" y="109"/>
                  </a:lnTo>
                  <a:lnTo>
                    <a:pt x="359" y="113"/>
                  </a:lnTo>
                  <a:lnTo>
                    <a:pt x="366" y="120"/>
                  </a:lnTo>
                  <a:lnTo>
                    <a:pt x="369" y="129"/>
                  </a:lnTo>
                  <a:lnTo>
                    <a:pt x="369" y="140"/>
                  </a:lnTo>
                  <a:lnTo>
                    <a:pt x="384" y="170"/>
                  </a:lnTo>
                  <a:lnTo>
                    <a:pt x="404" y="192"/>
                  </a:lnTo>
                  <a:lnTo>
                    <a:pt x="408" y="194"/>
                  </a:lnTo>
                  <a:lnTo>
                    <a:pt x="411" y="214"/>
                  </a:lnTo>
                  <a:lnTo>
                    <a:pt x="484" y="372"/>
                  </a:lnTo>
                  <a:lnTo>
                    <a:pt x="506" y="393"/>
                  </a:lnTo>
                  <a:lnTo>
                    <a:pt x="509" y="394"/>
                  </a:lnTo>
                  <a:lnTo>
                    <a:pt x="512" y="398"/>
                  </a:lnTo>
                  <a:lnTo>
                    <a:pt x="512" y="400"/>
                  </a:lnTo>
                  <a:lnTo>
                    <a:pt x="500" y="398"/>
                  </a:lnTo>
                  <a:lnTo>
                    <a:pt x="498" y="399"/>
                  </a:lnTo>
                  <a:lnTo>
                    <a:pt x="497" y="400"/>
                  </a:lnTo>
                  <a:lnTo>
                    <a:pt x="500" y="408"/>
                  </a:lnTo>
                  <a:lnTo>
                    <a:pt x="501" y="429"/>
                  </a:lnTo>
                  <a:lnTo>
                    <a:pt x="505" y="440"/>
                  </a:lnTo>
                  <a:lnTo>
                    <a:pt x="486" y="456"/>
                  </a:lnTo>
                  <a:lnTo>
                    <a:pt x="475" y="451"/>
                  </a:lnTo>
                  <a:lnTo>
                    <a:pt x="464" y="477"/>
                  </a:lnTo>
                  <a:lnTo>
                    <a:pt x="440" y="483"/>
                  </a:lnTo>
                  <a:lnTo>
                    <a:pt x="433" y="504"/>
                  </a:lnTo>
                  <a:lnTo>
                    <a:pt x="412" y="505"/>
                  </a:lnTo>
                  <a:lnTo>
                    <a:pt x="395" y="495"/>
                  </a:lnTo>
                  <a:lnTo>
                    <a:pt x="315" y="494"/>
                  </a:lnTo>
                  <a:lnTo>
                    <a:pt x="319" y="485"/>
                  </a:lnTo>
                  <a:lnTo>
                    <a:pt x="317" y="485"/>
                  </a:lnTo>
                  <a:lnTo>
                    <a:pt x="315" y="483"/>
                  </a:lnTo>
                  <a:lnTo>
                    <a:pt x="313" y="483"/>
                  </a:lnTo>
                  <a:lnTo>
                    <a:pt x="305" y="494"/>
                  </a:lnTo>
                  <a:lnTo>
                    <a:pt x="22" y="494"/>
                  </a:lnTo>
                  <a:lnTo>
                    <a:pt x="22" y="46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8" name="Freeform 85"/>
            <p:cNvSpPr>
              <a:spLocks/>
            </p:cNvSpPr>
            <p:nvPr/>
          </p:nvSpPr>
          <p:spPr bwMode="auto">
            <a:xfrm>
              <a:off x="4614114" y="1672142"/>
              <a:ext cx="615397" cy="502803"/>
            </a:xfrm>
            <a:custGeom>
              <a:avLst/>
              <a:gdLst>
                <a:gd name="T0" fmla="*/ 4 w 512"/>
                <a:gd name="T1" fmla="*/ 17 h 505"/>
                <a:gd name="T2" fmla="*/ 1 w 512"/>
                <a:gd name="T3" fmla="*/ 13 h 505"/>
                <a:gd name="T4" fmla="*/ 0 w 512"/>
                <a:gd name="T5" fmla="*/ 10 h 505"/>
                <a:gd name="T6" fmla="*/ 1 w 512"/>
                <a:gd name="T7" fmla="*/ 9 h 505"/>
                <a:gd name="T8" fmla="*/ 2 w 512"/>
                <a:gd name="T9" fmla="*/ 9 h 505"/>
                <a:gd name="T10" fmla="*/ 1 w 512"/>
                <a:gd name="T11" fmla="*/ 2 h 505"/>
                <a:gd name="T12" fmla="*/ 2 w 512"/>
                <a:gd name="T13" fmla="*/ 1 h 505"/>
                <a:gd name="T14" fmla="*/ 4 w 512"/>
                <a:gd name="T15" fmla="*/ 0 h 505"/>
                <a:gd name="T16" fmla="*/ 5 w 512"/>
                <a:gd name="T17" fmla="*/ 1 h 505"/>
                <a:gd name="T18" fmla="*/ 18 w 512"/>
                <a:gd name="T19" fmla="*/ 1 h 505"/>
                <a:gd name="T20" fmla="*/ 25 w 512"/>
                <a:gd name="T21" fmla="*/ 3 h 505"/>
                <a:gd name="T22" fmla="*/ 30 w 512"/>
                <a:gd name="T23" fmla="*/ 4 h 505"/>
                <a:gd name="T24" fmla="*/ 44 w 512"/>
                <a:gd name="T25" fmla="*/ 2 h 505"/>
                <a:gd name="T26" fmla="*/ 48 w 512"/>
                <a:gd name="T27" fmla="*/ 1 h 505"/>
                <a:gd name="T28" fmla="*/ 46 w 512"/>
                <a:gd name="T29" fmla="*/ 2 h 505"/>
                <a:gd name="T30" fmla="*/ 49 w 512"/>
                <a:gd name="T31" fmla="*/ 2 h 505"/>
                <a:gd name="T32" fmla="*/ 50 w 512"/>
                <a:gd name="T33" fmla="*/ 1 h 505"/>
                <a:gd name="T34" fmla="*/ 56 w 512"/>
                <a:gd name="T35" fmla="*/ 1 h 505"/>
                <a:gd name="T36" fmla="*/ 57 w 512"/>
                <a:gd name="T37" fmla="*/ 1 h 505"/>
                <a:gd name="T38" fmla="*/ 58 w 512"/>
                <a:gd name="T39" fmla="*/ 2 h 505"/>
                <a:gd name="T40" fmla="*/ 59 w 512"/>
                <a:gd name="T41" fmla="*/ 3 h 505"/>
                <a:gd name="T42" fmla="*/ 62 w 512"/>
                <a:gd name="T43" fmla="*/ 4 h 505"/>
                <a:gd name="T44" fmla="*/ 65 w 512"/>
                <a:gd name="T45" fmla="*/ 3 h 505"/>
                <a:gd name="T46" fmla="*/ 66 w 512"/>
                <a:gd name="T47" fmla="*/ 4 h 505"/>
                <a:gd name="T48" fmla="*/ 74 w 512"/>
                <a:gd name="T49" fmla="*/ 2 h 505"/>
                <a:gd name="T50" fmla="*/ 76 w 512"/>
                <a:gd name="T51" fmla="*/ 22 h 505"/>
                <a:gd name="T52" fmla="*/ 76 w 512"/>
                <a:gd name="T53" fmla="*/ 24 h 505"/>
                <a:gd name="T54" fmla="*/ 75 w 512"/>
                <a:gd name="T55" fmla="*/ 25 h 505"/>
                <a:gd name="T56" fmla="*/ 67 w 512"/>
                <a:gd name="T57" fmla="*/ 19 h 505"/>
                <a:gd name="T58" fmla="*/ 63 w 512"/>
                <a:gd name="T59" fmla="*/ 13 h 505"/>
                <a:gd name="T60" fmla="*/ 62 w 512"/>
                <a:gd name="T61" fmla="*/ 11 h 505"/>
                <a:gd name="T62" fmla="*/ 62 w 512"/>
                <a:gd name="T63" fmla="*/ 10 h 505"/>
                <a:gd name="T64" fmla="*/ 62 w 512"/>
                <a:gd name="T65" fmla="*/ 11 h 505"/>
                <a:gd name="T66" fmla="*/ 60 w 512"/>
                <a:gd name="T67" fmla="*/ 13 h 505"/>
                <a:gd name="T68" fmla="*/ 62 w 512"/>
                <a:gd name="T69" fmla="*/ 14 h 505"/>
                <a:gd name="T70" fmla="*/ 63 w 512"/>
                <a:gd name="T71" fmla="*/ 17 h 505"/>
                <a:gd name="T72" fmla="*/ 69 w 512"/>
                <a:gd name="T73" fmla="*/ 23 h 505"/>
                <a:gd name="T74" fmla="*/ 70 w 512"/>
                <a:gd name="T75" fmla="*/ 26 h 505"/>
                <a:gd name="T76" fmla="*/ 86 w 512"/>
                <a:gd name="T77" fmla="*/ 47 h 505"/>
                <a:gd name="T78" fmla="*/ 87 w 512"/>
                <a:gd name="T79" fmla="*/ 48 h 505"/>
                <a:gd name="T80" fmla="*/ 85 w 512"/>
                <a:gd name="T81" fmla="*/ 48 h 505"/>
                <a:gd name="T82" fmla="*/ 85 w 512"/>
                <a:gd name="T83" fmla="*/ 48 h 505"/>
                <a:gd name="T84" fmla="*/ 85 w 512"/>
                <a:gd name="T85" fmla="*/ 52 h 505"/>
                <a:gd name="T86" fmla="*/ 83 w 512"/>
                <a:gd name="T87" fmla="*/ 55 h 505"/>
                <a:gd name="T88" fmla="*/ 79 w 512"/>
                <a:gd name="T89" fmla="*/ 57 h 505"/>
                <a:gd name="T90" fmla="*/ 73 w 512"/>
                <a:gd name="T91" fmla="*/ 61 h 505"/>
                <a:gd name="T92" fmla="*/ 67 w 512"/>
                <a:gd name="T93" fmla="*/ 60 h 505"/>
                <a:gd name="T94" fmla="*/ 54 w 512"/>
                <a:gd name="T95" fmla="*/ 58 h 505"/>
                <a:gd name="T96" fmla="*/ 54 w 512"/>
                <a:gd name="T97" fmla="*/ 58 h 505"/>
                <a:gd name="T98" fmla="*/ 52 w 512"/>
                <a:gd name="T99" fmla="*/ 60 h 505"/>
                <a:gd name="T100" fmla="*/ 4 w 512"/>
                <a:gd name="T101" fmla="*/ 56 h 50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12"/>
                <a:gd name="T154" fmla="*/ 0 h 505"/>
                <a:gd name="T155" fmla="*/ 512 w 512"/>
                <a:gd name="T156" fmla="*/ 505 h 50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12" h="505">
                  <a:moveTo>
                    <a:pt x="22" y="462"/>
                  </a:moveTo>
                  <a:lnTo>
                    <a:pt x="22" y="138"/>
                  </a:lnTo>
                  <a:lnTo>
                    <a:pt x="7" y="122"/>
                  </a:lnTo>
                  <a:lnTo>
                    <a:pt x="9" y="112"/>
                  </a:lnTo>
                  <a:lnTo>
                    <a:pt x="2" y="101"/>
                  </a:lnTo>
                  <a:lnTo>
                    <a:pt x="0" y="83"/>
                  </a:lnTo>
                  <a:lnTo>
                    <a:pt x="1" y="80"/>
                  </a:lnTo>
                  <a:lnTo>
                    <a:pt x="4" y="76"/>
                  </a:lnTo>
                  <a:lnTo>
                    <a:pt x="11" y="72"/>
                  </a:lnTo>
                  <a:lnTo>
                    <a:pt x="12" y="71"/>
                  </a:lnTo>
                  <a:lnTo>
                    <a:pt x="9" y="26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13" y="9"/>
                  </a:lnTo>
                  <a:lnTo>
                    <a:pt x="16" y="1"/>
                  </a:lnTo>
                  <a:lnTo>
                    <a:pt x="22" y="0"/>
                  </a:lnTo>
                  <a:lnTo>
                    <a:pt x="25" y="5"/>
                  </a:lnTo>
                  <a:lnTo>
                    <a:pt x="30" y="7"/>
                  </a:lnTo>
                  <a:lnTo>
                    <a:pt x="57" y="3"/>
                  </a:lnTo>
                  <a:lnTo>
                    <a:pt x="103" y="10"/>
                  </a:lnTo>
                  <a:lnTo>
                    <a:pt x="129" y="23"/>
                  </a:lnTo>
                  <a:lnTo>
                    <a:pt x="149" y="26"/>
                  </a:lnTo>
                  <a:lnTo>
                    <a:pt x="156" y="31"/>
                  </a:lnTo>
                  <a:lnTo>
                    <a:pt x="179" y="33"/>
                  </a:lnTo>
                  <a:lnTo>
                    <a:pt x="200" y="44"/>
                  </a:lnTo>
                  <a:lnTo>
                    <a:pt x="261" y="12"/>
                  </a:lnTo>
                  <a:lnTo>
                    <a:pt x="282" y="8"/>
                  </a:lnTo>
                  <a:lnTo>
                    <a:pt x="282" y="10"/>
                  </a:lnTo>
                  <a:lnTo>
                    <a:pt x="271" y="14"/>
                  </a:lnTo>
                  <a:lnTo>
                    <a:pt x="269" y="17"/>
                  </a:lnTo>
                  <a:lnTo>
                    <a:pt x="271" y="18"/>
                  </a:lnTo>
                  <a:lnTo>
                    <a:pt x="288" y="14"/>
                  </a:lnTo>
                  <a:lnTo>
                    <a:pt x="292" y="12"/>
                  </a:lnTo>
                  <a:lnTo>
                    <a:pt x="296" y="7"/>
                  </a:lnTo>
                  <a:lnTo>
                    <a:pt x="302" y="9"/>
                  </a:lnTo>
                  <a:lnTo>
                    <a:pt x="327" y="10"/>
                  </a:lnTo>
                  <a:lnTo>
                    <a:pt x="335" y="6"/>
                  </a:lnTo>
                  <a:lnTo>
                    <a:pt x="336" y="8"/>
                  </a:lnTo>
                  <a:lnTo>
                    <a:pt x="338" y="12"/>
                  </a:lnTo>
                  <a:lnTo>
                    <a:pt x="342" y="14"/>
                  </a:lnTo>
                  <a:lnTo>
                    <a:pt x="345" y="18"/>
                  </a:lnTo>
                  <a:lnTo>
                    <a:pt x="349" y="21"/>
                  </a:lnTo>
                  <a:lnTo>
                    <a:pt x="356" y="24"/>
                  </a:lnTo>
                  <a:lnTo>
                    <a:pt x="364" y="33"/>
                  </a:lnTo>
                  <a:lnTo>
                    <a:pt x="381" y="33"/>
                  </a:lnTo>
                  <a:lnTo>
                    <a:pt x="384" y="30"/>
                  </a:lnTo>
                  <a:lnTo>
                    <a:pt x="388" y="29"/>
                  </a:lnTo>
                  <a:lnTo>
                    <a:pt x="391" y="35"/>
                  </a:lnTo>
                  <a:lnTo>
                    <a:pt x="411" y="31"/>
                  </a:lnTo>
                  <a:lnTo>
                    <a:pt x="435" y="18"/>
                  </a:lnTo>
                  <a:lnTo>
                    <a:pt x="469" y="121"/>
                  </a:lnTo>
                  <a:lnTo>
                    <a:pt x="451" y="184"/>
                  </a:lnTo>
                  <a:lnTo>
                    <a:pt x="451" y="190"/>
                  </a:lnTo>
                  <a:lnTo>
                    <a:pt x="450" y="196"/>
                  </a:lnTo>
                  <a:lnTo>
                    <a:pt x="447" y="199"/>
                  </a:lnTo>
                  <a:lnTo>
                    <a:pt x="441" y="203"/>
                  </a:lnTo>
                  <a:lnTo>
                    <a:pt x="433" y="202"/>
                  </a:lnTo>
                  <a:lnTo>
                    <a:pt x="397" y="158"/>
                  </a:lnTo>
                  <a:lnTo>
                    <a:pt x="396" y="147"/>
                  </a:lnTo>
                  <a:lnTo>
                    <a:pt x="373" y="113"/>
                  </a:lnTo>
                  <a:lnTo>
                    <a:pt x="370" y="96"/>
                  </a:lnTo>
                  <a:lnTo>
                    <a:pt x="367" y="91"/>
                  </a:lnTo>
                  <a:lnTo>
                    <a:pt x="366" y="88"/>
                  </a:lnTo>
                  <a:lnTo>
                    <a:pt x="365" y="87"/>
                  </a:lnTo>
                  <a:lnTo>
                    <a:pt x="361" y="90"/>
                  </a:lnTo>
                  <a:lnTo>
                    <a:pt x="363" y="94"/>
                  </a:lnTo>
                  <a:lnTo>
                    <a:pt x="359" y="100"/>
                  </a:lnTo>
                  <a:lnTo>
                    <a:pt x="358" y="109"/>
                  </a:lnTo>
                  <a:lnTo>
                    <a:pt x="359" y="113"/>
                  </a:lnTo>
                  <a:lnTo>
                    <a:pt x="366" y="120"/>
                  </a:lnTo>
                  <a:lnTo>
                    <a:pt x="369" y="129"/>
                  </a:lnTo>
                  <a:lnTo>
                    <a:pt x="369" y="140"/>
                  </a:lnTo>
                  <a:lnTo>
                    <a:pt x="384" y="170"/>
                  </a:lnTo>
                  <a:lnTo>
                    <a:pt x="404" y="192"/>
                  </a:lnTo>
                  <a:lnTo>
                    <a:pt x="408" y="194"/>
                  </a:lnTo>
                  <a:lnTo>
                    <a:pt x="411" y="214"/>
                  </a:lnTo>
                  <a:lnTo>
                    <a:pt x="484" y="372"/>
                  </a:lnTo>
                  <a:lnTo>
                    <a:pt x="506" y="393"/>
                  </a:lnTo>
                  <a:lnTo>
                    <a:pt x="509" y="394"/>
                  </a:lnTo>
                  <a:lnTo>
                    <a:pt x="512" y="398"/>
                  </a:lnTo>
                  <a:lnTo>
                    <a:pt x="512" y="400"/>
                  </a:lnTo>
                  <a:lnTo>
                    <a:pt x="500" y="398"/>
                  </a:lnTo>
                  <a:lnTo>
                    <a:pt x="498" y="399"/>
                  </a:lnTo>
                  <a:lnTo>
                    <a:pt x="497" y="400"/>
                  </a:lnTo>
                  <a:lnTo>
                    <a:pt x="500" y="408"/>
                  </a:lnTo>
                  <a:lnTo>
                    <a:pt x="501" y="429"/>
                  </a:lnTo>
                  <a:lnTo>
                    <a:pt x="505" y="440"/>
                  </a:lnTo>
                  <a:lnTo>
                    <a:pt x="486" y="456"/>
                  </a:lnTo>
                  <a:lnTo>
                    <a:pt x="475" y="451"/>
                  </a:lnTo>
                  <a:lnTo>
                    <a:pt x="464" y="477"/>
                  </a:lnTo>
                  <a:lnTo>
                    <a:pt x="440" y="483"/>
                  </a:lnTo>
                  <a:lnTo>
                    <a:pt x="433" y="504"/>
                  </a:lnTo>
                  <a:lnTo>
                    <a:pt x="412" y="505"/>
                  </a:lnTo>
                  <a:lnTo>
                    <a:pt x="395" y="495"/>
                  </a:lnTo>
                  <a:lnTo>
                    <a:pt x="315" y="494"/>
                  </a:lnTo>
                  <a:lnTo>
                    <a:pt x="319" y="485"/>
                  </a:lnTo>
                  <a:lnTo>
                    <a:pt x="317" y="485"/>
                  </a:lnTo>
                  <a:lnTo>
                    <a:pt x="315" y="483"/>
                  </a:lnTo>
                  <a:lnTo>
                    <a:pt x="313" y="483"/>
                  </a:lnTo>
                  <a:lnTo>
                    <a:pt x="305" y="494"/>
                  </a:lnTo>
                  <a:lnTo>
                    <a:pt x="22" y="494"/>
                  </a:lnTo>
                  <a:lnTo>
                    <a:pt x="22" y="46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79" name="Freeform 86"/>
            <p:cNvSpPr>
              <a:spLocks/>
            </p:cNvSpPr>
            <p:nvPr/>
          </p:nvSpPr>
          <p:spPr bwMode="auto">
            <a:xfrm>
              <a:off x="2796352" y="1369718"/>
              <a:ext cx="1115028" cy="940669"/>
            </a:xfrm>
            <a:custGeom>
              <a:avLst/>
              <a:gdLst>
                <a:gd name="T0" fmla="*/ 7 w 929"/>
                <a:gd name="T1" fmla="*/ 51 h 943"/>
                <a:gd name="T2" fmla="*/ 11 w 929"/>
                <a:gd name="T3" fmla="*/ 49 h 943"/>
                <a:gd name="T4" fmla="*/ 14 w 929"/>
                <a:gd name="T5" fmla="*/ 49 h 943"/>
                <a:gd name="T6" fmla="*/ 16 w 929"/>
                <a:gd name="T7" fmla="*/ 48 h 943"/>
                <a:gd name="T8" fmla="*/ 25 w 929"/>
                <a:gd name="T9" fmla="*/ 47 h 943"/>
                <a:gd name="T10" fmla="*/ 28 w 929"/>
                <a:gd name="T11" fmla="*/ 44 h 943"/>
                <a:gd name="T12" fmla="*/ 35 w 929"/>
                <a:gd name="T13" fmla="*/ 41 h 943"/>
                <a:gd name="T14" fmla="*/ 38 w 929"/>
                <a:gd name="T15" fmla="*/ 40 h 943"/>
                <a:gd name="T16" fmla="*/ 37 w 929"/>
                <a:gd name="T17" fmla="*/ 40 h 943"/>
                <a:gd name="T18" fmla="*/ 37 w 929"/>
                <a:gd name="T19" fmla="*/ 38 h 943"/>
                <a:gd name="T20" fmla="*/ 38 w 929"/>
                <a:gd name="T21" fmla="*/ 36 h 943"/>
                <a:gd name="T22" fmla="*/ 44 w 929"/>
                <a:gd name="T23" fmla="*/ 35 h 943"/>
                <a:gd name="T24" fmla="*/ 44 w 929"/>
                <a:gd name="T25" fmla="*/ 33 h 943"/>
                <a:gd name="T26" fmla="*/ 52 w 929"/>
                <a:gd name="T27" fmla="*/ 33 h 943"/>
                <a:gd name="T28" fmla="*/ 57 w 929"/>
                <a:gd name="T29" fmla="*/ 33 h 943"/>
                <a:gd name="T30" fmla="*/ 58 w 929"/>
                <a:gd name="T31" fmla="*/ 31 h 943"/>
                <a:gd name="T32" fmla="*/ 55 w 929"/>
                <a:gd name="T33" fmla="*/ 28 h 943"/>
                <a:gd name="T34" fmla="*/ 55 w 929"/>
                <a:gd name="T35" fmla="*/ 25 h 943"/>
                <a:gd name="T36" fmla="*/ 54 w 929"/>
                <a:gd name="T37" fmla="*/ 21 h 943"/>
                <a:gd name="T38" fmla="*/ 53 w 929"/>
                <a:gd name="T39" fmla="*/ 17 h 943"/>
                <a:gd name="T40" fmla="*/ 53 w 929"/>
                <a:gd name="T41" fmla="*/ 16 h 943"/>
                <a:gd name="T42" fmla="*/ 51 w 929"/>
                <a:gd name="T43" fmla="*/ 15 h 943"/>
                <a:gd name="T44" fmla="*/ 59 w 929"/>
                <a:gd name="T45" fmla="*/ 10 h 943"/>
                <a:gd name="T46" fmla="*/ 66 w 929"/>
                <a:gd name="T47" fmla="*/ 9 h 943"/>
                <a:gd name="T48" fmla="*/ 72 w 929"/>
                <a:gd name="T49" fmla="*/ 5 h 943"/>
                <a:gd name="T50" fmla="*/ 91 w 929"/>
                <a:gd name="T51" fmla="*/ 2 h 943"/>
                <a:gd name="T52" fmla="*/ 97 w 929"/>
                <a:gd name="T53" fmla="*/ 2 h 943"/>
                <a:gd name="T54" fmla="*/ 114 w 929"/>
                <a:gd name="T55" fmla="*/ 1 h 943"/>
                <a:gd name="T56" fmla="*/ 120 w 929"/>
                <a:gd name="T57" fmla="*/ 2 h 943"/>
                <a:gd name="T58" fmla="*/ 126 w 929"/>
                <a:gd name="T59" fmla="*/ 2 h 943"/>
                <a:gd name="T60" fmla="*/ 133 w 929"/>
                <a:gd name="T61" fmla="*/ 1 h 943"/>
                <a:gd name="T62" fmla="*/ 131 w 929"/>
                <a:gd name="T63" fmla="*/ 4 h 943"/>
                <a:gd name="T64" fmla="*/ 129 w 929"/>
                <a:gd name="T65" fmla="*/ 17 h 943"/>
                <a:gd name="T66" fmla="*/ 125 w 929"/>
                <a:gd name="T67" fmla="*/ 20 h 943"/>
                <a:gd name="T68" fmla="*/ 124 w 929"/>
                <a:gd name="T69" fmla="*/ 26 h 943"/>
                <a:gd name="T70" fmla="*/ 129 w 929"/>
                <a:gd name="T71" fmla="*/ 31 h 943"/>
                <a:gd name="T72" fmla="*/ 138 w 929"/>
                <a:gd name="T73" fmla="*/ 46 h 943"/>
                <a:gd name="T74" fmla="*/ 141 w 929"/>
                <a:gd name="T75" fmla="*/ 69 h 943"/>
                <a:gd name="T76" fmla="*/ 142 w 929"/>
                <a:gd name="T77" fmla="*/ 76 h 943"/>
                <a:gd name="T78" fmla="*/ 153 w 929"/>
                <a:gd name="T79" fmla="*/ 82 h 943"/>
                <a:gd name="T80" fmla="*/ 93 w 929"/>
                <a:gd name="T81" fmla="*/ 115 h 943"/>
                <a:gd name="T82" fmla="*/ 90 w 929"/>
                <a:gd name="T83" fmla="*/ 112 h 943"/>
                <a:gd name="T84" fmla="*/ 91 w 929"/>
                <a:gd name="T85" fmla="*/ 111 h 943"/>
                <a:gd name="T86" fmla="*/ 91 w 929"/>
                <a:gd name="T87" fmla="*/ 110 h 943"/>
                <a:gd name="T88" fmla="*/ 89 w 929"/>
                <a:gd name="T89" fmla="*/ 109 h 943"/>
                <a:gd name="T90" fmla="*/ 85 w 929"/>
                <a:gd name="T91" fmla="*/ 108 h 943"/>
                <a:gd name="T92" fmla="*/ 82 w 929"/>
                <a:gd name="T93" fmla="*/ 106 h 943"/>
                <a:gd name="T94" fmla="*/ 79 w 929"/>
                <a:gd name="T95" fmla="*/ 105 h 943"/>
                <a:gd name="T96" fmla="*/ 74 w 929"/>
                <a:gd name="T97" fmla="*/ 103 h 943"/>
                <a:gd name="T98" fmla="*/ 28 w 929"/>
                <a:gd name="T99" fmla="*/ 78 h 94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9"/>
                <a:gd name="T151" fmla="*/ 0 h 943"/>
                <a:gd name="T152" fmla="*/ 929 w 929"/>
                <a:gd name="T153" fmla="*/ 943 h 94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9" h="943">
                  <a:moveTo>
                    <a:pt x="169" y="646"/>
                  </a:moveTo>
                  <a:lnTo>
                    <a:pt x="0" y="536"/>
                  </a:lnTo>
                  <a:lnTo>
                    <a:pt x="0" y="450"/>
                  </a:lnTo>
                  <a:lnTo>
                    <a:pt x="38" y="422"/>
                  </a:lnTo>
                  <a:lnTo>
                    <a:pt x="48" y="421"/>
                  </a:lnTo>
                  <a:lnTo>
                    <a:pt x="55" y="417"/>
                  </a:lnTo>
                  <a:lnTo>
                    <a:pt x="61" y="414"/>
                  </a:lnTo>
                  <a:lnTo>
                    <a:pt x="65" y="409"/>
                  </a:lnTo>
                  <a:lnTo>
                    <a:pt x="69" y="406"/>
                  </a:lnTo>
                  <a:lnTo>
                    <a:pt x="75" y="407"/>
                  </a:lnTo>
                  <a:lnTo>
                    <a:pt x="80" y="406"/>
                  </a:lnTo>
                  <a:lnTo>
                    <a:pt x="84" y="408"/>
                  </a:lnTo>
                  <a:lnTo>
                    <a:pt x="92" y="408"/>
                  </a:lnTo>
                  <a:lnTo>
                    <a:pt x="94" y="407"/>
                  </a:lnTo>
                  <a:lnTo>
                    <a:pt x="94" y="399"/>
                  </a:lnTo>
                  <a:lnTo>
                    <a:pt x="95" y="396"/>
                  </a:lnTo>
                  <a:lnTo>
                    <a:pt x="109" y="397"/>
                  </a:lnTo>
                  <a:lnTo>
                    <a:pt x="113" y="395"/>
                  </a:lnTo>
                  <a:lnTo>
                    <a:pt x="134" y="393"/>
                  </a:lnTo>
                  <a:lnTo>
                    <a:pt x="148" y="387"/>
                  </a:lnTo>
                  <a:lnTo>
                    <a:pt x="158" y="379"/>
                  </a:lnTo>
                  <a:lnTo>
                    <a:pt x="161" y="375"/>
                  </a:lnTo>
                  <a:lnTo>
                    <a:pt x="161" y="372"/>
                  </a:lnTo>
                  <a:lnTo>
                    <a:pt x="164" y="365"/>
                  </a:lnTo>
                  <a:lnTo>
                    <a:pt x="172" y="359"/>
                  </a:lnTo>
                  <a:lnTo>
                    <a:pt x="184" y="354"/>
                  </a:lnTo>
                  <a:lnTo>
                    <a:pt x="189" y="354"/>
                  </a:lnTo>
                  <a:lnTo>
                    <a:pt x="210" y="341"/>
                  </a:lnTo>
                  <a:lnTo>
                    <a:pt x="228" y="336"/>
                  </a:lnTo>
                  <a:lnTo>
                    <a:pt x="230" y="333"/>
                  </a:lnTo>
                  <a:lnTo>
                    <a:pt x="229" y="331"/>
                  </a:lnTo>
                  <a:lnTo>
                    <a:pt x="225" y="328"/>
                  </a:lnTo>
                  <a:lnTo>
                    <a:pt x="224" y="326"/>
                  </a:lnTo>
                  <a:lnTo>
                    <a:pt x="222" y="325"/>
                  </a:lnTo>
                  <a:lnTo>
                    <a:pt x="221" y="327"/>
                  </a:lnTo>
                  <a:lnTo>
                    <a:pt x="219" y="326"/>
                  </a:lnTo>
                  <a:lnTo>
                    <a:pt x="220" y="318"/>
                  </a:lnTo>
                  <a:lnTo>
                    <a:pt x="224" y="314"/>
                  </a:lnTo>
                  <a:lnTo>
                    <a:pt x="223" y="312"/>
                  </a:lnTo>
                  <a:lnTo>
                    <a:pt x="219" y="312"/>
                  </a:lnTo>
                  <a:lnTo>
                    <a:pt x="218" y="310"/>
                  </a:lnTo>
                  <a:lnTo>
                    <a:pt x="218" y="303"/>
                  </a:lnTo>
                  <a:lnTo>
                    <a:pt x="220" y="299"/>
                  </a:lnTo>
                  <a:lnTo>
                    <a:pt x="223" y="296"/>
                  </a:lnTo>
                  <a:lnTo>
                    <a:pt x="228" y="296"/>
                  </a:lnTo>
                  <a:lnTo>
                    <a:pt x="233" y="298"/>
                  </a:lnTo>
                  <a:lnTo>
                    <a:pt x="258" y="291"/>
                  </a:lnTo>
                  <a:lnTo>
                    <a:pt x="259" y="289"/>
                  </a:lnTo>
                  <a:lnTo>
                    <a:pt x="260" y="284"/>
                  </a:lnTo>
                  <a:lnTo>
                    <a:pt x="259" y="279"/>
                  </a:lnTo>
                  <a:lnTo>
                    <a:pt x="261" y="275"/>
                  </a:lnTo>
                  <a:lnTo>
                    <a:pt x="263" y="275"/>
                  </a:lnTo>
                  <a:lnTo>
                    <a:pt x="269" y="277"/>
                  </a:lnTo>
                  <a:lnTo>
                    <a:pt x="272" y="276"/>
                  </a:lnTo>
                  <a:lnTo>
                    <a:pt x="275" y="274"/>
                  </a:lnTo>
                  <a:lnTo>
                    <a:pt x="309" y="271"/>
                  </a:lnTo>
                  <a:lnTo>
                    <a:pt x="314" y="269"/>
                  </a:lnTo>
                  <a:lnTo>
                    <a:pt x="333" y="271"/>
                  </a:lnTo>
                  <a:lnTo>
                    <a:pt x="338" y="274"/>
                  </a:lnTo>
                  <a:lnTo>
                    <a:pt x="341" y="274"/>
                  </a:lnTo>
                  <a:lnTo>
                    <a:pt x="341" y="271"/>
                  </a:lnTo>
                  <a:lnTo>
                    <a:pt x="339" y="267"/>
                  </a:lnTo>
                  <a:lnTo>
                    <a:pt x="339" y="261"/>
                  </a:lnTo>
                  <a:lnTo>
                    <a:pt x="344" y="255"/>
                  </a:lnTo>
                  <a:lnTo>
                    <a:pt x="348" y="254"/>
                  </a:lnTo>
                  <a:lnTo>
                    <a:pt x="348" y="253"/>
                  </a:lnTo>
                  <a:lnTo>
                    <a:pt x="333" y="240"/>
                  </a:lnTo>
                  <a:lnTo>
                    <a:pt x="328" y="229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5" y="207"/>
                  </a:lnTo>
                  <a:lnTo>
                    <a:pt x="326" y="203"/>
                  </a:lnTo>
                  <a:lnTo>
                    <a:pt x="325" y="195"/>
                  </a:lnTo>
                  <a:lnTo>
                    <a:pt x="320" y="189"/>
                  </a:lnTo>
                  <a:lnTo>
                    <a:pt x="322" y="186"/>
                  </a:lnTo>
                  <a:lnTo>
                    <a:pt x="323" y="171"/>
                  </a:lnTo>
                  <a:lnTo>
                    <a:pt x="319" y="155"/>
                  </a:lnTo>
                  <a:lnTo>
                    <a:pt x="321" y="150"/>
                  </a:lnTo>
                  <a:lnTo>
                    <a:pt x="317" y="141"/>
                  </a:lnTo>
                  <a:lnTo>
                    <a:pt x="318" y="140"/>
                  </a:lnTo>
                  <a:lnTo>
                    <a:pt x="319" y="139"/>
                  </a:lnTo>
                  <a:lnTo>
                    <a:pt x="320" y="137"/>
                  </a:lnTo>
                  <a:lnTo>
                    <a:pt x="318" y="135"/>
                  </a:lnTo>
                  <a:lnTo>
                    <a:pt x="315" y="133"/>
                  </a:lnTo>
                  <a:lnTo>
                    <a:pt x="312" y="130"/>
                  </a:lnTo>
                  <a:lnTo>
                    <a:pt x="309" y="127"/>
                  </a:lnTo>
                  <a:lnTo>
                    <a:pt x="305" y="123"/>
                  </a:lnTo>
                  <a:lnTo>
                    <a:pt x="302" y="120"/>
                  </a:lnTo>
                  <a:lnTo>
                    <a:pt x="303" y="115"/>
                  </a:lnTo>
                  <a:lnTo>
                    <a:pt x="309" y="115"/>
                  </a:lnTo>
                  <a:lnTo>
                    <a:pt x="333" y="102"/>
                  </a:lnTo>
                  <a:lnTo>
                    <a:pt x="348" y="83"/>
                  </a:lnTo>
                  <a:lnTo>
                    <a:pt x="357" y="76"/>
                  </a:lnTo>
                  <a:lnTo>
                    <a:pt x="370" y="76"/>
                  </a:lnTo>
                  <a:lnTo>
                    <a:pt x="381" y="69"/>
                  </a:lnTo>
                  <a:lnTo>
                    <a:pt x="389" y="73"/>
                  </a:lnTo>
                  <a:lnTo>
                    <a:pt x="398" y="69"/>
                  </a:lnTo>
                  <a:lnTo>
                    <a:pt x="410" y="54"/>
                  </a:lnTo>
                  <a:lnTo>
                    <a:pt x="422" y="50"/>
                  </a:lnTo>
                  <a:lnTo>
                    <a:pt x="430" y="42"/>
                  </a:lnTo>
                  <a:lnTo>
                    <a:pt x="463" y="31"/>
                  </a:lnTo>
                  <a:lnTo>
                    <a:pt x="518" y="28"/>
                  </a:lnTo>
                  <a:lnTo>
                    <a:pt x="533" y="17"/>
                  </a:lnTo>
                  <a:lnTo>
                    <a:pt x="540" y="19"/>
                  </a:lnTo>
                  <a:lnTo>
                    <a:pt x="550" y="18"/>
                  </a:lnTo>
                  <a:lnTo>
                    <a:pt x="554" y="20"/>
                  </a:lnTo>
                  <a:lnTo>
                    <a:pt x="561" y="18"/>
                  </a:lnTo>
                  <a:lnTo>
                    <a:pt x="575" y="11"/>
                  </a:lnTo>
                  <a:lnTo>
                    <a:pt x="621" y="13"/>
                  </a:lnTo>
                  <a:lnTo>
                    <a:pt x="628" y="21"/>
                  </a:lnTo>
                  <a:lnTo>
                    <a:pt x="638" y="23"/>
                  </a:lnTo>
                  <a:lnTo>
                    <a:pt x="678" y="10"/>
                  </a:lnTo>
                  <a:lnTo>
                    <a:pt x="684" y="0"/>
                  </a:lnTo>
                  <a:lnTo>
                    <a:pt x="702" y="8"/>
                  </a:lnTo>
                  <a:lnTo>
                    <a:pt x="706" y="8"/>
                  </a:lnTo>
                  <a:lnTo>
                    <a:pt x="714" y="11"/>
                  </a:lnTo>
                  <a:lnTo>
                    <a:pt x="723" y="7"/>
                  </a:lnTo>
                  <a:lnTo>
                    <a:pt x="727" y="1"/>
                  </a:lnTo>
                  <a:lnTo>
                    <a:pt x="745" y="7"/>
                  </a:lnTo>
                  <a:lnTo>
                    <a:pt x="752" y="13"/>
                  </a:lnTo>
                  <a:lnTo>
                    <a:pt x="763" y="11"/>
                  </a:lnTo>
                  <a:lnTo>
                    <a:pt x="769" y="8"/>
                  </a:lnTo>
                  <a:lnTo>
                    <a:pt x="781" y="10"/>
                  </a:lnTo>
                  <a:lnTo>
                    <a:pt x="791" y="8"/>
                  </a:lnTo>
                  <a:lnTo>
                    <a:pt x="790" y="13"/>
                  </a:lnTo>
                  <a:lnTo>
                    <a:pt x="773" y="29"/>
                  </a:lnTo>
                  <a:lnTo>
                    <a:pt x="771" y="33"/>
                  </a:lnTo>
                  <a:lnTo>
                    <a:pt x="777" y="35"/>
                  </a:lnTo>
                  <a:lnTo>
                    <a:pt x="778" y="38"/>
                  </a:lnTo>
                  <a:lnTo>
                    <a:pt x="775" y="99"/>
                  </a:lnTo>
                  <a:lnTo>
                    <a:pt x="779" y="105"/>
                  </a:lnTo>
                  <a:lnTo>
                    <a:pt x="770" y="141"/>
                  </a:lnTo>
                  <a:lnTo>
                    <a:pt x="753" y="153"/>
                  </a:lnTo>
                  <a:lnTo>
                    <a:pt x="751" y="161"/>
                  </a:lnTo>
                  <a:lnTo>
                    <a:pt x="744" y="165"/>
                  </a:lnTo>
                  <a:lnTo>
                    <a:pt x="741" y="169"/>
                  </a:lnTo>
                  <a:lnTo>
                    <a:pt x="740" y="171"/>
                  </a:lnTo>
                  <a:lnTo>
                    <a:pt x="731" y="178"/>
                  </a:lnTo>
                  <a:lnTo>
                    <a:pt x="729" y="178"/>
                  </a:lnTo>
                  <a:lnTo>
                    <a:pt x="740" y="215"/>
                  </a:lnTo>
                  <a:lnTo>
                    <a:pt x="756" y="221"/>
                  </a:lnTo>
                  <a:lnTo>
                    <a:pt x="760" y="226"/>
                  </a:lnTo>
                  <a:lnTo>
                    <a:pt x="767" y="243"/>
                  </a:lnTo>
                  <a:lnTo>
                    <a:pt x="767" y="258"/>
                  </a:lnTo>
                  <a:lnTo>
                    <a:pt x="803" y="279"/>
                  </a:lnTo>
                  <a:lnTo>
                    <a:pt x="805" y="279"/>
                  </a:lnTo>
                  <a:lnTo>
                    <a:pt x="821" y="374"/>
                  </a:lnTo>
                  <a:lnTo>
                    <a:pt x="821" y="376"/>
                  </a:lnTo>
                  <a:lnTo>
                    <a:pt x="813" y="382"/>
                  </a:lnTo>
                  <a:lnTo>
                    <a:pt x="812" y="395"/>
                  </a:lnTo>
                  <a:lnTo>
                    <a:pt x="831" y="425"/>
                  </a:lnTo>
                  <a:lnTo>
                    <a:pt x="834" y="572"/>
                  </a:lnTo>
                  <a:lnTo>
                    <a:pt x="818" y="580"/>
                  </a:lnTo>
                  <a:lnTo>
                    <a:pt x="816" y="587"/>
                  </a:lnTo>
                  <a:lnTo>
                    <a:pt x="820" y="598"/>
                  </a:lnTo>
                  <a:lnTo>
                    <a:pt x="844" y="630"/>
                  </a:lnTo>
                  <a:lnTo>
                    <a:pt x="847" y="656"/>
                  </a:lnTo>
                  <a:lnTo>
                    <a:pt x="860" y="669"/>
                  </a:lnTo>
                  <a:lnTo>
                    <a:pt x="884" y="669"/>
                  </a:lnTo>
                  <a:lnTo>
                    <a:pt x="909" y="680"/>
                  </a:lnTo>
                  <a:lnTo>
                    <a:pt x="928" y="717"/>
                  </a:lnTo>
                  <a:lnTo>
                    <a:pt x="929" y="722"/>
                  </a:lnTo>
                  <a:lnTo>
                    <a:pt x="652" y="917"/>
                  </a:lnTo>
                  <a:lnTo>
                    <a:pt x="553" y="943"/>
                  </a:lnTo>
                  <a:lnTo>
                    <a:pt x="543" y="942"/>
                  </a:lnTo>
                  <a:lnTo>
                    <a:pt x="537" y="935"/>
                  </a:lnTo>
                  <a:lnTo>
                    <a:pt x="537" y="932"/>
                  </a:lnTo>
                  <a:lnTo>
                    <a:pt x="539" y="927"/>
                  </a:lnTo>
                  <a:lnTo>
                    <a:pt x="538" y="922"/>
                  </a:lnTo>
                  <a:lnTo>
                    <a:pt x="539" y="920"/>
                  </a:lnTo>
                  <a:lnTo>
                    <a:pt x="541" y="919"/>
                  </a:lnTo>
                  <a:lnTo>
                    <a:pt x="541" y="917"/>
                  </a:lnTo>
                  <a:lnTo>
                    <a:pt x="539" y="913"/>
                  </a:lnTo>
                  <a:lnTo>
                    <a:pt x="539" y="909"/>
                  </a:lnTo>
                  <a:lnTo>
                    <a:pt x="541" y="907"/>
                  </a:lnTo>
                  <a:lnTo>
                    <a:pt x="540" y="903"/>
                  </a:lnTo>
                  <a:lnTo>
                    <a:pt x="539" y="902"/>
                  </a:lnTo>
                  <a:lnTo>
                    <a:pt x="538" y="900"/>
                  </a:lnTo>
                  <a:lnTo>
                    <a:pt x="534" y="898"/>
                  </a:lnTo>
                  <a:lnTo>
                    <a:pt x="526" y="896"/>
                  </a:lnTo>
                  <a:lnTo>
                    <a:pt x="519" y="891"/>
                  </a:lnTo>
                  <a:lnTo>
                    <a:pt x="516" y="891"/>
                  </a:lnTo>
                  <a:lnTo>
                    <a:pt x="513" y="890"/>
                  </a:lnTo>
                  <a:lnTo>
                    <a:pt x="503" y="890"/>
                  </a:lnTo>
                  <a:lnTo>
                    <a:pt x="500" y="888"/>
                  </a:lnTo>
                  <a:lnTo>
                    <a:pt x="497" y="880"/>
                  </a:lnTo>
                  <a:lnTo>
                    <a:pt x="495" y="879"/>
                  </a:lnTo>
                  <a:lnTo>
                    <a:pt x="488" y="880"/>
                  </a:lnTo>
                  <a:lnTo>
                    <a:pt x="480" y="879"/>
                  </a:lnTo>
                  <a:lnTo>
                    <a:pt x="469" y="871"/>
                  </a:lnTo>
                  <a:lnTo>
                    <a:pt x="468" y="868"/>
                  </a:lnTo>
                  <a:lnTo>
                    <a:pt x="467" y="863"/>
                  </a:lnTo>
                  <a:lnTo>
                    <a:pt x="456" y="857"/>
                  </a:lnTo>
                  <a:lnTo>
                    <a:pt x="451" y="856"/>
                  </a:lnTo>
                  <a:lnTo>
                    <a:pt x="445" y="852"/>
                  </a:lnTo>
                  <a:lnTo>
                    <a:pt x="444" y="848"/>
                  </a:lnTo>
                  <a:lnTo>
                    <a:pt x="446" y="842"/>
                  </a:lnTo>
                  <a:lnTo>
                    <a:pt x="442" y="838"/>
                  </a:lnTo>
                  <a:lnTo>
                    <a:pt x="442" y="835"/>
                  </a:lnTo>
                  <a:lnTo>
                    <a:pt x="169" y="64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0" name="Freeform 87"/>
            <p:cNvSpPr>
              <a:spLocks/>
            </p:cNvSpPr>
            <p:nvPr/>
          </p:nvSpPr>
          <p:spPr bwMode="auto">
            <a:xfrm>
              <a:off x="2796352" y="1369718"/>
              <a:ext cx="1115028" cy="940669"/>
            </a:xfrm>
            <a:custGeom>
              <a:avLst/>
              <a:gdLst>
                <a:gd name="T0" fmla="*/ 0 w 929"/>
                <a:gd name="T1" fmla="*/ 55 h 943"/>
                <a:gd name="T2" fmla="*/ 11 w 929"/>
                <a:gd name="T3" fmla="*/ 51 h 943"/>
                <a:gd name="T4" fmla="*/ 13 w 929"/>
                <a:gd name="T5" fmla="*/ 49 h 943"/>
                <a:gd name="T6" fmla="*/ 16 w 929"/>
                <a:gd name="T7" fmla="*/ 48 h 943"/>
                <a:gd name="T8" fmla="*/ 22 w 929"/>
                <a:gd name="T9" fmla="*/ 48 h 943"/>
                <a:gd name="T10" fmla="*/ 27 w 929"/>
                <a:gd name="T11" fmla="*/ 45 h 943"/>
                <a:gd name="T12" fmla="*/ 32 w 929"/>
                <a:gd name="T13" fmla="*/ 43 h 943"/>
                <a:gd name="T14" fmla="*/ 39 w 929"/>
                <a:gd name="T15" fmla="*/ 40 h 943"/>
                <a:gd name="T16" fmla="*/ 37 w 929"/>
                <a:gd name="T17" fmla="*/ 40 h 943"/>
                <a:gd name="T18" fmla="*/ 38 w 929"/>
                <a:gd name="T19" fmla="*/ 38 h 943"/>
                <a:gd name="T20" fmla="*/ 37 w 929"/>
                <a:gd name="T21" fmla="*/ 36 h 943"/>
                <a:gd name="T22" fmla="*/ 43 w 929"/>
                <a:gd name="T23" fmla="*/ 35 h 943"/>
                <a:gd name="T24" fmla="*/ 44 w 929"/>
                <a:gd name="T25" fmla="*/ 33 h 943"/>
                <a:gd name="T26" fmla="*/ 46 w 929"/>
                <a:gd name="T27" fmla="*/ 33 h 943"/>
                <a:gd name="T28" fmla="*/ 57 w 929"/>
                <a:gd name="T29" fmla="*/ 33 h 943"/>
                <a:gd name="T30" fmla="*/ 57 w 929"/>
                <a:gd name="T31" fmla="*/ 32 h 943"/>
                <a:gd name="T32" fmla="*/ 56 w 929"/>
                <a:gd name="T33" fmla="*/ 29 h 943"/>
                <a:gd name="T34" fmla="*/ 55 w 929"/>
                <a:gd name="T35" fmla="*/ 25 h 943"/>
                <a:gd name="T36" fmla="*/ 54 w 929"/>
                <a:gd name="T37" fmla="*/ 23 h 943"/>
                <a:gd name="T38" fmla="*/ 53 w 929"/>
                <a:gd name="T39" fmla="*/ 17 h 943"/>
                <a:gd name="T40" fmla="*/ 53 w 929"/>
                <a:gd name="T41" fmla="*/ 16 h 943"/>
                <a:gd name="T42" fmla="*/ 51 w 929"/>
                <a:gd name="T43" fmla="*/ 15 h 943"/>
                <a:gd name="T44" fmla="*/ 52 w 929"/>
                <a:gd name="T45" fmla="*/ 14 h 943"/>
                <a:gd name="T46" fmla="*/ 62 w 929"/>
                <a:gd name="T47" fmla="*/ 9 h 943"/>
                <a:gd name="T48" fmla="*/ 69 w 929"/>
                <a:gd name="T49" fmla="*/ 6 h 943"/>
                <a:gd name="T50" fmla="*/ 87 w 929"/>
                <a:gd name="T51" fmla="*/ 3 h 943"/>
                <a:gd name="T52" fmla="*/ 93 w 929"/>
                <a:gd name="T53" fmla="*/ 3 h 943"/>
                <a:gd name="T54" fmla="*/ 106 w 929"/>
                <a:gd name="T55" fmla="*/ 3 h 943"/>
                <a:gd name="T56" fmla="*/ 118 w 929"/>
                <a:gd name="T57" fmla="*/ 1 h 943"/>
                <a:gd name="T58" fmla="*/ 122 w 929"/>
                <a:gd name="T59" fmla="*/ 1 h 943"/>
                <a:gd name="T60" fmla="*/ 129 w 929"/>
                <a:gd name="T61" fmla="*/ 1 h 943"/>
                <a:gd name="T62" fmla="*/ 130 w 929"/>
                <a:gd name="T63" fmla="*/ 3 h 943"/>
                <a:gd name="T64" fmla="*/ 130 w 929"/>
                <a:gd name="T65" fmla="*/ 12 h 943"/>
                <a:gd name="T66" fmla="*/ 126 w 929"/>
                <a:gd name="T67" fmla="*/ 20 h 943"/>
                <a:gd name="T68" fmla="*/ 123 w 929"/>
                <a:gd name="T69" fmla="*/ 22 h 943"/>
                <a:gd name="T70" fmla="*/ 128 w 929"/>
                <a:gd name="T71" fmla="*/ 27 h 943"/>
                <a:gd name="T72" fmla="*/ 135 w 929"/>
                <a:gd name="T73" fmla="*/ 34 h 943"/>
                <a:gd name="T74" fmla="*/ 137 w 929"/>
                <a:gd name="T75" fmla="*/ 48 h 943"/>
                <a:gd name="T76" fmla="*/ 137 w 929"/>
                <a:gd name="T77" fmla="*/ 71 h 943"/>
                <a:gd name="T78" fmla="*/ 145 w 929"/>
                <a:gd name="T79" fmla="*/ 81 h 943"/>
                <a:gd name="T80" fmla="*/ 156 w 929"/>
                <a:gd name="T81" fmla="*/ 88 h 943"/>
                <a:gd name="T82" fmla="*/ 90 w 929"/>
                <a:gd name="T83" fmla="*/ 113 h 943"/>
                <a:gd name="T84" fmla="*/ 90 w 929"/>
                <a:gd name="T85" fmla="*/ 112 h 943"/>
                <a:gd name="T86" fmla="*/ 90 w 929"/>
                <a:gd name="T87" fmla="*/ 110 h 943"/>
                <a:gd name="T88" fmla="*/ 90 w 929"/>
                <a:gd name="T89" fmla="*/ 109 h 943"/>
                <a:gd name="T90" fmla="*/ 87 w 929"/>
                <a:gd name="T91" fmla="*/ 108 h 943"/>
                <a:gd name="T92" fmla="*/ 83 w 929"/>
                <a:gd name="T93" fmla="*/ 106 h 943"/>
                <a:gd name="T94" fmla="*/ 79 w 929"/>
                <a:gd name="T95" fmla="*/ 106 h 943"/>
                <a:gd name="T96" fmla="*/ 76 w 929"/>
                <a:gd name="T97" fmla="*/ 104 h 943"/>
                <a:gd name="T98" fmla="*/ 74 w 929"/>
                <a:gd name="T99" fmla="*/ 102 h 94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929"/>
                <a:gd name="T151" fmla="*/ 0 h 943"/>
                <a:gd name="T152" fmla="*/ 929 w 929"/>
                <a:gd name="T153" fmla="*/ 943 h 94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929" h="943">
                  <a:moveTo>
                    <a:pt x="169" y="646"/>
                  </a:moveTo>
                  <a:lnTo>
                    <a:pt x="169" y="646"/>
                  </a:lnTo>
                  <a:lnTo>
                    <a:pt x="0" y="536"/>
                  </a:lnTo>
                  <a:lnTo>
                    <a:pt x="0" y="450"/>
                  </a:lnTo>
                  <a:lnTo>
                    <a:pt x="38" y="422"/>
                  </a:lnTo>
                  <a:lnTo>
                    <a:pt x="48" y="421"/>
                  </a:lnTo>
                  <a:lnTo>
                    <a:pt x="55" y="417"/>
                  </a:lnTo>
                  <a:lnTo>
                    <a:pt x="61" y="414"/>
                  </a:lnTo>
                  <a:lnTo>
                    <a:pt x="65" y="409"/>
                  </a:lnTo>
                  <a:lnTo>
                    <a:pt x="69" y="406"/>
                  </a:lnTo>
                  <a:lnTo>
                    <a:pt x="75" y="407"/>
                  </a:lnTo>
                  <a:lnTo>
                    <a:pt x="80" y="406"/>
                  </a:lnTo>
                  <a:lnTo>
                    <a:pt x="84" y="408"/>
                  </a:lnTo>
                  <a:lnTo>
                    <a:pt x="92" y="408"/>
                  </a:lnTo>
                  <a:lnTo>
                    <a:pt x="94" y="407"/>
                  </a:lnTo>
                  <a:lnTo>
                    <a:pt x="94" y="399"/>
                  </a:lnTo>
                  <a:lnTo>
                    <a:pt x="95" y="396"/>
                  </a:lnTo>
                  <a:lnTo>
                    <a:pt x="109" y="397"/>
                  </a:lnTo>
                  <a:lnTo>
                    <a:pt x="113" y="395"/>
                  </a:lnTo>
                  <a:lnTo>
                    <a:pt x="134" y="393"/>
                  </a:lnTo>
                  <a:lnTo>
                    <a:pt x="148" y="387"/>
                  </a:lnTo>
                  <a:lnTo>
                    <a:pt x="158" y="379"/>
                  </a:lnTo>
                  <a:lnTo>
                    <a:pt x="161" y="375"/>
                  </a:lnTo>
                  <a:lnTo>
                    <a:pt x="161" y="372"/>
                  </a:lnTo>
                  <a:lnTo>
                    <a:pt x="164" y="365"/>
                  </a:lnTo>
                  <a:lnTo>
                    <a:pt x="172" y="359"/>
                  </a:lnTo>
                  <a:lnTo>
                    <a:pt x="184" y="354"/>
                  </a:lnTo>
                  <a:lnTo>
                    <a:pt x="189" y="354"/>
                  </a:lnTo>
                  <a:lnTo>
                    <a:pt x="210" y="341"/>
                  </a:lnTo>
                  <a:lnTo>
                    <a:pt x="228" y="336"/>
                  </a:lnTo>
                  <a:lnTo>
                    <a:pt x="230" y="333"/>
                  </a:lnTo>
                  <a:lnTo>
                    <a:pt x="229" y="331"/>
                  </a:lnTo>
                  <a:lnTo>
                    <a:pt x="225" y="328"/>
                  </a:lnTo>
                  <a:lnTo>
                    <a:pt x="224" y="326"/>
                  </a:lnTo>
                  <a:lnTo>
                    <a:pt x="222" y="325"/>
                  </a:lnTo>
                  <a:lnTo>
                    <a:pt x="221" y="327"/>
                  </a:lnTo>
                  <a:lnTo>
                    <a:pt x="219" y="326"/>
                  </a:lnTo>
                  <a:lnTo>
                    <a:pt x="220" y="318"/>
                  </a:lnTo>
                  <a:lnTo>
                    <a:pt x="224" y="314"/>
                  </a:lnTo>
                  <a:lnTo>
                    <a:pt x="223" y="312"/>
                  </a:lnTo>
                  <a:lnTo>
                    <a:pt x="219" y="312"/>
                  </a:lnTo>
                  <a:lnTo>
                    <a:pt x="218" y="310"/>
                  </a:lnTo>
                  <a:lnTo>
                    <a:pt x="218" y="303"/>
                  </a:lnTo>
                  <a:lnTo>
                    <a:pt x="220" y="299"/>
                  </a:lnTo>
                  <a:lnTo>
                    <a:pt x="223" y="296"/>
                  </a:lnTo>
                  <a:lnTo>
                    <a:pt x="228" y="296"/>
                  </a:lnTo>
                  <a:lnTo>
                    <a:pt x="233" y="298"/>
                  </a:lnTo>
                  <a:lnTo>
                    <a:pt x="258" y="291"/>
                  </a:lnTo>
                  <a:lnTo>
                    <a:pt x="259" y="289"/>
                  </a:lnTo>
                  <a:lnTo>
                    <a:pt x="260" y="284"/>
                  </a:lnTo>
                  <a:lnTo>
                    <a:pt x="259" y="279"/>
                  </a:lnTo>
                  <a:lnTo>
                    <a:pt x="261" y="275"/>
                  </a:lnTo>
                  <a:lnTo>
                    <a:pt x="263" y="275"/>
                  </a:lnTo>
                  <a:lnTo>
                    <a:pt x="269" y="277"/>
                  </a:lnTo>
                  <a:lnTo>
                    <a:pt x="272" y="276"/>
                  </a:lnTo>
                  <a:lnTo>
                    <a:pt x="275" y="274"/>
                  </a:lnTo>
                  <a:lnTo>
                    <a:pt x="309" y="271"/>
                  </a:lnTo>
                  <a:lnTo>
                    <a:pt x="314" y="269"/>
                  </a:lnTo>
                  <a:lnTo>
                    <a:pt x="333" y="271"/>
                  </a:lnTo>
                  <a:lnTo>
                    <a:pt x="338" y="274"/>
                  </a:lnTo>
                  <a:lnTo>
                    <a:pt x="341" y="274"/>
                  </a:lnTo>
                  <a:lnTo>
                    <a:pt x="341" y="271"/>
                  </a:lnTo>
                  <a:lnTo>
                    <a:pt x="339" y="267"/>
                  </a:lnTo>
                  <a:lnTo>
                    <a:pt x="339" y="261"/>
                  </a:lnTo>
                  <a:lnTo>
                    <a:pt x="344" y="255"/>
                  </a:lnTo>
                  <a:lnTo>
                    <a:pt x="348" y="254"/>
                  </a:lnTo>
                  <a:lnTo>
                    <a:pt x="348" y="253"/>
                  </a:lnTo>
                  <a:lnTo>
                    <a:pt x="333" y="240"/>
                  </a:lnTo>
                  <a:lnTo>
                    <a:pt x="328" y="229"/>
                  </a:lnTo>
                  <a:lnTo>
                    <a:pt x="328" y="224"/>
                  </a:lnTo>
                  <a:lnTo>
                    <a:pt x="324" y="212"/>
                  </a:lnTo>
                  <a:lnTo>
                    <a:pt x="325" y="207"/>
                  </a:lnTo>
                  <a:lnTo>
                    <a:pt x="326" y="203"/>
                  </a:lnTo>
                  <a:lnTo>
                    <a:pt x="325" y="195"/>
                  </a:lnTo>
                  <a:lnTo>
                    <a:pt x="320" y="189"/>
                  </a:lnTo>
                  <a:lnTo>
                    <a:pt x="322" y="186"/>
                  </a:lnTo>
                  <a:lnTo>
                    <a:pt x="323" y="171"/>
                  </a:lnTo>
                  <a:lnTo>
                    <a:pt x="319" y="155"/>
                  </a:lnTo>
                  <a:lnTo>
                    <a:pt x="321" y="150"/>
                  </a:lnTo>
                  <a:lnTo>
                    <a:pt x="317" y="141"/>
                  </a:lnTo>
                  <a:lnTo>
                    <a:pt x="318" y="140"/>
                  </a:lnTo>
                  <a:lnTo>
                    <a:pt x="319" y="139"/>
                  </a:lnTo>
                  <a:lnTo>
                    <a:pt x="320" y="137"/>
                  </a:lnTo>
                  <a:lnTo>
                    <a:pt x="318" y="135"/>
                  </a:lnTo>
                  <a:lnTo>
                    <a:pt x="315" y="133"/>
                  </a:lnTo>
                  <a:lnTo>
                    <a:pt x="312" y="130"/>
                  </a:lnTo>
                  <a:lnTo>
                    <a:pt x="309" y="127"/>
                  </a:lnTo>
                  <a:lnTo>
                    <a:pt x="305" y="123"/>
                  </a:lnTo>
                  <a:lnTo>
                    <a:pt x="302" y="120"/>
                  </a:lnTo>
                  <a:lnTo>
                    <a:pt x="303" y="115"/>
                  </a:lnTo>
                  <a:lnTo>
                    <a:pt x="309" y="115"/>
                  </a:lnTo>
                  <a:lnTo>
                    <a:pt x="333" y="102"/>
                  </a:lnTo>
                  <a:lnTo>
                    <a:pt x="348" y="83"/>
                  </a:lnTo>
                  <a:lnTo>
                    <a:pt x="357" y="76"/>
                  </a:lnTo>
                  <a:lnTo>
                    <a:pt x="370" y="76"/>
                  </a:lnTo>
                  <a:lnTo>
                    <a:pt x="381" y="69"/>
                  </a:lnTo>
                  <a:lnTo>
                    <a:pt x="389" y="73"/>
                  </a:lnTo>
                  <a:lnTo>
                    <a:pt x="398" y="69"/>
                  </a:lnTo>
                  <a:lnTo>
                    <a:pt x="410" y="54"/>
                  </a:lnTo>
                  <a:lnTo>
                    <a:pt x="422" y="50"/>
                  </a:lnTo>
                  <a:lnTo>
                    <a:pt x="430" y="42"/>
                  </a:lnTo>
                  <a:lnTo>
                    <a:pt x="463" y="31"/>
                  </a:lnTo>
                  <a:lnTo>
                    <a:pt x="518" y="28"/>
                  </a:lnTo>
                  <a:lnTo>
                    <a:pt x="533" y="17"/>
                  </a:lnTo>
                  <a:lnTo>
                    <a:pt x="540" y="19"/>
                  </a:lnTo>
                  <a:lnTo>
                    <a:pt x="550" y="18"/>
                  </a:lnTo>
                  <a:lnTo>
                    <a:pt x="554" y="20"/>
                  </a:lnTo>
                  <a:lnTo>
                    <a:pt x="561" y="18"/>
                  </a:lnTo>
                  <a:lnTo>
                    <a:pt x="575" y="11"/>
                  </a:lnTo>
                  <a:lnTo>
                    <a:pt x="621" y="13"/>
                  </a:lnTo>
                  <a:lnTo>
                    <a:pt x="628" y="21"/>
                  </a:lnTo>
                  <a:lnTo>
                    <a:pt x="638" y="23"/>
                  </a:lnTo>
                  <a:lnTo>
                    <a:pt x="678" y="10"/>
                  </a:lnTo>
                  <a:lnTo>
                    <a:pt x="684" y="0"/>
                  </a:lnTo>
                  <a:lnTo>
                    <a:pt x="702" y="8"/>
                  </a:lnTo>
                  <a:lnTo>
                    <a:pt x="706" y="8"/>
                  </a:lnTo>
                  <a:lnTo>
                    <a:pt x="714" y="11"/>
                  </a:lnTo>
                  <a:lnTo>
                    <a:pt x="723" y="7"/>
                  </a:lnTo>
                  <a:lnTo>
                    <a:pt x="727" y="1"/>
                  </a:lnTo>
                  <a:lnTo>
                    <a:pt x="745" y="7"/>
                  </a:lnTo>
                  <a:lnTo>
                    <a:pt x="752" y="13"/>
                  </a:lnTo>
                  <a:lnTo>
                    <a:pt x="763" y="11"/>
                  </a:lnTo>
                  <a:lnTo>
                    <a:pt x="769" y="8"/>
                  </a:lnTo>
                  <a:lnTo>
                    <a:pt x="781" y="10"/>
                  </a:lnTo>
                  <a:lnTo>
                    <a:pt x="791" y="8"/>
                  </a:lnTo>
                  <a:lnTo>
                    <a:pt x="790" y="13"/>
                  </a:lnTo>
                  <a:lnTo>
                    <a:pt x="773" y="29"/>
                  </a:lnTo>
                  <a:lnTo>
                    <a:pt x="771" y="33"/>
                  </a:lnTo>
                  <a:lnTo>
                    <a:pt x="777" y="35"/>
                  </a:lnTo>
                  <a:lnTo>
                    <a:pt x="778" y="38"/>
                  </a:lnTo>
                  <a:lnTo>
                    <a:pt x="775" y="99"/>
                  </a:lnTo>
                  <a:lnTo>
                    <a:pt x="779" y="105"/>
                  </a:lnTo>
                  <a:lnTo>
                    <a:pt x="770" y="141"/>
                  </a:lnTo>
                  <a:lnTo>
                    <a:pt x="753" y="153"/>
                  </a:lnTo>
                  <a:lnTo>
                    <a:pt x="751" y="161"/>
                  </a:lnTo>
                  <a:lnTo>
                    <a:pt x="744" y="165"/>
                  </a:lnTo>
                  <a:lnTo>
                    <a:pt x="741" y="169"/>
                  </a:lnTo>
                  <a:lnTo>
                    <a:pt x="740" y="171"/>
                  </a:lnTo>
                  <a:lnTo>
                    <a:pt x="731" y="178"/>
                  </a:lnTo>
                  <a:lnTo>
                    <a:pt x="729" y="178"/>
                  </a:lnTo>
                  <a:lnTo>
                    <a:pt x="740" y="215"/>
                  </a:lnTo>
                  <a:lnTo>
                    <a:pt x="756" y="221"/>
                  </a:lnTo>
                  <a:lnTo>
                    <a:pt x="760" y="226"/>
                  </a:lnTo>
                  <a:lnTo>
                    <a:pt x="767" y="243"/>
                  </a:lnTo>
                  <a:lnTo>
                    <a:pt x="767" y="258"/>
                  </a:lnTo>
                  <a:lnTo>
                    <a:pt x="803" y="279"/>
                  </a:lnTo>
                  <a:lnTo>
                    <a:pt x="805" y="279"/>
                  </a:lnTo>
                  <a:lnTo>
                    <a:pt x="821" y="374"/>
                  </a:lnTo>
                  <a:lnTo>
                    <a:pt x="821" y="376"/>
                  </a:lnTo>
                  <a:lnTo>
                    <a:pt x="813" y="382"/>
                  </a:lnTo>
                  <a:lnTo>
                    <a:pt x="812" y="395"/>
                  </a:lnTo>
                  <a:lnTo>
                    <a:pt x="831" y="425"/>
                  </a:lnTo>
                  <a:lnTo>
                    <a:pt x="834" y="572"/>
                  </a:lnTo>
                  <a:lnTo>
                    <a:pt x="818" y="580"/>
                  </a:lnTo>
                  <a:lnTo>
                    <a:pt x="816" y="587"/>
                  </a:lnTo>
                  <a:lnTo>
                    <a:pt x="820" y="598"/>
                  </a:lnTo>
                  <a:lnTo>
                    <a:pt x="844" y="630"/>
                  </a:lnTo>
                  <a:lnTo>
                    <a:pt x="847" y="656"/>
                  </a:lnTo>
                  <a:lnTo>
                    <a:pt x="860" y="669"/>
                  </a:lnTo>
                  <a:lnTo>
                    <a:pt x="884" y="669"/>
                  </a:lnTo>
                  <a:lnTo>
                    <a:pt x="909" y="680"/>
                  </a:lnTo>
                  <a:lnTo>
                    <a:pt x="928" y="717"/>
                  </a:lnTo>
                  <a:lnTo>
                    <a:pt x="929" y="722"/>
                  </a:lnTo>
                  <a:lnTo>
                    <a:pt x="652" y="917"/>
                  </a:lnTo>
                  <a:lnTo>
                    <a:pt x="553" y="943"/>
                  </a:lnTo>
                  <a:lnTo>
                    <a:pt x="543" y="942"/>
                  </a:lnTo>
                  <a:lnTo>
                    <a:pt x="537" y="935"/>
                  </a:lnTo>
                  <a:lnTo>
                    <a:pt x="537" y="932"/>
                  </a:lnTo>
                  <a:lnTo>
                    <a:pt x="539" y="927"/>
                  </a:lnTo>
                  <a:lnTo>
                    <a:pt x="538" y="922"/>
                  </a:lnTo>
                  <a:lnTo>
                    <a:pt x="539" y="920"/>
                  </a:lnTo>
                  <a:lnTo>
                    <a:pt x="541" y="919"/>
                  </a:lnTo>
                  <a:lnTo>
                    <a:pt x="541" y="917"/>
                  </a:lnTo>
                  <a:lnTo>
                    <a:pt x="539" y="913"/>
                  </a:lnTo>
                  <a:lnTo>
                    <a:pt x="539" y="909"/>
                  </a:lnTo>
                  <a:lnTo>
                    <a:pt x="541" y="907"/>
                  </a:lnTo>
                  <a:lnTo>
                    <a:pt x="540" y="903"/>
                  </a:lnTo>
                  <a:lnTo>
                    <a:pt x="539" y="902"/>
                  </a:lnTo>
                  <a:lnTo>
                    <a:pt x="538" y="900"/>
                  </a:lnTo>
                  <a:lnTo>
                    <a:pt x="534" y="898"/>
                  </a:lnTo>
                  <a:lnTo>
                    <a:pt x="526" y="896"/>
                  </a:lnTo>
                  <a:lnTo>
                    <a:pt x="519" y="891"/>
                  </a:lnTo>
                  <a:lnTo>
                    <a:pt x="516" y="891"/>
                  </a:lnTo>
                  <a:lnTo>
                    <a:pt x="513" y="890"/>
                  </a:lnTo>
                  <a:lnTo>
                    <a:pt x="503" y="890"/>
                  </a:lnTo>
                  <a:lnTo>
                    <a:pt x="500" y="888"/>
                  </a:lnTo>
                  <a:lnTo>
                    <a:pt x="497" y="880"/>
                  </a:lnTo>
                  <a:lnTo>
                    <a:pt x="495" y="879"/>
                  </a:lnTo>
                  <a:lnTo>
                    <a:pt x="488" y="880"/>
                  </a:lnTo>
                  <a:lnTo>
                    <a:pt x="480" y="879"/>
                  </a:lnTo>
                  <a:lnTo>
                    <a:pt x="469" y="871"/>
                  </a:lnTo>
                  <a:lnTo>
                    <a:pt x="468" y="868"/>
                  </a:lnTo>
                  <a:lnTo>
                    <a:pt x="467" y="863"/>
                  </a:lnTo>
                  <a:lnTo>
                    <a:pt x="456" y="857"/>
                  </a:lnTo>
                  <a:lnTo>
                    <a:pt x="451" y="856"/>
                  </a:lnTo>
                  <a:lnTo>
                    <a:pt x="445" y="852"/>
                  </a:lnTo>
                  <a:lnTo>
                    <a:pt x="444" y="848"/>
                  </a:lnTo>
                  <a:lnTo>
                    <a:pt x="446" y="842"/>
                  </a:lnTo>
                  <a:lnTo>
                    <a:pt x="442" y="838"/>
                  </a:lnTo>
                  <a:lnTo>
                    <a:pt x="442" y="835"/>
                  </a:lnTo>
                  <a:lnTo>
                    <a:pt x="169" y="64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1" name="Freeform 88"/>
            <p:cNvSpPr>
              <a:spLocks/>
            </p:cNvSpPr>
            <p:nvPr/>
          </p:nvSpPr>
          <p:spPr bwMode="auto">
            <a:xfrm>
              <a:off x="4900487" y="3000581"/>
              <a:ext cx="286373" cy="248618"/>
            </a:xfrm>
            <a:custGeom>
              <a:avLst/>
              <a:gdLst>
                <a:gd name="T0" fmla="*/ 31 w 241"/>
                <a:gd name="T1" fmla="*/ 1 h 252"/>
                <a:gd name="T2" fmla="*/ 31 w 241"/>
                <a:gd name="T3" fmla="*/ 0 h 252"/>
                <a:gd name="T4" fmla="*/ 31 w 241"/>
                <a:gd name="T5" fmla="*/ 1 h 252"/>
                <a:gd name="T6" fmla="*/ 27 w 241"/>
                <a:gd name="T7" fmla="*/ 2 h 252"/>
                <a:gd name="T8" fmla="*/ 17 w 241"/>
                <a:gd name="T9" fmla="*/ 3 h 252"/>
                <a:gd name="T10" fmla="*/ 16 w 241"/>
                <a:gd name="T11" fmla="*/ 2 h 252"/>
                <a:gd name="T12" fmla="*/ 15 w 241"/>
                <a:gd name="T13" fmla="*/ 2 h 252"/>
                <a:gd name="T14" fmla="*/ 13 w 241"/>
                <a:gd name="T15" fmla="*/ 3 h 252"/>
                <a:gd name="T16" fmla="*/ 12 w 241"/>
                <a:gd name="T17" fmla="*/ 2 h 252"/>
                <a:gd name="T18" fmla="*/ 10 w 241"/>
                <a:gd name="T19" fmla="*/ 2 h 252"/>
                <a:gd name="T20" fmla="*/ 9 w 241"/>
                <a:gd name="T21" fmla="*/ 3 h 252"/>
                <a:gd name="T22" fmla="*/ 8 w 241"/>
                <a:gd name="T23" fmla="*/ 8 h 252"/>
                <a:gd name="T24" fmla="*/ 9 w 241"/>
                <a:gd name="T25" fmla="*/ 9 h 252"/>
                <a:gd name="T26" fmla="*/ 10 w 241"/>
                <a:gd name="T27" fmla="*/ 10 h 252"/>
                <a:gd name="T28" fmla="*/ 11 w 241"/>
                <a:gd name="T29" fmla="*/ 10 h 252"/>
                <a:gd name="T30" fmla="*/ 11 w 241"/>
                <a:gd name="T31" fmla="*/ 10 h 252"/>
                <a:gd name="T32" fmla="*/ 12 w 241"/>
                <a:gd name="T33" fmla="*/ 11 h 252"/>
                <a:gd name="T34" fmla="*/ 11 w 241"/>
                <a:gd name="T35" fmla="*/ 12 h 252"/>
                <a:gd name="T36" fmla="*/ 9 w 241"/>
                <a:gd name="T37" fmla="*/ 13 h 252"/>
                <a:gd name="T38" fmla="*/ 8 w 241"/>
                <a:gd name="T39" fmla="*/ 14 h 252"/>
                <a:gd name="T40" fmla="*/ 2 w 241"/>
                <a:gd name="T41" fmla="*/ 19 h 252"/>
                <a:gd name="T42" fmla="*/ 0 w 241"/>
                <a:gd name="T43" fmla="*/ 29 h 252"/>
                <a:gd name="T44" fmla="*/ 1 w 241"/>
                <a:gd name="T45" fmla="*/ 29 h 252"/>
                <a:gd name="T46" fmla="*/ 1 w 241"/>
                <a:gd name="T47" fmla="*/ 29 h 252"/>
                <a:gd name="T48" fmla="*/ 3 w 241"/>
                <a:gd name="T49" fmla="*/ 29 h 252"/>
                <a:gd name="T50" fmla="*/ 4 w 241"/>
                <a:gd name="T51" fmla="*/ 28 h 252"/>
                <a:gd name="T52" fmla="*/ 4 w 241"/>
                <a:gd name="T53" fmla="*/ 28 h 252"/>
                <a:gd name="T54" fmla="*/ 5 w 241"/>
                <a:gd name="T55" fmla="*/ 28 h 252"/>
                <a:gd name="T56" fmla="*/ 5 w 241"/>
                <a:gd name="T57" fmla="*/ 27 h 252"/>
                <a:gd name="T58" fmla="*/ 9 w 241"/>
                <a:gd name="T59" fmla="*/ 28 h 252"/>
                <a:gd name="T60" fmla="*/ 9 w 241"/>
                <a:gd name="T61" fmla="*/ 27 h 252"/>
                <a:gd name="T62" fmla="*/ 9 w 241"/>
                <a:gd name="T63" fmla="*/ 27 h 252"/>
                <a:gd name="T64" fmla="*/ 16 w 241"/>
                <a:gd name="T65" fmla="*/ 27 h 252"/>
                <a:gd name="T66" fmla="*/ 15 w 241"/>
                <a:gd name="T67" fmla="*/ 27 h 252"/>
                <a:gd name="T68" fmla="*/ 17 w 241"/>
                <a:gd name="T69" fmla="*/ 24 h 252"/>
                <a:gd name="T70" fmla="*/ 16 w 241"/>
                <a:gd name="T71" fmla="*/ 23 h 252"/>
                <a:gd name="T72" fmla="*/ 16 w 241"/>
                <a:gd name="T73" fmla="*/ 23 h 252"/>
                <a:gd name="T74" fmla="*/ 19 w 241"/>
                <a:gd name="T75" fmla="*/ 22 h 252"/>
                <a:gd name="T76" fmla="*/ 20 w 241"/>
                <a:gd name="T77" fmla="*/ 21 h 252"/>
                <a:gd name="T78" fmla="*/ 20 w 241"/>
                <a:gd name="T79" fmla="*/ 22 h 252"/>
                <a:gd name="T80" fmla="*/ 21 w 241"/>
                <a:gd name="T81" fmla="*/ 21 h 252"/>
                <a:gd name="T82" fmla="*/ 22 w 241"/>
                <a:gd name="T83" fmla="*/ 21 h 252"/>
                <a:gd name="T84" fmla="*/ 23 w 241"/>
                <a:gd name="T85" fmla="*/ 21 h 252"/>
                <a:gd name="T86" fmla="*/ 23 w 241"/>
                <a:gd name="T87" fmla="*/ 21 h 252"/>
                <a:gd name="T88" fmla="*/ 25 w 241"/>
                <a:gd name="T89" fmla="*/ 22 h 252"/>
                <a:gd name="T90" fmla="*/ 26 w 241"/>
                <a:gd name="T91" fmla="*/ 20 h 252"/>
                <a:gd name="T92" fmla="*/ 29 w 241"/>
                <a:gd name="T93" fmla="*/ 21 h 252"/>
                <a:gd name="T94" fmla="*/ 30 w 241"/>
                <a:gd name="T95" fmla="*/ 21 h 252"/>
                <a:gd name="T96" fmla="*/ 31 w 241"/>
                <a:gd name="T97" fmla="*/ 21 h 252"/>
                <a:gd name="T98" fmla="*/ 39 w 241"/>
                <a:gd name="T99" fmla="*/ 14 h 252"/>
                <a:gd name="T100" fmla="*/ 39 w 241"/>
                <a:gd name="T101" fmla="*/ 8 h 252"/>
                <a:gd name="T102" fmla="*/ 39 w 241"/>
                <a:gd name="T103" fmla="*/ 7 h 252"/>
                <a:gd name="T104" fmla="*/ 38 w 241"/>
                <a:gd name="T105" fmla="*/ 6 h 252"/>
                <a:gd name="T106" fmla="*/ 36 w 241"/>
                <a:gd name="T107" fmla="*/ 6 h 252"/>
                <a:gd name="T108" fmla="*/ 36 w 241"/>
                <a:gd name="T109" fmla="*/ 5 h 252"/>
                <a:gd name="T110" fmla="*/ 35 w 241"/>
                <a:gd name="T111" fmla="*/ 2 h 252"/>
                <a:gd name="T112" fmla="*/ 35 w 241"/>
                <a:gd name="T113" fmla="*/ 2 h 252"/>
                <a:gd name="T114" fmla="*/ 34 w 241"/>
                <a:gd name="T115" fmla="*/ 2 h 252"/>
                <a:gd name="T116" fmla="*/ 34 w 241"/>
                <a:gd name="T117" fmla="*/ 1 h 252"/>
                <a:gd name="T118" fmla="*/ 34 w 241"/>
                <a:gd name="T119" fmla="*/ 1 h 252"/>
                <a:gd name="T120" fmla="*/ 32 w 241"/>
                <a:gd name="T121" fmla="*/ 1 h 252"/>
                <a:gd name="T122" fmla="*/ 32 w 241"/>
                <a:gd name="T123" fmla="*/ 1 h 252"/>
                <a:gd name="T124" fmla="*/ 31 w 241"/>
                <a:gd name="T125" fmla="*/ 1 h 2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1"/>
                <a:gd name="T190" fmla="*/ 0 h 252"/>
                <a:gd name="T191" fmla="*/ 241 w 241"/>
                <a:gd name="T192" fmla="*/ 252 h 2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1" h="252">
                  <a:moveTo>
                    <a:pt x="193" y="3"/>
                  </a:moveTo>
                  <a:lnTo>
                    <a:pt x="193" y="0"/>
                  </a:lnTo>
                  <a:lnTo>
                    <a:pt x="193" y="2"/>
                  </a:lnTo>
                  <a:lnTo>
                    <a:pt x="172" y="16"/>
                  </a:lnTo>
                  <a:lnTo>
                    <a:pt x="106" y="25"/>
                  </a:lnTo>
                  <a:lnTo>
                    <a:pt x="100" y="18"/>
                  </a:lnTo>
                  <a:lnTo>
                    <a:pt x="90" y="18"/>
                  </a:lnTo>
                  <a:lnTo>
                    <a:pt x="82" y="21"/>
                  </a:lnTo>
                  <a:lnTo>
                    <a:pt x="73" y="18"/>
                  </a:lnTo>
                  <a:lnTo>
                    <a:pt x="61" y="18"/>
                  </a:lnTo>
                  <a:lnTo>
                    <a:pt x="55" y="23"/>
                  </a:lnTo>
                  <a:lnTo>
                    <a:pt x="51" y="67"/>
                  </a:lnTo>
                  <a:lnTo>
                    <a:pt x="53" y="75"/>
                  </a:lnTo>
                  <a:lnTo>
                    <a:pt x="62" y="81"/>
                  </a:lnTo>
                  <a:lnTo>
                    <a:pt x="68" y="83"/>
                  </a:lnTo>
                  <a:lnTo>
                    <a:pt x="70" y="88"/>
                  </a:lnTo>
                  <a:lnTo>
                    <a:pt x="72" y="94"/>
                  </a:lnTo>
                  <a:lnTo>
                    <a:pt x="67" y="101"/>
                  </a:lnTo>
                  <a:lnTo>
                    <a:pt x="56" y="112"/>
                  </a:lnTo>
                  <a:lnTo>
                    <a:pt x="47" y="117"/>
                  </a:lnTo>
                  <a:lnTo>
                    <a:pt x="14" y="160"/>
                  </a:lnTo>
                  <a:lnTo>
                    <a:pt x="0" y="248"/>
                  </a:lnTo>
                  <a:lnTo>
                    <a:pt x="3" y="250"/>
                  </a:lnTo>
                  <a:lnTo>
                    <a:pt x="9" y="252"/>
                  </a:lnTo>
                  <a:lnTo>
                    <a:pt x="16" y="251"/>
                  </a:lnTo>
                  <a:lnTo>
                    <a:pt x="21" y="241"/>
                  </a:lnTo>
                  <a:lnTo>
                    <a:pt x="24" y="239"/>
                  </a:lnTo>
                  <a:lnTo>
                    <a:pt x="30" y="237"/>
                  </a:lnTo>
                  <a:lnTo>
                    <a:pt x="34" y="234"/>
                  </a:lnTo>
                  <a:lnTo>
                    <a:pt x="53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96" y="233"/>
                  </a:lnTo>
                  <a:lnTo>
                    <a:pt x="92" y="228"/>
                  </a:lnTo>
                  <a:lnTo>
                    <a:pt x="102" y="205"/>
                  </a:lnTo>
                  <a:lnTo>
                    <a:pt x="100" y="200"/>
                  </a:lnTo>
                  <a:lnTo>
                    <a:pt x="101" y="196"/>
                  </a:lnTo>
                  <a:lnTo>
                    <a:pt x="118" y="191"/>
                  </a:lnTo>
                  <a:lnTo>
                    <a:pt x="122" y="185"/>
                  </a:lnTo>
                  <a:lnTo>
                    <a:pt x="127" y="187"/>
                  </a:lnTo>
                  <a:lnTo>
                    <a:pt x="131" y="185"/>
                  </a:lnTo>
                  <a:lnTo>
                    <a:pt x="133" y="180"/>
                  </a:lnTo>
                  <a:lnTo>
                    <a:pt x="138" y="183"/>
                  </a:lnTo>
                  <a:lnTo>
                    <a:pt x="146" y="184"/>
                  </a:lnTo>
                  <a:lnTo>
                    <a:pt x="153" y="187"/>
                  </a:lnTo>
                  <a:lnTo>
                    <a:pt x="162" y="173"/>
                  </a:lnTo>
                  <a:lnTo>
                    <a:pt x="180" y="180"/>
                  </a:lnTo>
                  <a:lnTo>
                    <a:pt x="186" y="178"/>
                  </a:lnTo>
                  <a:lnTo>
                    <a:pt x="193" y="180"/>
                  </a:lnTo>
                  <a:lnTo>
                    <a:pt x="239" y="120"/>
                  </a:lnTo>
                  <a:lnTo>
                    <a:pt x="241" y="68"/>
                  </a:lnTo>
                  <a:lnTo>
                    <a:pt x="239" y="63"/>
                  </a:lnTo>
                  <a:lnTo>
                    <a:pt x="233" y="56"/>
                  </a:lnTo>
                  <a:lnTo>
                    <a:pt x="223" y="50"/>
                  </a:lnTo>
                  <a:lnTo>
                    <a:pt x="219" y="46"/>
                  </a:lnTo>
                  <a:lnTo>
                    <a:pt x="213" y="18"/>
                  </a:lnTo>
                  <a:lnTo>
                    <a:pt x="211" y="16"/>
                  </a:lnTo>
                  <a:lnTo>
                    <a:pt x="210" y="15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197" y="6"/>
                  </a:lnTo>
                  <a:lnTo>
                    <a:pt x="196" y="4"/>
                  </a:lnTo>
                  <a:lnTo>
                    <a:pt x="193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2" name="Freeform 89"/>
            <p:cNvSpPr>
              <a:spLocks/>
            </p:cNvSpPr>
            <p:nvPr/>
          </p:nvSpPr>
          <p:spPr bwMode="auto">
            <a:xfrm>
              <a:off x="4900487" y="3000581"/>
              <a:ext cx="286373" cy="248618"/>
            </a:xfrm>
            <a:custGeom>
              <a:avLst/>
              <a:gdLst>
                <a:gd name="T0" fmla="*/ 31 w 241"/>
                <a:gd name="T1" fmla="*/ 1 h 252"/>
                <a:gd name="T2" fmla="*/ 31 w 241"/>
                <a:gd name="T3" fmla="*/ 0 h 252"/>
                <a:gd name="T4" fmla="*/ 31 w 241"/>
                <a:gd name="T5" fmla="*/ 1 h 252"/>
                <a:gd name="T6" fmla="*/ 27 w 241"/>
                <a:gd name="T7" fmla="*/ 2 h 252"/>
                <a:gd name="T8" fmla="*/ 17 w 241"/>
                <a:gd name="T9" fmla="*/ 3 h 252"/>
                <a:gd name="T10" fmla="*/ 16 w 241"/>
                <a:gd name="T11" fmla="*/ 2 h 252"/>
                <a:gd name="T12" fmla="*/ 15 w 241"/>
                <a:gd name="T13" fmla="*/ 2 h 252"/>
                <a:gd name="T14" fmla="*/ 13 w 241"/>
                <a:gd name="T15" fmla="*/ 3 h 252"/>
                <a:gd name="T16" fmla="*/ 12 w 241"/>
                <a:gd name="T17" fmla="*/ 2 h 252"/>
                <a:gd name="T18" fmla="*/ 10 w 241"/>
                <a:gd name="T19" fmla="*/ 2 h 252"/>
                <a:gd name="T20" fmla="*/ 9 w 241"/>
                <a:gd name="T21" fmla="*/ 3 h 252"/>
                <a:gd name="T22" fmla="*/ 8 w 241"/>
                <a:gd name="T23" fmla="*/ 8 h 252"/>
                <a:gd name="T24" fmla="*/ 9 w 241"/>
                <a:gd name="T25" fmla="*/ 9 h 252"/>
                <a:gd name="T26" fmla="*/ 10 w 241"/>
                <a:gd name="T27" fmla="*/ 10 h 252"/>
                <a:gd name="T28" fmla="*/ 11 w 241"/>
                <a:gd name="T29" fmla="*/ 10 h 252"/>
                <a:gd name="T30" fmla="*/ 11 w 241"/>
                <a:gd name="T31" fmla="*/ 10 h 252"/>
                <a:gd name="T32" fmla="*/ 12 w 241"/>
                <a:gd name="T33" fmla="*/ 11 h 252"/>
                <a:gd name="T34" fmla="*/ 11 w 241"/>
                <a:gd name="T35" fmla="*/ 12 h 252"/>
                <a:gd name="T36" fmla="*/ 9 w 241"/>
                <a:gd name="T37" fmla="*/ 13 h 252"/>
                <a:gd name="T38" fmla="*/ 8 w 241"/>
                <a:gd name="T39" fmla="*/ 14 h 252"/>
                <a:gd name="T40" fmla="*/ 2 w 241"/>
                <a:gd name="T41" fmla="*/ 19 h 252"/>
                <a:gd name="T42" fmla="*/ 0 w 241"/>
                <a:gd name="T43" fmla="*/ 29 h 252"/>
                <a:gd name="T44" fmla="*/ 1 w 241"/>
                <a:gd name="T45" fmla="*/ 29 h 252"/>
                <a:gd name="T46" fmla="*/ 1 w 241"/>
                <a:gd name="T47" fmla="*/ 29 h 252"/>
                <a:gd name="T48" fmla="*/ 3 w 241"/>
                <a:gd name="T49" fmla="*/ 29 h 252"/>
                <a:gd name="T50" fmla="*/ 4 w 241"/>
                <a:gd name="T51" fmla="*/ 28 h 252"/>
                <a:gd name="T52" fmla="*/ 4 w 241"/>
                <a:gd name="T53" fmla="*/ 28 h 252"/>
                <a:gd name="T54" fmla="*/ 5 w 241"/>
                <a:gd name="T55" fmla="*/ 28 h 252"/>
                <a:gd name="T56" fmla="*/ 5 w 241"/>
                <a:gd name="T57" fmla="*/ 27 h 252"/>
                <a:gd name="T58" fmla="*/ 9 w 241"/>
                <a:gd name="T59" fmla="*/ 28 h 252"/>
                <a:gd name="T60" fmla="*/ 9 w 241"/>
                <a:gd name="T61" fmla="*/ 27 h 252"/>
                <a:gd name="T62" fmla="*/ 9 w 241"/>
                <a:gd name="T63" fmla="*/ 27 h 252"/>
                <a:gd name="T64" fmla="*/ 16 w 241"/>
                <a:gd name="T65" fmla="*/ 27 h 252"/>
                <a:gd name="T66" fmla="*/ 15 w 241"/>
                <a:gd name="T67" fmla="*/ 27 h 252"/>
                <a:gd name="T68" fmla="*/ 17 w 241"/>
                <a:gd name="T69" fmla="*/ 24 h 252"/>
                <a:gd name="T70" fmla="*/ 16 w 241"/>
                <a:gd name="T71" fmla="*/ 23 h 252"/>
                <a:gd name="T72" fmla="*/ 16 w 241"/>
                <a:gd name="T73" fmla="*/ 23 h 252"/>
                <a:gd name="T74" fmla="*/ 19 w 241"/>
                <a:gd name="T75" fmla="*/ 22 h 252"/>
                <a:gd name="T76" fmla="*/ 20 w 241"/>
                <a:gd name="T77" fmla="*/ 21 h 252"/>
                <a:gd name="T78" fmla="*/ 20 w 241"/>
                <a:gd name="T79" fmla="*/ 22 h 252"/>
                <a:gd name="T80" fmla="*/ 21 w 241"/>
                <a:gd name="T81" fmla="*/ 21 h 252"/>
                <a:gd name="T82" fmla="*/ 22 w 241"/>
                <a:gd name="T83" fmla="*/ 21 h 252"/>
                <a:gd name="T84" fmla="*/ 23 w 241"/>
                <a:gd name="T85" fmla="*/ 21 h 252"/>
                <a:gd name="T86" fmla="*/ 23 w 241"/>
                <a:gd name="T87" fmla="*/ 21 h 252"/>
                <a:gd name="T88" fmla="*/ 25 w 241"/>
                <a:gd name="T89" fmla="*/ 22 h 252"/>
                <a:gd name="T90" fmla="*/ 26 w 241"/>
                <a:gd name="T91" fmla="*/ 20 h 252"/>
                <a:gd name="T92" fmla="*/ 29 w 241"/>
                <a:gd name="T93" fmla="*/ 21 h 252"/>
                <a:gd name="T94" fmla="*/ 30 w 241"/>
                <a:gd name="T95" fmla="*/ 21 h 252"/>
                <a:gd name="T96" fmla="*/ 31 w 241"/>
                <a:gd name="T97" fmla="*/ 21 h 252"/>
                <a:gd name="T98" fmla="*/ 39 w 241"/>
                <a:gd name="T99" fmla="*/ 14 h 252"/>
                <a:gd name="T100" fmla="*/ 39 w 241"/>
                <a:gd name="T101" fmla="*/ 8 h 252"/>
                <a:gd name="T102" fmla="*/ 39 w 241"/>
                <a:gd name="T103" fmla="*/ 7 h 252"/>
                <a:gd name="T104" fmla="*/ 38 w 241"/>
                <a:gd name="T105" fmla="*/ 6 h 252"/>
                <a:gd name="T106" fmla="*/ 36 w 241"/>
                <a:gd name="T107" fmla="*/ 6 h 252"/>
                <a:gd name="T108" fmla="*/ 36 w 241"/>
                <a:gd name="T109" fmla="*/ 5 h 252"/>
                <a:gd name="T110" fmla="*/ 35 w 241"/>
                <a:gd name="T111" fmla="*/ 2 h 252"/>
                <a:gd name="T112" fmla="*/ 35 w 241"/>
                <a:gd name="T113" fmla="*/ 2 h 252"/>
                <a:gd name="T114" fmla="*/ 34 w 241"/>
                <a:gd name="T115" fmla="*/ 2 h 252"/>
                <a:gd name="T116" fmla="*/ 34 w 241"/>
                <a:gd name="T117" fmla="*/ 1 h 252"/>
                <a:gd name="T118" fmla="*/ 34 w 241"/>
                <a:gd name="T119" fmla="*/ 1 h 252"/>
                <a:gd name="T120" fmla="*/ 32 w 241"/>
                <a:gd name="T121" fmla="*/ 1 h 252"/>
                <a:gd name="T122" fmla="*/ 32 w 241"/>
                <a:gd name="T123" fmla="*/ 1 h 252"/>
                <a:gd name="T124" fmla="*/ 31 w 241"/>
                <a:gd name="T125" fmla="*/ 1 h 2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1"/>
                <a:gd name="T190" fmla="*/ 0 h 252"/>
                <a:gd name="T191" fmla="*/ 241 w 241"/>
                <a:gd name="T192" fmla="*/ 252 h 25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1" h="252">
                  <a:moveTo>
                    <a:pt x="193" y="3"/>
                  </a:moveTo>
                  <a:lnTo>
                    <a:pt x="193" y="0"/>
                  </a:lnTo>
                  <a:lnTo>
                    <a:pt x="193" y="2"/>
                  </a:lnTo>
                  <a:lnTo>
                    <a:pt x="172" y="16"/>
                  </a:lnTo>
                  <a:lnTo>
                    <a:pt x="106" y="25"/>
                  </a:lnTo>
                  <a:lnTo>
                    <a:pt x="100" y="18"/>
                  </a:lnTo>
                  <a:lnTo>
                    <a:pt x="90" y="18"/>
                  </a:lnTo>
                  <a:lnTo>
                    <a:pt x="82" y="21"/>
                  </a:lnTo>
                  <a:lnTo>
                    <a:pt x="73" y="18"/>
                  </a:lnTo>
                  <a:lnTo>
                    <a:pt x="61" y="18"/>
                  </a:lnTo>
                  <a:lnTo>
                    <a:pt x="55" y="23"/>
                  </a:lnTo>
                  <a:lnTo>
                    <a:pt x="51" y="67"/>
                  </a:lnTo>
                  <a:lnTo>
                    <a:pt x="53" y="75"/>
                  </a:lnTo>
                  <a:lnTo>
                    <a:pt x="62" y="81"/>
                  </a:lnTo>
                  <a:lnTo>
                    <a:pt x="68" y="83"/>
                  </a:lnTo>
                  <a:lnTo>
                    <a:pt x="70" y="88"/>
                  </a:lnTo>
                  <a:lnTo>
                    <a:pt x="72" y="94"/>
                  </a:lnTo>
                  <a:lnTo>
                    <a:pt x="67" y="101"/>
                  </a:lnTo>
                  <a:lnTo>
                    <a:pt x="56" y="112"/>
                  </a:lnTo>
                  <a:lnTo>
                    <a:pt x="47" y="117"/>
                  </a:lnTo>
                  <a:lnTo>
                    <a:pt x="14" y="160"/>
                  </a:lnTo>
                  <a:lnTo>
                    <a:pt x="0" y="248"/>
                  </a:lnTo>
                  <a:lnTo>
                    <a:pt x="3" y="250"/>
                  </a:lnTo>
                  <a:lnTo>
                    <a:pt x="9" y="252"/>
                  </a:lnTo>
                  <a:lnTo>
                    <a:pt x="16" y="251"/>
                  </a:lnTo>
                  <a:lnTo>
                    <a:pt x="21" y="241"/>
                  </a:lnTo>
                  <a:lnTo>
                    <a:pt x="24" y="239"/>
                  </a:lnTo>
                  <a:lnTo>
                    <a:pt x="30" y="237"/>
                  </a:lnTo>
                  <a:lnTo>
                    <a:pt x="34" y="234"/>
                  </a:lnTo>
                  <a:lnTo>
                    <a:pt x="53" y="236"/>
                  </a:lnTo>
                  <a:lnTo>
                    <a:pt x="58" y="234"/>
                  </a:lnTo>
                  <a:lnTo>
                    <a:pt x="58" y="232"/>
                  </a:lnTo>
                  <a:lnTo>
                    <a:pt x="96" y="233"/>
                  </a:lnTo>
                  <a:lnTo>
                    <a:pt x="92" y="228"/>
                  </a:lnTo>
                  <a:lnTo>
                    <a:pt x="102" y="205"/>
                  </a:lnTo>
                  <a:lnTo>
                    <a:pt x="100" y="200"/>
                  </a:lnTo>
                  <a:lnTo>
                    <a:pt x="101" y="196"/>
                  </a:lnTo>
                  <a:lnTo>
                    <a:pt x="118" y="191"/>
                  </a:lnTo>
                  <a:lnTo>
                    <a:pt x="122" y="185"/>
                  </a:lnTo>
                  <a:lnTo>
                    <a:pt x="127" y="187"/>
                  </a:lnTo>
                  <a:lnTo>
                    <a:pt x="131" y="185"/>
                  </a:lnTo>
                  <a:lnTo>
                    <a:pt x="133" y="180"/>
                  </a:lnTo>
                  <a:lnTo>
                    <a:pt x="138" y="183"/>
                  </a:lnTo>
                  <a:lnTo>
                    <a:pt x="146" y="184"/>
                  </a:lnTo>
                  <a:lnTo>
                    <a:pt x="153" y="187"/>
                  </a:lnTo>
                  <a:lnTo>
                    <a:pt x="162" y="173"/>
                  </a:lnTo>
                  <a:lnTo>
                    <a:pt x="180" y="180"/>
                  </a:lnTo>
                  <a:lnTo>
                    <a:pt x="186" y="178"/>
                  </a:lnTo>
                  <a:lnTo>
                    <a:pt x="193" y="180"/>
                  </a:lnTo>
                  <a:lnTo>
                    <a:pt x="239" y="120"/>
                  </a:lnTo>
                  <a:lnTo>
                    <a:pt x="241" y="68"/>
                  </a:lnTo>
                  <a:lnTo>
                    <a:pt x="239" y="63"/>
                  </a:lnTo>
                  <a:lnTo>
                    <a:pt x="233" y="56"/>
                  </a:lnTo>
                  <a:lnTo>
                    <a:pt x="223" y="50"/>
                  </a:lnTo>
                  <a:lnTo>
                    <a:pt x="219" y="46"/>
                  </a:lnTo>
                  <a:lnTo>
                    <a:pt x="213" y="18"/>
                  </a:lnTo>
                  <a:lnTo>
                    <a:pt x="211" y="16"/>
                  </a:lnTo>
                  <a:lnTo>
                    <a:pt x="210" y="15"/>
                  </a:lnTo>
                  <a:lnTo>
                    <a:pt x="210" y="9"/>
                  </a:lnTo>
                  <a:lnTo>
                    <a:pt x="209" y="7"/>
                  </a:lnTo>
                  <a:lnTo>
                    <a:pt x="197" y="6"/>
                  </a:lnTo>
                  <a:lnTo>
                    <a:pt x="196" y="4"/>
                  </a:lnTo>
                  <a:lnTo>
                    <a:pt x="193" y="3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3" name="Freeform 90"/>
            <p:cNvSpPr>
              <a:spLocks/>
            </p:cNvSpPr>
            <p:nvPr/>
          </p:nvSpPr>
          <p:spPr bwMode="auto">
            <a:xfrm>
              <a:off x="6119096" y="2020950"/>
              <a:ext cx="430576" cy="402614"/>
            </a:xfrm>
            <a:custGeom>
              <a:avLst/>
              <a:gdLst>
                <a:gd name="T0" fmla="*/ 29 w 356"/>
                <a:gd name="T1" fmla="*/ 1 h 405"/>
                <a:gd name="T2" fmla="*/ 29 w 356"/>
                <a:gd name="T3" fmla="*/ 4 h 405"/>
                <a:gd name="T4" fmla="*/ 31 w 356"/>
                <a:gd name="T5" fmla="*/ 4 h 405"/>
                <a:gd name="T6" fmla="*/ 29 w 356"/>
                <a:gd name="T7" fmla="*/ 5 h 405"/>
                <a:gd name="T8" fmla="*/ 29 w 356"/>
                <a:gd name="T9" fmla="*/ 17 h 405"/>
                <a:gd name="T10" fmla="*/ 0 w 356"/>
                <a:gd name="T11" fmla="*/ 35 h 405"/>
                <a:gd name="T12" fmla="*/ 17 w 356"/>
                <a:gd name="T13" fmla="*/ 46 h 405"/>
                <a:gd name="T14" fmla="*/ 23 w 356"/>
                <a:gd name="T15" fmla="*/ 47 h 405"/>
                <a:gd name="T16" fmla="*/ 25 w 356"/>
                <a:gd name="T17" fmla="*/ 46 h 405"/>
                <a:gd name="T18" fmla="*/ 26 w 356"/>
                <a:gd name="T19" fmla="*/ 43 h 405"/>
                <a:gd name="T20" fmla="*/ 32 w 356"/>
                <a:gd name="T21" fmla="*/ 41 h 405"/>
                <a:gd name="T22" fmla="*/ 35 w 356"/>
                <a:gd name="T23" fmla="*/ 41 h 405"/>
                <a:gd name="T24" fmla="*/ 36 w 356"/>
                <a:gd name="T25" fmla="*/ 38 h 405"/>
                <a:gd name="T26" fmla="*/ 39 w 356"/>
                <a:gd name="T27" fmla="*/ 35 h 405"/>
                <a:gd name="T28" fmla="*/ 40 w 356"/>
                <a:gd name="T29" fmla="*/ 35 h 405"/>
                <a:gd name="T30" fmla="*/ 44 w 356"/>
                <a:gd name="T31" fmla="*/ 35 h 405"/>
                <a:gd name="T32" fmla="*/ 46 w 356"/>
                <a:gd name="T33" fmla="*/ 34 h 405"/>
                <a:gd name="T34" fmla="*/ 45 w 356"/>
                <a:gd name="T35" fmla="*/ 33 h 405"/>
                <a:gd name="T36" fmla="*/ 45 w 356"/>
                <a:gd name="T37" fmla="*/ 29 h 405"/>
                <a:gd name="T38" fmla="*/ 48 w 356"/>
                <a:gd name="T39" fmla="*/ 26 h 405"/>
                <a:gd name="T40" fmla="*/ 49 w 356"/>
                <a:gd name="T41" fmla="*/ 26 h 405"/>
                <a:gd name="T42" fmla="*/ 50 w 356"/>
                <a:gd name="T43" fmla="*/ 26 h 405"/>
                <a:gd name="T44" fmla="*/ 51 w 356"/>
                <a:gd name="T45" fmla="*/ 26 h 405"/>
                <a:gd name="T46" fmla="*/ 57 w 356"/>
                <a:gd name="T47" fmla="*/ 21 h 405"/>
                <a:gd name="T48" fmla="*/ 61 w 356"/>
                <a:gd name="T49" fmla="*/ 14 h 405"/>
                <a:gd name="T50" fmla="*/ 60 w 356"/>
                <a:gd name="T51" fmla="*/ 14 h 405"/>
                <a:gd name="T52" fmla="*/ 58 w 356"/>
                <a:gd name="T53" fmla="*/ 13 h 405"/>
                <a:gd name="T54" fmla="*/ 57 w 356"/>
                <a:gd name="T55" fmla="*/ 11 h 405"/>
                <a:gd name="T56" fmla="*/ 55 w 356"/>
                <a:gd name="T57" fmla="*/ 10 h 405"/>
                <a:gd name="T58" fmla="*/ 51 w 356"/>
                <a:gd name="T59" fmla="*/ 8 h 405"/>
                <a:gd name="T60" fmla="*/ 48 w 356"/>
                <a:gd name="T61" fmla="*/ 7 h 405"/>
                <a:gd name="T62" fmla="*/ 41 w 356"/>
                <a:gd name="T63" fmla="*/ 5 h 405"/>
                <a:gd name="T64" fmla="*/ 38 w 356"/>
                <a:gd name="T65" fmla="*/ 4 h 405"/>
                <a:gd name="T66" fmla="*/ 36 w 356"/>
                <a:gd name="T67" fmla="*/ 2 h 405"/>
                <a:gd name="T68" fmla="*/ 34 w 356"/>
                <a:gd name="T69" fmla="*/ 0 h 40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6"/>
                <a:gd name="T106" fmla="*/ 0 h 405"/>
                <a:gd name="T107" fmla="*/ 356 w 356"/>
                <a:gd name="T108" fmla="*/ 405 h 40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6" h="405">
                  <a:moveTo>
                    <a:pt x="197" y="0"/>
                  </a:moveTo>
                  <a:lnTo>
                    <a:pt x="169" y="1"/>
                  </a:lnTo>
                  <a:lnTo>
                    <a:pt x="175" y="28"/>
                  </a:lnTo>
                  <a:lnTo>
                    <a:pt x="171" y="32"/>
                  </a:lnTo>
                  <a:lnTo>
                    <a:pt x="175" y="34"/>
                  </a:lnTo>
                  <a:lnTo>
                    <a:pt x="178" y="33"/>
                  </a:lnTo>
                  <a:lnTo>
                    <a:pt x="176" y="44"/>
                  </a:lnTo>
                  <a:lnTo>
                    <a:pt x="164" y="45"/>
                  </a:lnTo>
                  <a:lnTo>
                    <a:pt x="146" y="109"/>
                  </a:lnTo>
                  <a:lnTo>
                    <a:pt x="169" y="144"/>
                  </a:lnTo>
                  <a:lnTo>
                    <a:pt x="137" y="242"/>
                  </a:lnTo>
                  <a:lnTo>
                    <a:pt x="0" y="289"/>
                  </a:lnTo>
                  <a:lnTo>
                    <a:pt x="47" y="405"/>
                  </a:lnTo>
                  <a:lnTo>
                    <a:pt x="97" y="386"/>
                  </a:lnTo>
                  <a:lnTo>
                    <a:pt x="126" y="387"/>
                  </a:lnTo>
                  <a:lnTo>
                    <a:pt x="129" y="388"/>
                  </a:lnTo>
                  <a:lnTo>
                    <a:pt x="134" y="389"/>
                  </a:lnTo>
                  <a:lnTo>
                    <a:pt x="143" y="382"/>
                  </a:lnTo>
                  <a:lnTo>
                    <a:pt x="150" y="372"/>
                  </a:lnTo>
                  <a:lnTo>
                    <a:pt x="150" y="361"/>
                  </a:lnTo>
                  <a:lnTo>
                    <a:pt x="163" y="347"/>
                  </a:lnTo>
                  <a:lnTo>
                    <a:pt x="187" y="342"/>
                  </a:lnTo>
                  <a:lnTo>
                    <a:pt x="195" y="342"/>
                  </a:lnTo>
                  <a:lnTo>
                    <a:pt x="201" y="339"/>
                  </a:lnTo>
                  <a:lnTo>
                    <a:pt x="208" y="331"/>
                  </a:lnTo>
                  <a:lnTo>
                    <a:pt x="212" y="311"/>
                  </a:lnTo>
                  <a:lnTo>
                    <a:pt x="219" y="303"/>
                  </a:lnTo>
                  <a:lnTo>
                    <a:pt x="225" y="298"/>
                  </a:lnTo>
                  <a:lnTo>
                    <a:pt x="232" y="296"/>
                  </a:lnTo>
                  <a:lnTo>
                    <a:pt x="235" y="291"/>
                  </a:lnTo>
                  <a:lnTo>
                    <a:pt x="240" y="292"/>
                  </a:lnTo>
                  <a:lnTo>
                    <a:pt x="257" y="290"/>
                  </a:lnTo>
                  <a:lnTo>
                    <a:pt x="264" y="287"/>
                  </a:lnTo>
                  <a:lnTo>
                    <a:pt x="266" y="283"/>
                  </a:lnTo>
                  <a:lnTo>
                    <a:pt x="263" y="275"/>
                  </a:lnTo>
                  <a:lnTo>
                    <a:pt x="262" y="273"/>
                  </a:lnTo>
                  <a:lnTo>
                    <a:pt x="261" y="254"/>
                  </a:lnTo>
                  <a:lnTo>
                    <a:pt x="262" y="246"/>
                  </a:lnTo>
                  <a:lnTo>
                    <a:pt x="262" y="239"/>
                  </a:lnTo>
                  <a:lnTo>
                    <a:pt x="279" y="216"/>
                  </a:lnTo>
                  <a:lnTo>
                    <a:pt x="283" y="213"/>
                  </a:lnTo>
                  <a:lnTo>
                    <a:pt x="285" y="215"/>
                  </a:lnTo>
                  <a:lnTo>
                    <a:pt x="287" y="219"/>
                  </a:lnTo>
                  <a:lnTo>
                    <a:pt x="289" y="221"/>
                  </a:lnTo>
                  <a:lnTo>
                    <a:pt x="294" y="221"/>
                  </a:lnTo>
                  <a:lnTo>
                    <a:pt x="296" y="220"/>
                  </a:lnTo>
                  <a:lnTo>
                    <a:pt x="320" y="182"/>
                  </a:lnTo>
                  <a:lnTo>
                    <a:pt x="331" y="173"/>
                  </a:lnTo>
                  <a:lnTo>
                    <a:pt x="351" y="141"/>
                  </a:lnTo>
                  <a:lnTo>
                    <a:pt x="356" y="121"/>
                  </a:lnTo>
                  <a:lnTo>
                    <a:pt x="353" y="118"/>
                  </a:lnTo>
                  <a:lnTo>
                    <a:pt x="350" y="116"/>
                  </a:lnTo>
                  <a:lnTo>
                    <a:pt x="349" y="113"/>
                  </a:lnTo>
                  <a:lnTo>
                    <a:pt x="338" y="111"/>
                  </a:lnTo>
                  <a:lnTo>
                    <a:pt x="330" y="105"/>
                  </a:lnTo>
                  <a:lnTo>
                    <a:pt x="327" y="94"/>
                  </a:lnTo>
                  <a:lnTo>
                    <a:pt x="319" y="88"/>
                  </a:lnTo>
                  <a:lnTo>
                    <a:pt x="318" y="83"/>
                  </a:lnTo>
                  <a:lnTo>
                    <a:pt x="305" y="67"/>
                  </a:lnTo>
                  <a:lnTo>
                    <a:pt x="296" y="62"/>
                  </a:lnTo>
                  <a:lnTo>
                    <a:pt x="290" y="62"/>
                  </a:lnTo>
                  <a:lnTo>
                    <a:pt x="277" y="56"/>
                  </a:lnTo>
                  <a:lnTo>
                    <a:pt x="263" y="55"/>
                  </a:lnTo>
                  <a:lnTo>
                    <a:pt x="238" y="45"/>
                  </a:lnTo>
                  <a:lnTo>
                    <a:pt x="229" y="37"/>
                  </a:lnTo>
                  <a:lnTo>
                    <a:pt x="222" y="34"/>
                  </a:lnTo>
                  <a:lnTo>
                    <a:pt x="209" y="20"/>
                  </a:lnTo>
                  <a:lnTo>
                    <a:pt x="208" y="18"/>
                  </a:lnTo>
                  <a:lnTo>
                    <a:pt x="201" y="12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4" name="Freeform 91"/>
            <p:cNvSpPr>
              <a:spLocks/>
            </p:cNvSpPr>
            <p:nvPr/>
          </p:nvSpPr>
          <p:spPr bwMode="auto">
            <a:xfrm>
              <a:off x="6119096" y="2020950"/>
              <a:ext cx="430576" cy="402614"/>
            </a:xfrm>
            <a:custGeom>
              <a:avLst/>
              <a:gdLst>
                <a:gd name="T0" fmla="*/ 29 w 356"/>
                <a:gd name="T1" fmla="*/ 1 h 405"/>
                <a:gd name="T2" fmla="*/ 29 w 356"/>
                <a:gd name="T3" fmla="*/ 4 h 405"/>
                <a:gd name="T4" fmla="*/ 31 w 356"/>
                <a:gd name="T5" fmla="*/ 4 h 405"/>
                <a:gd name="T6" fmla="*/ 29 w 356"/>
                <a:gd name="T7" fmla="*/ 5 h 405"/>
                <a:gd name="T8" fmla="*/ 29 w 356"/>
                <a:gd name="T9" fmla="*/ 17 h 405"/>
                <a:gd name="T10" fmla="*/ 0 w 356"/>
                <a:gd name="T11" fmla="*/ 35 h 405"/>
                <a:gd name="T12" fmla="*/ 17 w 356"/>
                <a:gd name="T13" fmla="*/ 46 h 405"/>
                <a:gd name="T14" fmla="*/ 23 w 356"/>
                <a:gd name="T15" fmla="*/ 47 h 405"/>
                <a:gd name="T16" fmla="*/ 25 w 356"/>
                <a:gd name="T17" fmla="*/ 46 h 405"/>
                <a:gd name="T18" fmla="*/ 26 w 356"/>
                <a:gd name="T19" fmla="*/ 43 h 405"/>
                <a:gd name="T20" fmla="*/ 32 w 356"/>
                <a:gd name="T21" fmla="*/ 41 h 405"/>
                <a:gd name="T22" fmla="*/ 35 w 356"/>
                <a:gd name="T23" fmla="*/ 41 h 405"/>
                <a:gd name="T24" fmla="*/ 36 w 356"/>
                <a:gd name="T25" fmla="*/ 38 h 405"/>
                <a:gd name="T26" fmla="*/ 39 w 356"/>
                <a:gd name="T27" fmla="*/ 35 h 405"/>
                <a:gd name="T28" fmla="*/ 40 w 356"/>
                <a:gd name="T29" fmla="*/ 35 h 405"/>
                <a:gd name="T30" fmla="*/ 44 w 356"/>
                <a:gd name="T31" fmla="*/ 35 h 405"/>
                <a:gd name="T32" fmla="*/ 46 w 356"/>
                <a:gd name="T33" fmla="*/ 34 h 405"/>
                <a:gd name="T34" fmla="*/ 45 w 356"/>
                <a:gd name="T35" fmla="*/ 33 h 405"/>
                <a:gd name="T36" fmla="*/ 45 w 356"/>
                <a:gd name="T37" fmla="*/ 29 h 405"/>
                <a:gd name="T38" fmla="*/ 48 w 356"/>
                <a:gd name="T39" fmla="*/ 26 h 405"/>
                <a:gd name="T40" fmla="*/ 49 w 356"/>
                <a:gd name="T41" fmla="*/ 26 h 405"/>
                <a:gd name="T42" fmla="*/ 50 w 356"/>
                <a:gd name="T43" fmla="*/ 26 h 405"/>
                <a:gd name="T44" fmla="*/ 51 w 356"/>
                <a:gd name="T45" fmla="*/ 26 h 405"/>
                <a:gd name="T46" fmla="*/ 57 w 356"/>
                <a:gd name="T47" fmla="*/ 21 h 405"/>
                <a:gd name="T48" fmla="*/ 61 w 356"/>
                <a:gd name="T49" fmla="*/ 14 h 405"/>
                <a:gd name="T50" fmla="*/ 60 w 356"/>
                <a:gd name="T51" fmla="*/ 14 h 405"/>
                <a:gd name="T52" fmla="*/ 58 w 356"/>
                <a:gd name="T53" fmla="*/ 13 h 405"/>
                <a:gd name="T54" fmla="*/ 57 w 356"/>
                <a:gd name="T55" fmla="*/ 11 h 405"/>
                <a:gd name="T56" fmla="*/ 55 w 356"/>
                <a:gd name="T57" fmla="*/ 10 h 405"/>
                <a:gd name="T58" fmla="*/ 51 w 356"/>
                <a:gd name="T59" fmla="*/ 8 h 405"/>
                <a:gd name="T60" fmla="*/ 48 w 356"/>
                <a:gd name="T61" fmla="*/ 7 h 405"/>
                <a:gd name="T62" fmla="*/ 41 w 356"/>
                <a:gd name="T63" fmla="*/ 5 h 405"/>
                <a:gd name="T64" fmla="*/ 38 w 356"/>
                <a:gd name="T65" fmla="*/ 4 h 405"/>
                <a:gd name="T66" fmla="*/ 36 w 356"/>
                <a:gd name="T67" fmla="*/ 2 h 405"/>
                <a:gd name="T68" fmla="*/ 34 w 356"/>
                <a:gd name="T69" fmla="*/ 0 h 405"/>
                <a:gd name="T70" fmla="*/ 34 w 356"/>
                <a:gd name="T71" fmla="*/ 0 h 40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6"/>
                <a:gd name="T109" fmla="*/ 0 h 405"/>
                <a:gd name="T110" fmla="*/ 356 w 356"/>
                <a:gd name="T111" fmla="*/ 405 h 40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6" h="405">
                  <a:moveTo>
                    <a:pt x="197" y="0"/>
                  </a:moveTo>
                  <a:lnTo>
                    <a:pt x="169" y="1"/>
                  </a:lnTo>
                  <a:lnTo>
                    <a:pt x="175" y="28"/>
                  </a:lnTo>
                  <a:lnTo>
                    <a:pt x="171" y="32"/>
                  </a:lnTo>
                  <a:lnTo>
                    <a:pt x="175" y="34"/>
                  </a:lnTo>
                  <a:lnTo>
                    <a:pt x="178" y="33"/>
                  </a:lnTo>
                  <a:lnTo>
                    <a:pt x="176" y="44"/>
                  </a:lnTo>
                  <a:lnTo>
                    <a:pt x="164" y="45"/>
                  </a:lnTo>
                  <a:lnTo>
                    <a:pt x="146" y="109"/>
                  </a:lnTo>
                  <a:lnTo>
                    <a:pt x="169" y="144"/>
                  </a:lnTo>
                  <a:lnTo>
                    <a:pt x="137" y="242"/>
                  </a:lnTo>
                  <a:lnTo>
                    <a:pt x="0" y="289"/>
                  </a:lnTo>
                  <a:lnTo>
                    <a:pt x="47" y="405"/>
                  </a:lnTo>
                  <a:lnTo>
                    <a:pt x="97" y="386"/>
                  </a:lnTo>
                  <a:lnTo>
                    <a:pt x="126" y="387"/>
                  </a:lnTo>
                  <a:lnTo>
                    <a:pt x="129" y="388"/>
                  </a:lnTo>
                  <a:lnTo>
                    <a:pt x="134" y="389"/>
                  </a:lnTo>
                  <a:lnTo>
                    <a:pt x="143" y="382"/>
                  </a:lnTo>
                  <a:lnTo>
                    <a:pt x="150" y="372"/>
                  </a:lnTo>
                  <a:lnTo>
                    <a:pt x="150" y="361"/>
                  </a:lnTo>
                  <a:lnTo>
                    <a:pt x="163" y="347"/>
                  </a:lnTo>
                  <a:lnTo>
                    <a:pt x="187" y="342"/>
                  </a:lnTo>
                  <a:lnTo>
                    <a:pt x="195" y="342"/>
                  </a:lnTo>
                  <a:lnTo>
                    <a:pt x="201" y="339"/>
                  </a:lnTo>
                  <a:lnTo>
                    <a:pt x="208" y="331"/>
                  </a:lnTo>
                  <a:lnTo>
                    <a:pt x="212" y="311"/>
                  </a:lnTo>
                  <a:lnTo>
                    <a:pt x="219" y="303"/>
                  </a:lnTo>
                  <a:lnTo>
                    <a:pt x="225" y="298"/>
                  </a:lnTo>
                  <a:lnTo>
                    <a:pt x="232" y="296"/>
                  </a:lnTo>
                  <a:lnTo>
                    <a:pt x="235" y="291"/>
                  </a:lnTo>
                  <a:lnTo>
                    <a:pt x="240" y="292"/>
                  </a:lnTo>
                  <a:lnTo>
                    <a:pt x="257" y="290"/>
                  </a:lnTo>
                  <a:lnTo>
                    <a:pt x="264" y="287"/>
                  </a:lnTo>
                  <a:lnTo>
                    <a:pt x="266" y="283"/>
                  </a:lnTo>
                  <a:lnTo>
                    <a:pt x="263" y="275"/>
                  </a:lnTo>
                  <a:lnTo>
                    <a:pt x="262" y="273"/>
                  </a:lnTo>
                  <a:lnTo>
                    <a:pt x="261" y="254"/>
                  </a:lnTo>
                  <a:lnTo>
                    <a:pt x="262" y="246"/>
                  </a:lnTo>
                  <a:lnTo>
                    <a:pt x="262" y="239"/>
                  </a:lnTo>
                  <a:lnTo>
                    <a:pt x="279" y="216"/>
                  </a:lnTo>
                  <a:lnTo>
                    <a:pt x="283" y="213"/>
                  </a:lnTo>
                  <a:lnTo>
                    <a:pt x="285" y="215"/>
                  </a:lnTo>
                  <a:lnTo>
                    <a:pt x="287" y="219"/>
                  </a:lnTo>
                  <a:lnTo>
                    <a:pt x="289" y="221"/>
                  </a:lnTo>
                  <a:lnTo>
                    <a:pt x="294" y="221"/>
                  </a:lnTo>
                  <a:lnTo>
                    <a:pt x="296" y="220"/>
                  </a:lnTo>
                  <a:lnTo>
                    <a:pt x="320" y="182"/>
                  </a:lnTo>
                  <a:lnTo>
                    <a:pt x="331" y="173"/>
                  </a:lnTo>
                  <a:lnTo>
                    <a:pt x="351" y="141"/>
                  </a:lnTo>
                  <a:lnTo>
                    <a:pt x="356" y="121"/>
                  </a:lnTo>
                  <a:lnTo>
                    <a:pt x="353" y="118"/>
                  </a:lnTo>
                  <a:lnTo>
                    <a:pt x="350" y="116"/>
                  </a:lnTo>
                  <a:lnTo>
                    <a:pt x="349" y="113"/>
                  </a:lnTo>
                  <a:lnTo>
                    <a:pt x="338" y="111"/>
                  </a:lnTo>
                  <a:lnTo>
                    <a:pt x="330" y="105"/>
                  </a:lnTo>
                  <a:lnTo>
                    <a:pt x="327" y="94"/>
                  </a:lnTo>
                  <a:lnTo>
                    <a:pt x="319" y="88"/>
                  </a:lnTo>
                  <a:lnTo>
                    <a:pt x="318" y="83"/>
                  </a:lnTo>
                  <a:lnTo>
                    <a:pt x="305" y="67"/>
                  </a:lnTo>
                  <a:lnTo>
                    <a:pt x="296" y="62"/>
                  </a:lnTo>
                  <a:lnTo>
                    <a:pt x="290" y="62"/>
                  </a:lnTo>
                  <a:lnTo>
                    <a:pt x="277" y="56"/>
                  </a:lnTo>
                  <a:lnTo>
                    <a:pt x="263" y="55"/>
                  </a:lnTo>
                  <a:lnTo>
                    <a:pt x="238" y="45"/>
                  </a:lnTo>
                  <a:lnTo>
                    <a:pt x="229" y="37"/>
                  </a:lnTo>
                  <a:lnTo>
                    <a:pt x="222" y="34"/>
                  </a:lnTo>
                  <a:lnTo>
                    <a:pt x="209" y="20"/>
                  </a:lnTo>
                  <a:lnTo>
                    <a:pt x="208" y="18"/>
                  </a:lnTo>
                  <a:lnTo>
                    <a:pt x="201" y="12"/>
                  </a:lnTo>
                  <a:lnTo>
                    <a:pt x="197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5" name="Freeform 92"/>
            <p:cNvSpPr>
              <a:spLocks/>
            </p:cNvSpPr>
            <p:nvPr/>
          </p:nvSpPr>
          <p:spPr bwMode="auto">
            <a:xfrm>
              <a:off x="3905287" y="3967225"/>
              <a:ext cx="735228" cy="599282"/>
            </a:xfrm>
            <a:custGeom>
              <a:avLst/>
              <a:gdLst>
                <a:gd name="T0" fmla="*/ 17 w 614"/>
                <a:gd name="T1" fmla="*/ 3 h 603"/>
                <a:gd name="T2" fmla="*/ 13 w 614"/>
                <a:gd name="T3" fmla="*/ 1 h 603"/>
                <a:gd name="T4" fmla="*/ 8 w 614"/>
                <a:gd name="T5" fmla="*/ 0 h 603"/>
                <a:gd name="T6" fmla="*/ 5 w 614"/>
                <a:gd name="T7" fmla="*/ 2 h 603"/>
                <a:gd name="T8" fmla="*/ 3 w 614"/>
                <a:gd name="T9" fmla="*/ 1 h 603"/>
                <a:gd name="T10" fmla="*/ 0 w 614"/>
                <a:gd name="T11" fmla="*/ 5 h 603"/>
                <a:gd name="T12" fmla="*/ 1 w 614"/>
                <a:gd name="T13" fmla="*/ 7 h 603"/>
                <a:gd name="T14" fmla="*/ 4 w 614"/>
                <a:gd name="T15" fmla="*/ 11 h 603"/>
                <a:gd name="T16" fmla="*/ 17 w 614"/>
                <a:gd name="T17" fmla="*/ 27 h 603"/>
                <a:gd name="T18" fmla="*/ 21 w 614"/>
                <a:gd name="T19" fmla="*/ 43 h 603"/>
                <a:gd name="T20" fmla="*/ 24 w 614"/>
                <a:gd name="T21" fmla="*/ 52 h 603"/>
                <a:gd name="T22" fmla="*/ 25 w 614"/>
                <a:gd name="T23" fmla="*/ 55 h 603"/>
                <a:gd name="T24" fmla="*/ 36 w 614"/>
                <a:gd name="T25" fmla="*/ 70 h 603"/>
                <a:gd name="T26" fmla="*/ 37 w 614"/>
                <a:gd name="T27" fmla="*/ 70 h 603"/>
                <a:gd name="T28" fmla="*/ 38 w 614"/>
                <a:gd name="T29" fmla="*/ 70 h 603"/>
                <a:gd name="T30" fmla="*/ 41 w 614"/>
                <a:gd name="T31" fmla="*/ 67 h 603"/>
                <a:gd name="T32" fmla="*/ 45 w 614"/>
                <a:gd name="T33" fmla="*/ 71 h 603"/>
                <a:gd name="T34" fmla="*/ 49 w 614"/>
                <a:gd name="T35" fmla="*/ 72 h 603"/>
                <a:gd name="T36" fmla="*/ 57 w 614"/>
                <a:gd name="T37" fmla="*/ 72 h 603"/>
                <a:gd name="T38" fmla="*/ 62 w 614"/>
                <a:gd name="T39" fmla="*/ 69 h 603"/>
                <a:gd name="T40" fmla="*/ 71 w 614"/>
                <a:gd name="T41" fmla="*/ 29 h 603"/>
                <a:gd name="T42" fmla="*/ 71 w 614"/>
                <a:gd name="T43" fmla="*/ 9 h 603"/>
                <a:gd name="T44" fmla="*/ 90 w 614"/>
                <a:gd name="T45" fmla="*/ 7 h 603"/>
                <a:gd name="T46" fmla="*/ 91 w 614"/>
                <a:gd name="T47" fmla="*/ 10 h 603"/>
                <a:gd name="T48" fmla="*/ 96 w 614"/>
                <a:gd name="T49" fmla="*/ 7 h 603"/>
                <a:gd name="T50" fmla="*/ 100 w 614"/>
                <a:gd name="T51" fmla="*/ 5 h 603"/>
                <a:gd name="T52" fmla="*/ 102 w 614"/>
                <a:gd name="T53" fmla="*/ 5 h 603"/>
                <a:gd name="T54" fmla="*/ 100 w 614"/>
                <a:gd name="T55" fmla="*/ 3 h 603"/>
                <a:gd name="T56" fmla="*/ 96 w 614"/>
                <a:gd name="T57" fmla="*/ 3 h 603"/>
                <a:gd name="T58" fmla="*/ 88 w 614"/>
                <a:gd name="T59" fmla="*/ 4 h 603"/>
                <a:gd name="T60" fmla="*/ 74 w 614"/>
                <a:gd name="T61" fmla="*/ 6 h 603"/>
                <a:gd name="T62" fmla="*/ 53 w 614"/>
                <a:gd name="T63" fmla="*/ 4 h 603"/>
                <a:gd name="T64" fmla="*/ 48 w 614"/>
                <a:gd name="T65" fmla="*/ 3 h 6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14"/>
                <a:gd name="T100" fmla="*/ 0 h 603"/>
                <a:gd name="T101" fmla="*/ 614 w 614"/>
                <a:gd name="T102" fmla="*/ 603 h 6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14" h="603">
                  <a:moveTo>
                    <a:pt x="289" y="21"/>
                  </a:moveTo>
                  <a:lnTo>
                    <a:pt x="102" y="23"/>
                  </a:lnTo>
                  <a:lnTo>
                    <a:pt x="90" y="12"/>
                  </a:lnTo>
                  <a:lnTo>
                    <a:pt x="80" y="8"/>
                  </a:lnTo>
                  <a:lnTo>
                    <a:pt x="76" y="1"/>
                  </a:lnTo>
                  <a:lnTo>
                    <a:pt x="48" y="0"/>
                  </a:lnTo>
                  <a:lnTo>
                    <a:pt x="41" y="3"/>
                  </a:lnTo>
                  <a:lnTo>
                    <a:pt x="32" y="11"/>
                  </a:lnTo>
                  <a:lnTo>
                    <a:pt x="26" y="13"/>
                  </a:lnTo>
                  <a:lnTo>
                    <a:pt x="18" y="8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2" y="61"/>
                  </a:lnTo>
                  <a:lnTo>
                    <a:pt x="15" y="85"/>
                  </a:lnTo>
                  <a:lnTo>
                    <a:pt x="22" y="90"/>
                  </a:lnTo>
                  <a:lnTo>
                    <a:pt x="98" y="227"/>
                  </a:lnTo>
                  <a:lnTo>
                    <a:pt x="98" y="232"/>
                  </a:lnTo>
                  <a:lnTo>
                    <a:pt x="124" y="276"/>
                  </a:lnTo>
                  <a:lnTo>
                    <a:pt x="128" y="362"/>
                  </a:lnTo>
                  <a:lnTo>
                    <a:pt x="143" y="397"/>
                  </a:lnTo>
                  <a:lnTo>
                    <a:pt x="143" y="435"/>
                  </a:lnTo>
                  <a:lnTo>
                    <a:pt x="151" y="455"/>
                  </a:lnTo>
                  <a:lnTo>
                    <a:pt x="149" y="463"/>
                  </a:lnTo>
                  <a:lnTo>
                    <a:pt x="162" y="519"/>
                  </a:lnTo>
                  <a:lnTo>
                    <a:pt x="214" y="582"/>
                  </a:lnTo>
                  <a:lnTo>
                    <a:pt x="217" y="582"/>
                  </a:lnTo>
                  <a:lnTo>
                    <a:pt x="219" y="584"/>
                  </a:lnTo>
                  <a:lnTo>
                    <a:pt x="225" y="584"/>
                  </a:lnTo>
                  <a:lnTo>
                    <a:pt x="228" y="582"/>
                  </a:lnTo>
                  <a:lnTo>
                    <a:pt x="237" y="566"/>
                  </a:lnTo>
                  <a:lnTo>
                    <a:pt x="247" y="565"/>
                  </a:lnTo>
                  <a:lnTo>
                    <a:pt x="269" y="580"/>
                  </a:lnTo>
                  <a:lnTo>
                    <a:pt x="269" y="590"/>
                  </a:lnTo>
                  <a:lnTo>
                    <a:pt x="278" y="602"/>
                  </a:lnTo>
                  <a:lnTo>
                    <a:pt x="292" y="603"/>
                  </a:lnTo>
                  <a:lnTo>
                    <a:pt x="304" y="599"/>
                  </a:lnTo>
                  <a:lnTo>
                    <a:pt x="338" y="602"/>
                  </a:lnTo>
                  <a:lnTo>
                    <a:pt x="363" y="581"/>
                  </a:lnTo>
                  <a:lnTo>
                    <a:pt x="376" y="576"/>
                  </a:lnTo>
                  <a:lnTo>
                    <a:pt x="376" y="246"/>
                  </a:lnTo>
                  <a:lnTo>
                    <a:pt x="423" y="246"/>
                  </a:lnTo>
                  <a:lnTo>
                    <a:pt x="423" y="75"/>
                  </a:lnTo>
                  <a:lnTo>
                    <a:pt x="427" y="71"/>
                  </a:lnTo>
                  <a:lnTo>
                    <a:pt x="528" y="58"/>
                  </a:lnTo>
                  <a:lnTo>
                    <a:pt x="537" y="61"/>
                  </a:lnTo>
                  <a:lnTo>
                    <a:pt x="542" y="70"/>
                  </a:lnTo>
                  <a:lnTo>
                    <a:pt x="544" y="83"/>
                  </a:lnTo>
                  <a:lnTo>
                    <a:pt x="558" y="67"/>
                  </a:lnTo>
                  <a:lnTo>
                    <a:pt x="571" y="58"/>
                  </a:lnTo>
                  <a:lnTo>
                    <a:pt x="594" y="52"/>
                  </a:lnTo>
                  <a:lnTo>
                    <a:pt x="598" y="46"/>
                  </a:lnTo>
                  <a:lnTo>
                    <a:pt x="604" y="42"/>
                  </a:lnTo>
                  <a:lnTo>
                    <a:pt x="614" y="42"/>
                  </a:lnTo>
                  <a:lnTo>
                    <a:pt x="606" y="31"/>
                  </a:lnTo>
                  <a:lnTo>
                    <a:pt x="603" y="29"/>
                  </a:lnTo>
                  <a:lnTo>
                    <a:pt x="574" y="26"/>
                  </a:lnTo>
                  <a:lnTo>
                    <a:pt x="572" y="24"/>
                  </a:lnTo>
                  <a:lnTo>
                    <a:pt x="530" y="33"/>
                  </a:lnTo>
                  <a:lnTo>
                    <a:pt x="528" y="35"/>
                  </a:lnTo>
                  <a:lnTo>
                    <a:pt x="448" y="56"/>
                  </a:lnTo>
                  <a:lnTo>
                    <a:pt x="445" y="53"/>
                  </a:lnTo>
                  <a:lnTo>
                    <a:pt x="324" y="38"/>
                  </a:lnTo>
                  <a:lnTo>
                    <a:pt x="317" y="31"/>
                  </a:lnTo>
                  <a:lnTo>
                    <a:pt x="305" y="21"/>
                  </a:lnTo>
                  <a:lnTo>
                    <a:pt x="289" y="2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6" name="Freeform 93"/>
            <p:cNvSpPr>
              <a:spLocks/>
            </p:cNvSpPr>
            <p:nvPr/>
          </p:nvSpPr>
          <p:spPr bwMode="auto">
            <a:xfrm>
              <a:off x="3905287" y="3967225"/>
              <a:ext cx="735228" cy="599282"/>
            </a:xfrm>
            <a:custGeom>
              <a:avLst/>
              <a:gdLst>
                <a:gd name="T0" fmla="*/ 17 w 614"/>
                <a:gd name="T1" fmla="*/ 3 h 603"/>
                <a:gd name="T2" fmla="*/ 13 w 614"/>
                <a:gd name="T3" fmla="*/ 1 h 603"/>
                <a:gd name="T4" fmla="*/ 8 w 614"/>
                <a:gd name="T5" fmla="*/ 0 h 603"/>
                <a:gd name="T6" fmla="*/ 5 w 614"/>
                <a:gd name="T7" fmla="*/ 2 h 603"/>
                <a:gd name="T8" fmla="*/ 3 w 614"/>
                <a:gd name="T9" fmla="*/ 1 h 603"/>
                <a:gd name="T10" fmla="*/ 0 w 614"/>
                <a:gd name="T11" fmla="*/ 5 h 603"/>
                <a:gd name="T12" fmla="*/ 1 w 614"/>
                <a:gd name="T13" fmla="*/ 7 h 603"/>
                <a:gd name="T14" fmla="*/ 4 w 614"/>
                <a:gd name="T15" fmla="*/ 11 h 603"/>
                <a:gd name="T16" fmla="*/ 17 w 614"/>
                <a:gd name="T17" fmla="*/ 27 h 603"/>
                <a:gd name="T18" fmla="*/ 21 w 614"/>
                <a:gd name="T19" fmla="*/ 43 h 603"/>
                <a:gd name="T20" fmla="*/ 24 w 614"/>
                <a:gd name="T21" fmla="*/ 52 h 603"/>
                <a:gd name="T22" fmla="*/ 25 w 614"/>
                <a:gd name="T23" fmla="*/ 55 h 603"/>
                <a:gd name="T24" fmla="*/ 36 w 614"/>
                <a:gd name="T25" fmla="*/ 70 h 603"/>
                <a:gd name="T26" fmla="*/ 37 w 614"/>
                <a:gd name="T27" fmla="*/ 70 h 603"/>
                <a:gd name="T28" fmla="*/ 38 w 614"/>
                <a:gd name="T29" fmla="*/ 70 h 603"/>
                <a:gd name="T30" fmla="*/ 41 w 614"/>
                <a:gd name="T31" fmla="*/ 67 h 603"/>
                <a:gd name="T32" fmla="*/ 45 w 614"/>
                <a:gd name="T33" fmla="*/ 71 h 603"/>
                <a:gd name="T34" fmla="*/ 49 w 614"/>
                <a:gd name="T35" fmla="*/ 72 h 603"/>
                <a:gd name="T36" fmla="*/ 57 w 614"/>
                <a:gd name="T37" fmla="*/ 72 h 603"/>
                <a:gd name="T38" fmla="*/ 62 w 614"/>
                <a:gd name="T39" fmla="*/ 69 h 603"/>
                <a:gd name="T40" fmla="*/ 71 w 614"/>
                <a:gd name="T41" fmla="*/ 29 h 603"/>
                <a:gd name="T42" fmla="*/ 71 w 614"/>
                <a:gd name="T43" fmla="*/ 9 h 603"/>
                <a:gd name="T44" fmla="*/ 90 w 614"/>
                <a:gd name="T45" fmla="*/ 7 h 603"/>
                <a:gd name="T46" fmla="*/ 91 w 614"/>
                <a:gd name="T47" fmla="*/ 10 h 603"/>
                <a:gd name="T48" fmla="*/ 96 w 614"/>
                <a:gd name="T49" fmla="*/ 7 h 603"/>
                <a:gd name="T50" fmla="*/ 100 w 614"/>
                <a:gd name="T51" fmla="*/ 5 h 603"/>
                <a:gd name="T52" fmla="*/ 102 w 614"/>
                <a:gd name="T53" fmla="*/ 5 h 603"/>
                <a:gd name="T54" fmla="*/ 100 w 614"/>
                <a:gd name="T55" fmla="*/ 3 h 603"/>
                <a:gd name="T56" fmla="*/ 96 w 614"/>
                <a:gd name="T57" fmla="*/ 3 h 603"/>
                <a:gd name="T58" fmla="*/ 88 w 614"/>
                <a:gd name="T59" fmla="*/ 4 h 603"/>
                <a:gd name="T60" fmla="*/ 74 w 614"/>
                <a:gd name="T61" fmla="*/ 6 h 603"/>
                <a:gd name="T62" fmla="*/ 53 w 614"/>
                <a:gd name="T63" fmla="*/ 4 h 603"/>
                <a:gd name="T64" fmla="*/ 48 w 614"/>
                <a:gd name="T65" fmla="*/ 3 h 6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14"/>
                <a:gd name="T100" fmla="*/ 0 h 603"/>
                <a:gd name="T101" fmla="*/ 614 w 614"/>
                <a:gd name="T102" fmla="*/ 603 h 6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14" h="603">
                  <a:moveTo>
                    <a:pt x="289" y="21"/>
                  </a:moveTo>
                  <a:lnTo>
                    <a:pt x="102" y="23"/>
                  </a:lnTo>
                  <a:lnTo>
                    <a:pt x="90" y="12"/>
                  </a:lnTo>
                  <a:lnTo>
                    <a:pt x="80" y="8"/>
                  </a:lnTo>
                  <a:lnTo>
                    <a:pt x="76" y="1"/>
                  </a:lnTo>
                  <a:lnTo>
                    <a:pt x="48" y="0"/>
                  </a:lnTo>
                  <a:lnTo>
                    <a:pt x="41" y="3"/>
                  </a:lnTo>
                  <a:lnTo>
                    <a:pt x="32" y="11"/>
                  </a:lnTo>
                  <a:lnTo>
                    <a:pt x="26" y="13"/>
                  </a:lnTo>
                  <a:lnTo>
                    <a:pt x="18" y="8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2" y="53"/>
                  </a:lnTo>
                  <a:lnTo>
                    <a:pt x="2" y="61"/>
                  </a:lnTo>
                  <a:lnTo>
                    <a:pt x="15" y="85"/>
                  </a:lnTo>
                  <a:lnTo>
                    <a:pt x="22" y="90"/>
                  </a:lnTo>
                  <a:lnTo>
                    <a:pt x="98" y="227"/>
                  </a:lnTo>
                  <a:lnTo>
                    <a:pt x="98" y="232"/>
                  </a:lnTo>
                  <a:lnTo>
                    <a:pt x="124" y="276"/>
                  </a:lnTo>
                  <a:lnTo>
                    <a:pt x="128" y="362"/>
                  </a:lnTo>
                  <a:lnTo>
                    <a:pt x="143" y="397"/>
                  </a:lnTo>
                  <a:lnTo>
                    <a:pt x="143" y="435"/>
                  </a:lnTo>
                  <a:lnTo>
                    <a:pt x="151" y="455"/>
                  </a:lnTo>
                  <a:lnTo>
                    <a:pt x="149" y="463"/>
                  </a:lnTo>
                  <a:lnTo>
                    <a:pt x="162" y="519"/>
                  </a:lnTo>
                  <a:lnTo>
                    <a:pt x="214" y="582"/>
                  </a:lnTo>
                  <a:lnTo>
                    <a:pt x="217" y="582"/>
                  </a:lnTo>
                  <a:lnTo>
                    <a:pt x="219" y="584"/>
                  </a:lnTo>
                  <a:lnTo>
                    <a:pt x="225" y="584"/>
                  </a:lnTo>
                  <a:lnTo>
                    <a:pt x="228" y="582"/>
                  </a:lnTo>
                  <a:lnTo>
                    <a:pt x="237" y="566"/>
                  </a:lnTo>
                  <a:lnTo>
                    <a:pt x="247" y="565"/>
                  </a:lnTo>
                  <a:lnTo>
                    <a:pt x="269" y="580"/>
                  </a:lnTo>
                  <a:lnTo>
                    <a:pt x="269" y="590"/>
                  </a:lnTo>
                  <a:lnTo>
                    <a:pt x="278" y="602"/>
                  </a:lnTo>
                  <a:lnTo>
                    <a:pt x="292" y="603"/>
                  </a:lnTo>
                  <a:lnTo>
                    <a:pt x="304" y="599"/>
                  </a:lnTo>
                  <a:lnTo>
                    <a:pt x="338" y="602"/>
                  </a:lnTo>
                  <a:lnTo>
                    <a:pt x="363" y="581"/>
                  </a:lnTo>
                  <a:lnTo>
                    <a:pt x="376" y="576"/>
                  </a:lnTo>
                  <a:lnTo>
                    <a:pt x="376" y="246"/>
                  </a:lnTo>
                  <a:lnTo>
                    <a:pt x="423" y="246"/>
                  </a:lnTo>
                  <a:lnTo>
                    <a:pt x="423" y="75"/>
                  </a:lnTo>
                  <a:lnTo>
                    <a:pt x="427" y="71"/>
                  </a:lnTo>
                  <a:lnTo>
                    <a:pt x="528" y="58"/>
                  </a:lnTo>
                  <a:lnTo>
                    <a:pt x="537" y="61"/>
                  </a:lnTo>
                  <a:lnTo>
                    <a:pt x="542" y="70"/>
                  </a:lnTo>
                  <a:lnTo>
                    <a:pt x="544" y="83"/>
                  </a:lnTo>
                  <a:lnTo>
                    <a:pt x="558" y="67"/>
                  </a:lnTo>
                  <a:lnTo>
                    <a:pt x="571" y="58"/>
                  </a:lnTo>
                  <a:lnTo>
                    <a:pt x="594" y="52"/>
                  </a:lnTo>
                  <a:lnTo>
                    <a:pt x="598" y="46"/>
                  </a:lnTo>
                  <a:lnTo>
                    <a:pt x="604" y="42"/>
                  </a:lnTo>
                  <a:lnTo>
                    <a:pt x="614" y="42"/>
                  </a:lnTo>
                  <a:lnTo>
                    <a:pt x="606" y="31"/>
                  </a:lnTo>
                  <a:lnTo>
                    <a:pt x="603" y="29"/>
                  </a:lnTo>
                  <a:lnTo>
                    <a:pt x="574" y="26"/>
                  </a:lnTo>
                  <a:lnTo>
                    <a:pt x="572" y="24"/>
                  </a:lnTo>
                  <a:lnTo>
                    <a:pt x="530" y="33"/>
                  </a:lnTo>
                  <a:lnTo>
                    <a:pt x="528" y="35"/>
                  </a:lnTo>
                  <a:lnTo>
                    <a:pt x="448" y="56"/>
                  </a:lnTo>
                  <a:lnTo>
                    <a:pt x="445" y="53"/>
                  </a:lnTo>
                  <a:lnTo>
                    <a:pt x="324" y="38"/>
                  </a:lnTo>
                  <a:lnTo>
                    <a:pt x="317" y="31"/>
                  </a:lnTo>
                  <a:lnTo>
                    <a:pt x="305" y="21"/>
                  </a:lnTo>
                  <a:lnTo>
                    <a:pt x="289" y="2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7" name="Freeform 94"/>
            <p:cNvSpPr>
              <a:spLocks/>
            </p:cNvSpPr>
            <p:nvPr/>
          </p:nvSpPr>
          <p:spPr bwMode="auto">
            <a:xfrm>
              <a:off x="4959387" y="4399525"/>
              <a:ext cx="67023" cy="72359"/>
            </a:xfrm>
            <a:custGeom>
              <a:avLst/>
              <a:gdLst>
                <a:gd name="T0" fmla="*/ 9 w 57"/>
                <a:gd name="T1" fmla="*/ 6 h 76"/>
                <a:gd name="T2" fmla="*/ 8 w 57"/>
                <a:gd name="T3" fmla="*/ 1 h 76"/>
                <a:gd name="T4" fmla="*/ 8 w 57"/>
                <a:gd name="T5" fmla="*/ 2 h 76"/>
                <a:gd name="T6" fmla="*/ 5 w 57"/>
                <a:gd name="T7" fmla="*/ 0 h 76"/>
                <a:gd name="T8" fmla="*/ 3 w 57"/>
                <a:gd name="T9" fmla="*/ 1 h 76"/>
                <a:gd name="T10" fmla="*/ 0 w 57"/>
                <a:gd name="T11" fmla="*/ 5 h 76"/>
                <a:gd name="T12" fmla="*/ 2 w 57"/>
                <a:gd name="T13" fmla="*/ 7 h 76"/>
                <a:gd name="T14" fmla="*/ 6 w 57"/>
                <a:gd name="T15" fmla="*/ 8 h 76"/>
                <a:gd name="T16" fmla="*/ 7 w 57"/>
                <a:gd name="T17" fmla="*/ 7 h 76"/>
                <a:gd name="T18" fmla="*/ 8 w 57"/>
                <a:gd name="T19" fmla="*/ 6 h 76"/>
                <a:gd name="T20" fmla="*/ 9 w 57"/>
                <a:gd name="T21" fmla="*/ 6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76"/>
                <a:gd name="T35" fmla="*/ 57 w 57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76">
                  <a:moveTo>
                    <a:pt x="57" y="53"/>
                  </a:moveTo>
                  <a:lnTo>
                    <a:pt x="53" y="6"/>
                  </a:lnTo>
                  <a:lnTo>
                    <a:pt x="47" y="13"/>
                  </a:lnTo>
                  <a:lnTo>
                    <a:pt x="28" y="0"/>
                  </a:lnTo>
                  <a:lnTo>
                    <a:pt x="16" y="8"/>
                  </a:lnTo>
                  <a:lnTo>
                    <a:pt x="0" y="46"/>
                  </a:lnTo>
                  <a:lnTo>
                    <a:pt x="10" y="73"/>
                  </a:lnTo>
                  <a:lnTo>
                    <a:pt x="40" y="76"/>
                  </a:lnTo>
                  <a:lnTo>
                    <a:pt x="46" y="69"/>
                  </a:lnTo>
                  <a:lnTo>
                    <a:pt x="50" y="56"/>
                  </a:lnTo>
                  <a:lnTo>
                    <a:pt x="57" y="5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8" name="Freeform 95"/>
            <p:cNvSpPr>
              <a:spLocks/>
            </p:cNvSpPr>
            <p:nvPr/>
          </p:nvSpPr>
          <p:spPr bwMode="auto">
            <a:xfrm>
              <a:off x="4959387" y="4399525"/>
              <a:ext cx="67023" cy="72359"/>
            </a:xfrm>
            <a:custGeom>
              <a:avLst/>
              <a:gdLst>
                <a:gd name="T0" fmla="*/ 9 w 57"/>
                <a:gd name="T1" fmla="*/ 6 h 76"/>
                <a:gd name="T2" fmla="*/ 8 w 57"/>
                <a:gd name="T3" fmla="*/ 1 h 76"/>
                <a:gd name="T4" fmla="*/ 8 w 57"/>
                <a:gd name="T5" fmla="*/ 2 h 76"/>
                <a:gd name="T6" fmla="*/ 5 w 57"/>
                <a:gd name="T7" fmla="*/ 0 h 76"/>
                <a:gd name="T8" fmla="*/ 3 w 57"/>
                <a:gd name="T9" fmla="*/ 1 h 76"/>
                <a:gd name="T10" fmla="*/ 0 w 57"/>
                <a:gd name="T11" fmla="*/ 5 h 76"/>
                <a:gd name="T12" fmla="*/ 2 w 57"/>
                <a:gd name="T13" fmla="*/ 7 h 76"/>
                <a:gd name="T14" fmla="*/ 6 w 57"/>
                <a:gd name="T15" fmla="*/ 8 h 76"/>
                <a:gd name="T16" fmla="*/ 7 w 57"/>
                <a:gd name="T17" fmla="*/ 7 h 76"/>
                <a:gd name="T18" fmla="*/ 8 w 57"/>
                <a:gd name="T19" fmla="*/ 6 h 76"/>
                <a:gd name="T20" fmla="*/ 9 w 57"/>
                <a:gd name="T21" fmla="*/ 6 h 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7"/>
                <a:gd name="T34" fmla="*/ 0 h 76"/>
                <a:gd name="T35" fmla="*/ 57 w 57"/>
                <a:gd name="T36" fmla="*/ 76 h 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7" h="76">
                  <a:moveTo>
                    <a:pt x="57" y="53"/>
                  </a:moveTo>
                  <a:lnTo>
                    <a:pt x="53" y="6"/>
                  </a:lnTo>
                  <a:lnTo>
                    <a:pt x="47" y="13"/>
                  </a:lnTo>
                  <a:lnTo>
                    <a:pt x="28" y="0"/>
                  </a:lnTo>
                  <a:lnTo>
                    <a:pt x="16" y="8"/>
                  </a:lnTo>
                  <a:lnTo>
                    <a:pt x="0" y="46"/>
                  </a:lnTo>
                  <a:lnTo>
                    <a:pt x="10" y="73"/>
                  </a:lnTo>
                  <a:lnTo>
                    <a:pt x="40" y="76"/>
                  </a:lnTo>
                  <a:lnTo>
                    <a:pt x="46" y="69"/>
                  </a:lnTo>
                  <a:lnTo>
                    <a:pt x="50" y="56"/>
                  </a:lnTo>
                  <a:lnTo>
                    <a:pt x="57" y="5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89" name="Freeform 96"/>
            <p:cNvSpPr>
              <a:spLocks/>
            </p:cNvSpPr>
            <p:nvPr/>
          </p:nvSpPr>
          <p:spPr bwMode="auto">
            <a:xfrm>
              <a:off x="6210492" y="2052491"/>
              <a:ext cx="16248" cy="3710"/>
            </a:xfrm>
            <a:custGeom>
              <a:avLst/>
              <a:gdLst>
                <a:gd name="T0" fmla="*/ 0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2 w 13"/>
                <a:gd name="T7" fmla="*/ 0 h 7"/>
                <a:gd name="T8" fmla="*/ 2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1 w 13"/>
                <a:gd name="T15" fmla="*/ 0 h 7"/>
                <a:gd name="T16" fmla="*/ 1 w 13"/>
                <a:gd name="T17" fmla="*/ 0 h 7"/>
                <a:gd name="T18" fmla="*/ 1 w 13"/>
                <a:gd name="T19" fmla="*/ 0 h 7"/>
                <a:gd name="T20" fmla="*/ 0 w 13"/>
                <a:gd name="T21" fmla="*/ 0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7"/>
                <a:gd name="T35" fmla="*/ 13 w 13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7">
                  <a:moveTo>
                    <a:pt x="0" y="6"/>
                  </a:moveTo>
                  <a:lnTo>
                    <a:pt x="6" y="7"/>
                  </a:lnTo>
                  <a:lnTo>
                    <a:pt x="8" y="6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0" name="Freeform 97"/>
            <p:cNvSpPr>
              <a:spLocks/>
            </p:cNvSpPr>
            <p:nvPr/>
          </p:nvSpPr>
          <p:spPr bwMode="auto">
            <a:xfrm>
              <a:off x="6210492" y="2052491"/>
              <a:ext cx="16248" cy="3710"/>
            </a:xfrm>
            <a:custGeom>
              <a:avLst/>
              <a:gdLst>
                <a:gd name="T0" fmla="*/ 0 w 13"/>
                <a:gd name="T1" fmla="*/ 0 h 7"/>
                <a:gd name="T2" fmla="*/ 1 w 13"/>
                <a:gd name="T3" fmla="*/ 0 h 7"/>
                <a:gd name="T4" fmla="*/ 1 w 13"/>
                <a:gd name="T5" fmla="*/ 0 h 7"/>
                <a:gd name="T6" fmla="*/ 2 w 13"/>
                <a:gd name="T7" fmla="*/ 0 h 7"/>
                <a:gd name="T8" fmla="*/ 2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1 w 13"/>
                <a:gd name="T15" fmla="*/ 0 h 7"/>
                <a:gd name="T16" fmla="*/ 1 w 13"/>
                <a:gd name="T17" fmla="*/ 0 h 7"/>
                <a:gd name="T18" fmla="*/ 1 w 13"/>
                <a:gd name="T19" fmla="*/ 0 h 7"/>
                <a:gd name="T20" fmla="*/ 0 w 13"/>
                <a:gd name="T21" fmla="*/ 0 h 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7"/>
                <a:gd name="T35" fmla="*/ 13 w 13"/>
                <a:gd name="T36" fmla="*/ 7 h 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7">
                  <a:moveTo>
                    <a:pt x="0" y="6"/>
                  </a:moveTo>
                  <a:lnTo>
                    <a:pt x="6" y="7"/>
                  </a:lnTo>
                  <a:lnTo>
                    <a:pt x="8" y="6"/>
                  </a:lnTo>
                  <a:lnTo>
                    <a:pt x="11" y="7"/>
                  </a:lnTo>
                  <a:lnTo>
                    <a:pt x="13" y="5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1" name="Freeform 98"/>
            <p:cNvSpPr>
              <a:spLocks/>
            </p:cNvSpPr>
            <p:nvPr/>
          </p:nvSpPr>
          <p:spPr bwMode="auto">
            <a:xfrm>
              <a:off x="5609311" y="2559005"/>
              <a:ext cx="6092" cy="7422"/>
            </a:xfrm>
            <a:custGeom>
              <a:avLst/>
              <a:gdLst>
                <a:gd name="T0" fmla="*/ 2 w 4"/>
                <a:gd name="T1" fmla="*/ 1 h 5"/>
                <a:gd name="T2" fmla="*/ 1 w 4"/>
                <a:gd name="T3" fmla="*/ 2 h 5"/>
                <a:gd name="T4" fmla="*/ 0 w 4"/>
                <a:gd name="T5" fmla="*/ 2 h 5"/>
                <a:gd name="T6" fmla="*/ 2 w 4"/>
                <a:gd name="T7" fmla="*/ 2 h 5"/>
                <a:gd name="T8" fmla="*/ 2 w 4"/>
                <a:gd name="T9" fmla="*/ 0 h 5"/>
                <a:gd name="T10" fmla="*/ 2 w 4"/>
                <a:gd name="T11" fmla="*/ 0 h 5"/>
                <a:gd name="T12" fmla="*/ 2 w 4"/>
                <a:gd name="T13" fmla="*/ 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2" y="1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2" name="Freeform 99"/>
            <p:cNvSpPr>
              <a:spLocks/>
            </p:cNvSpPr>
            <p:nvPr/>
          </p:nvSpPr>
          <p:spPr bwMode="auto">
            <a:xfrm>
              <a:off x="5609311" y="2559005"/>
              <a:ext cx="6092" cy="7422"/>
            </a:xfrm>
            <a:custGeom>
              <a:avLst/>
              <a:gdLst>
                <a:gd name="T0" fmla="*/ 2 w 4"/>
                <a:gd name="T1" fmla="*/ 1 h 5"/>
                <a:gd name="T2" fmla="*/ 1 w 4"/>
                <a:gd name="T3" fmla="*/ 2 h 5"/>
                <a:gd name="T4" fmla="*/ 0 w 4"/>
                <a:gd name="T5" fmla="*/ 2 h 5"/>
                <a:gd name="T6" fmla="*/ 2 w 4"/>
                <a:gd name="T7" fmla="*/ 2 h 5"/>
                <a:gd name="T8" fmla="*/ 2 w 4"/>
                <a:gd name="T9" fmla="*/ 0 h 5"/>
                <a:gd name="T10" fmla="*/ 2 w 4"/>
                <a:gd name="T11" fmla="*/ 0 h 5"/>
                <a:gd name="T12" fmla="*/ 2 w 4"/>
                <a:gd name="T13" fmla="*/ 1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5"/>
                <a:gd name="T23" fmla="*/ 4 w 4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5">
                  <a:moveTo>
                    <a:pt x="2" y="1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4" y="3"/>
                  </a:lnTo>
                  <a:lnTo>
                    <a:pt x="4" y="0"/>
                  </a:lnTo>
                  <a:lnTo>
                    <a:pt x="2" y="0"/>
                  </a:lnTo>
                  <a:lnTo>
                    <a:pt x="2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3" name="Freeform 100"/>
            <p:cNvSpPr>
              <a:spLocks/>
            </p:cNvSpPr>
            <p:nvPr/>
          </p:nvSpPr>
          <p:spPr bwMode="auto">
            <a:xfrm>
              <a:off x="5609311" y="2547872"/>
              <a:ext cx="6092" cy="7422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1 h 6"/>
                <a:gd name="T4" fmla="*/ 1 w 5"/>
                <a:gd name="T5" fmla="*/ 2 h 6"/>
                <a:gd name="T6" fmla="*/ 1 w 5"/>
                <a:gd name="T7" fmla="*/ 1 h 6"/>
                <a:gd name="T8" fmla="*/ 1 w 5"/>
                <a:gd name="T9" fmla="*/ 0 h 6"/>
                <a:gd name="T10" fmla="*/ 1 w 5"/>
                <a:gd name="T11" fmla="*/ 0 h 6"/>
                <a:gd name="T12" fmla="*/ 1 w 5"/>
                <a:gd name="T13" fmla="*/ 0 h 6"/>
                <a:gd name="T14" fmla="*/ 0 w 5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3"/>
                  </a:moveTo>
                  <a:lnTo>
                    <a:pt x="3" y="3"/>
                  </a:lnTo>
                  <a:lnTo>
                    <a:pt x="4" y="6"/>
                  </a:lnTo>
                  <a:lnTo>
                    <a:pt x="5" y="4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4" name="Freeform 101"/>
            <p:cNvSpPr>
              <a:spLocks/>
            </p:cNvSpPr>
            <p:nvPr/>
          </p:nvSpPr>
          <p:spPr bwMode="auto">
            <a:xfrm>
              <a:off x="5609311" y="2547872"/>
              <a:ext cx="6092" cy="7422"/>
            </a:xfrm>
            <a:custGeom>
              <a:avLst/>
              <a:gdLst>
                <a:gd name="T0" fmla="*/ 0 w 5"/>
                <a:gd name="T1" fmla="*/ 1 h 6"/>
                <a:gd name="T2" fmla="*/ 1 w 5"/>
                <a:gd name="T3" fmla="*/ 1 h 6"/>
                <a:gd name="T4" fmla="*/ 1 w 5"/>
                <a:gd name="T5" fmla="*/ 2 h 6"/>
                <a:gd name="T6" fmla="*/ 1 w 5"/>
                <a:gd name="T7" fmla="*/ 1 h 6"/>
                <a:gd name="T8" fmla="*/ 1 w 5"/>
                <a:gd name="T9" fmla="*/ 0 h 6"/>
                <a:gd name="T10" fmla="*/ 1 w 5"/>
                <a:gd name="T11" fmla="*/ 0 h 6"/>
                <a:gd name="T12" fmla="*/ 1 w 5"/>
                <a:gd name="T13" fmla="*/ 0 h 6"/>
                <a:gd name="T14" fmla="*/ 0 w 5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6"/>
                <a:gd name="T26" fmla="*/ 5 w 5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6">
                  <a:moveTo>
                    <a:pt x="0" y="3"/>
                  </a:moveTo>
                  <a:lnTo>
                    <a:pt x="3" y="3"/>
                  </a:lnTo>
                  <a:lnTo>
                    <a:pt x="4" y="6"/>
                  </a:lnTo>
                  <a:lnTo>
                    <a:pt x="5" y="4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5" name="Freeform 102"/>
            <p:cNvSpPr>
              <a:spLocks/>
            </p:cNvSpPr>
            <p:nvPr/>
          </p:nvSpPr>
          <p:spPr bwMode="auto">
            <a:xfrm>
              <a:off x="5599155" y="2481079"/>
              <a:ext cx="4062" cy="5567"/>
            </a:xfrm>
            <a:custGeom>
              <a:avLst/>
              <a:gdLst>
                <a:gd name="T0" fmla="*/ 1 w 4"/>
                <a:gd name="T1" fmla="*/ 1 h 6"/>
                <a:gd name="T2" fmla="*/ 1 w 4"/>
                <a:gd name="T3" fmla="*/ 1 h 6"/>
                <a:gd name="T4" fmla="*/ 1 w 4"/>
                <a:gd name="T5" fmla="*/ 1 h 6"/>
                <a:gd name="T6" fmla="*/ 1 w 4"/>
                <a:gd name="T7" fmla="*/ 0 h 6"/>
                <a:gd name="T8" fmla="*/ 1 w 4"/>
                <a:gd name="T9" fmla="*/ 1 h 6"/>
                <a:gd name="T10" fmla="*/ 0 w 4"/>
                <a:gd name="T11" fmla="*/ 1 h 6"/>
                <a:gd name="T12" fmla="*/ 0 w 4"/>
                <a:gd name="T13" fmla="*/ 1 h 6"/>
                <a:gd name="T14" fmla="*/ 1 w 4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1" y="6"/>
                  </a:moveTo>
                  <a:lnTo>
                    <a:pt x="2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6" name="Freeform 103"/>
            <p:cNvSpPr>
              <a:spLocks/>
            </p:cNvSpPr>
            <p:nvPr/>
          </p:nvSpPr>
          <p:spPr bwMode="auto">
            <a:xfrm>
              <a:off x="5599155" y="2481079"/>
              <a:ext cx="4062" cy="5567"/>
            </a:xfrm>
            <a:custGeom>
              <a:avLst/>
              <a:gdLst>
                <a:gd name="T0" fmla="*/ 1 w 4"/>
                <a:gd name="T1" fmla="*/ 1 h 6"/>
                <a:gd name="T2" fmla="*/ 1 w 4"/>
                <a:gd name="T3" fmla="*/ 1 h 6"/>
                <a:gd name="T4" fmla="*/ 1 w 4"/>
                <a:gd name="T5" fmla="*/ 1 h 6"/>
                <a:gd name="T6" fmla="*/ 1 w 4"/>
                <a:gd name="T7" fmla="*/ 0 h 6"/>
                <a:gd name="T8" fmla="*/ 1 w 4"/>
                <a:gd name="T9" fmla="*/ 1 h 6"/>
                <a:gd name="T10" fmla="*/ 0 w 4"/>
                <a:gd name="T11" fmla="*/ 1 h 6"/>
                <a:gd name="T12" fmla="*/ 0 w 4"/>
                <a:gd name="T13" fmla="*/ 1 h 6"/>
                <a:gd name="T14" fmla="*/ 1 w 4"/>
                <a:gd name="T15" fmla="*/ 1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"/>
                <a:gd name="T25" fmla="*/ 0 h 6"/>
                <a:gd name="T26" fmla="*/ 4 w 4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" h="6">
                  <a:moveTo>
                    <a:pt x="1" y="6"/>
                  </a:moveTo>
                  <a:lnTo>
                    <a:pt x="2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3"/>
                  </a:lnTo>
                  <a:lnTo>
                    <a:pt x="0" y="5"/>
                  </a:lnTo>
                  <a:lnTo>
                    <a:pt x="1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7" name="Freeform 104"/>
            <p:cNvSpPr>
              <a:spLocks/>
            </p:cNvSpPr>
            <p:nvPr/>
          </p:nvSpPr>
          <p:spPr bwMode="auto">
            <a:xfrm>
              <a:off x="6409533" y="4115654"/>
              <a:ext cx="22341" cy="24119"/>
            </a:xfrm>
            <a:custGeom>
              <a:avLst/>
              <a:gdLst>
                <a:gd name="T0" fmla="*/ 1 w 18"/>
                <a:gd name="T1" fmla="*/ 1 h 25"/>
                <a:gd name="T2" fmla="*/ 1 w 18"/>
                <a:gd name="T3" fmla="*/ 1 h 25"/>
                <a:gd name="T4" fmla="*/ 2 w 18"/>
                <a:gd name="T5" fmla="*/ 0 h 25"/>
                <a:gd name="T6" fmla="*/ 2 w 18"/>
                <a:gd name="T7" fmla="*/ 1 h 25"/>
                <a:gd name="T8" fmla="*/ 4 w 18"/>
                <a:gd name="T9" fmla="*/ 2 h 25"/>
                <a:gd name="T10" fmla="*/ 4 w 18"/>
                <a:gd name="T11" fmla="*/ 3 h 25"/>
                <a:gd name="T12" fmla="*/ 2 w 18"/>
                <a:gd name="T13" fmla="*/ 3 h 25"/>
                <a:gd name="T14" fmla="*/ 1 w 18"/>
                <a:gd name="T15" fmla="*/ 3 h 25"/>
                <a:gd name="T16" fmla="*/ 0 w 18"/>
                <a:gd name="T17" fmla="*/ 2 h 25"/>
                <a:gd name="T18" fmla="*/ 1 w 18"/>
                <a:gd name="T19" fmla="*/ 1 h 25"/>
                <a:gd name="T20" fmla="*/ 1 w 18"/>
                <a:gd name="T21" fmla="*/ 1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5"/>
                <a:gd name="T35" fmla="*/ 18 w 18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5">
                  <a:moveTo>
                    <a:pt x="7" y="5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15" y="7"/>
                  </a:lnTo>
                  <a:lnTo>
                    <a:pt x="18" y="15"/>
                  </a:lnTo>
                  <a:lnTo>
                    <a:pt x="17" y="21"/>
                  </a:lnTo>
                  <a:lnTo>
                    <a:pt x="12" y="25"/>
                  </a:lnTo>
                  <a:lnTo>
                    <a:pt x="1" y="25"/>
                  </a:lnTo>
                  <a:lnTo>
                    <a:pt x="0" y="17"/>
                  </a:lnTo>
                  <a:lnTo>
                    <a:pt x="3" y="9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8" name="Freeform 105"/>
            <p:cNvSpPr>
              <a:spLocks/>
            </p:cNvSpPr>
            <p:nvPr/>
          </p:nvSpPr>
          <p:spPr bwMode="auto">
            <a:xfrm>
              <a:off x="6409533" y="4115654"/>
              <a:ext cx="22341" cy="24119"/>
            </a:xfrm>
            <a:custGeom>
              <a:avLst/>
              <a:gdLst>
                <a:gd name="T0" fmla="*/ 1 w 18"/>
                <a:gd name="T1" fmla="*/ 1 h 25"/>
                <a:gd name="T2" fmla="*/ 1 w 18"/>
                <a:gd name="T3" fmla="*/ 1 h 25"/>
                <a:gd name="T4" fmla="*/ 2 w 18"/>
                <a:gd name="T5" fmla="*/ 0 h 25"/>
                <a:gd name="T6" fmla="*/ 2 w 18"/>
                <a:gd name="T7" fmla="*/ 1 h 25"/>
                <a:gd name="T8" fmla="*/ 4 w 18"/>
                <a:gd name="T9" fmla="*/ 2 h 25"/>
                <a:gd name="T10" fmla="*/ 4 w 18"/>
                <a:gd name="T11" fmla="*/ 3 h 25"/>
                <a:gd name="T12" fmla="*/ 2 w 18"/>
                <a:gd name="T13" fmla="*/ 3 h 25"/>
                <a:gd name="T14" fmla="*/ 1 w 18"/>
                <a:gd name="T15" fmla="*/ 3 h 25"/>
                <a:gd name="T16" fmla="*/ 0 w 18"/>
                <a:gd name="T17" fmla="*/ 2 h 25"/>
                <a:gd name="T18" fmla="*/ 1 w 18"/>
                <a:gd name="T19" fmla="*/ 1 h 25"/>
                <a:gd name="T20" fmla="*/ 1 w 18"/>
                <a:gd name="T21" fmla="*/ 1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25"/>
                <a:gd name="T35" fmla="*/ 18 w 18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25">
                  <a:moveTo>
                    <a:pt x="7" y="5"/>
                  </a:moveTo>
                  <a:lnTo>
                    <a:pt x="8" y="4"/>
                  </a:lnTo>
                  <a:lnTo>
                    <a:pt x="14" y="0"/>
                  </a:lnTo>
                  <a:lnTo>
                    <a:pt x="15" y="7"/>
                  </a:lnTo>
                  <a:lnTo>
                    <a:pt x="18" y="15"/>
                  </a:lnTo>
                  <a:lnTo>
                    <a:pt x="17" y="21"/>
                  </a:lnTo>
                  <a:lnTo>
                    <a:pt x="12" y="25"/>
                  </a:lnTo>
                  <a:lnTo>
                    <a:pt x="1" y="25"/>
                  </a:lnTo>
                  <a:lnTo>
                    <a:pt x="0" y="17"/>
                  </a:lnTo>
                  <a:lnTo>
                    <a:pt x="3" y="9"/>
                  </a:lnTo>
                  <a:lnTo>
                    <a:pt x="7" y="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99" name="Freeform 106"/>
            <p:cNvSpPr>
              <a:spLocks/>
            </p:cNvSpPr>
            <p:nvPr/>
          </p:nvSpPr>
          <p:spPr bwMode="auto">
            <a:xfrm>
              <a:off x="2564817" y="2846586"/>
              <a:ext cx="18279" cy="5567"/>
            </a:xfrm>
            <a:custGeom>
              <a:avLst/>
              <a:gdLst>
                <a:gd name="T0" fmla="*/ 3 w 15"/>
                <a:gd name="T1" fmla="*/ 0 h 7"/>
                <a:gd name="T2" fmla="*/ 2 w 15"/>
                <a:gd name="T3" fmla="*/ 0 h 7"/>
                <a:gd name="T4" fmla="*/ 2 w 15"/>
                <a:gd name="T5" fmla="*/ 0 h 7"/>
                <a:gd name="T6" fmla="*/ 1 w 15"/>
                <a:gd name="T7" fmla="*/ 0 h 7"/>
                <a:gd name="T8" fmla="*/ 0 w 15"/>
                <a:gd name="T9" fmla="*/ 0 h 7"/>
                <a:gd name="T10" fmla="*/ 1 w 15"/>
                <a:gd name="T11" fmla="*/ 0 h 7"/>
                <a:gd name="T12" fmla="*/ 1 w 15"/>
                <a:gd name="T13" fmla="*/ 0 h 7"/>
                <a:gd name="T14" fmla="*/ 2 w 15"/>
                <a:gd name="T15" fmla="*/ 0 h 7"/>
                <a:gd name="T16" fmla="*/ 3 w 15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7"/>
                <a:gd name="T29" fmla="*/ 15 w 15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7">
                  <a:moveTo>
                    <a:pt x="15" y="2"/>
                  </a:moveTo>
                  <a:lnTo>
                    <a:pt x="14" y="2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8" y="7"/>
                  </a:lnTo>
                  <a:lnTo>
                    <a:pt x="13" y="7"/>
                  </a:lnTo>
                  <a:lnTo>
                    <a:pt x="15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0" name="Freeform 107"/>
            <p:cNvSpPr>
              <a:spLocks/>
            </p:cNvSpPr>
            <p:nvPr/>
          </p:nvSpPr>
          <p:spPr bwMode="auto">
            <a:xfrm>
              <a:off x="2564817" y="2846586"/>
              <a:ext cx="18279" cy="5567"/>
            </a:xfrm>
            <a:custGeom>
              <a:avLst/>
              <a:gdLst>
                <a:gd name="T0" fmla="*/ 3 w 15"/>
                <a:gd name="T1" fmla="*/ 0 h 7"/>
                <a:gd name="T2" fmla="*/ 2 w 15"/>
                <a:gd name="T3" fmla="*/ 0 h 7"/>
                <a:gd name="T4" fmla="*/ 2 w 15"/>
                <a:gd name="T5" fmla="*/ 0 h 7"/>
                <a:gd name="T6" fmla="*/ 1 w 15"/>
                <a:gd name="T7" fmla="*/ 0 h 7"/>
                <a:gd name="T8" fmla="*/ 0 w 15"/>
                <a:gd name="T9" fmla="*/ 0 h 7"/>
                <a:gd name="T10" fmla="*/ 1 w 15"/>
                <a:gd name="T11" fmla="*/ 0 h 7"/>
                <a:gd name="T12" fmla="*/ 1 w 15"/>
                <a:gd name="T13" fmla="*/ 0 h 7"/>
                <a:gd name="T14" fmla="*/ 2 w 15"/>
                <a:gd name="T15" fmla="*/ 0 h 7"/>
                <a:gd name="T16" fmla="*/ 3 w 15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"/>
                <a:gd name="T28" fmla="*/ 0 h 7"/>
                <a:gd name="T29" fmla="*/ 15 w 15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" h="7">
                  <a:moveTo>
                    <a:pt x="15" y="2"/>
                  </a:moveTo>
                  <a:lnTo>
                    <a:pt x="14" y="2"/>
                  </a:lnTo>
                  <a:lnTo>
                    <a:pt x="10" y="0"/>
                  </a:lnTo>
                  <a:lnTo>
                    <a:pt x="5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8" y="7"/>
                  </a:lnTo>
                  <a:lnTo>
                    <a:pt x="13" y="7"/>
                  </a:lnTo>
                  <a:lnTo>
                    <a:pt x="15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1" name="Freeform 108"/>
            <p:cNvSpPr>
              <a:spLocks/>
            </p:cNvSpPr>
            <p:nvPr/>
          </p:nvSpPr>
          <p:spPr bwMode="auto">
            <a:xfrm>
              <a:off x="5452922" y="3408760"/>
              <a:ext cx="8124" cy="25976"/>
            </a:xfrm>
            <a:custGeom>
              <a:avLst/>
              <a:gdLst>
                <a:gd name="T0" fmla="*/ 1 w 8"/>
                <a:gd name="T1" fmla="*/ 1 h 24"/>
                <a:gd name="T2" fmla="*/ 1 w 8"/>
                <a:gd name="T3" fmla="*/ 2 h 24"/>
                <a:gd name="T4" fmla="*/ 1 w 8"/>
                <a:gd name="T5" fmla="*/ 4 h 24"/>
                <a:gd name="T6" fmla="*/ 0 w 8"/>
                <a:gd name="T7" fmla="*/ 4 h 24"/>
                <a:gd name="T8" fmla="*/ 0 w 8"/>
                <a:gd name="T9" fmla="*/ 0 h 24"/>
                <a:gd name="T10" fmla="*/ 1 w 8"/>
                <a:gd name="T11" fmla="*/ 1 h 24"/>
                <a:gd name="T12" fmla="*/ 1 w 8"/>
                <a:gd name="T13" fmla="*/ 0 h 24"/>
                <a:gd name="T14" fmla="*/ 1 w 8"/>
                <a:gd name="T15" fmla="*/ 2 h 24"/>
                <a:gd name="T16" fmla="*/ 1 w 8"/>
                <a:gd name="T17" fmla="*/ 1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4"/>
                <a:gd name="T29" fmla="*/ 8 w 8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4">
                  <a:moveTo>
                    <a:pt x="7" y="8"/>
                  </a:moveTo>
                  <a:lnTo>
                    <a:pt x="8" y="15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0"/>
                  </a:lnTo>
                  <a:lnTo>
                    <a:pt x="7" y="9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2" name="Freeform 109"/>
            <p:cNvSpPr>
              <a:spLocks/>
            </p:cNvSpPr>
            <p:nvPr/>
          </p:nvSpPr>
          <p:spPr bwMode="auto">
            <a:xfrm>
              <a:off x="5452922" y="3408760"/>
              <a:ext cx="8124" cy="25976"/>
            </a:xfrm>
            <a:custGeom>
              <a:avLst/>
              <a:gdLst>
                <a:gd name="T0" fmla="*/ 1 w 8"/>
                <a:gd name="T1" fmla="*/ 1 h 24"/>
                <a:gd name="T2" fmla="*/ 1 w 8"/>
                <a:gd name="T3" fmla="*/ 2 h 24"/>
                <a:gd name="T4" fmla="*/ 1 w 8"/>
                <a:gd name="T5" fmla="*/ 4 h 24"/>
                <a:gd name="T6" fmla="*/ 0 w 8"/>
                <a:gd name="T7" fmla="*/ 4 h 24"/>
                <a:gd name="T8" fmla="*/ 0 w 8"/>
                <a:gd name="T9" fmla="*/ 0 h 24"/>
                <a:gd name="T10" fmla="*/ 1 w 8"/>
                <a:gd name="T11" fmla="*/ 1 h 24"/>
                <a:gd name="T12" fmla="*/ 1 w 8"/>
                <a:gd name="T13" fmla="*/ 0 h 24"/>
                <a:gd name="T14" fmla="*/ 1 w 8"/>
                <a:gd name="T15" fmla="*/ 2 h 24"/>
                <a:gd name="T16" fmla="*/ 1 w 8"/>
                <a:gd name="T17" fmla="*/ 1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4"/>
                <a:gd name="T29" fmla="*/ 8 w 8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4">
                  <a:moveTo>
                    <a:pt x="7" y="8"/>
                  </a:moveTo>
                  <a:lnTo>
                    <a:pt x="8" y="15"/>
                  </a:lnTo>
                  <a:lnTo>
                    <a:pt x="4" y="24"/>
                  </a:lnTo>
                  <a:lnTo>
                    <a:pt x="0" y="21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0"/>
                  </a:lnTo>
                  <a:lnTo>
                    <a:pt x="7" y="9"/>
                  </a:lnTo>
                  <a:lnTo>
                    <a:pt x="7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3" name="Freeform 110"/>
            <p:cNvSpPr>
              <a:spLocks/>
            </p:cNvSpPr>
            <p:nvPr/>
          </p:nvSpPr>
          <p:spPr bwMode="auto">
            <a:xfrm>
              <a:off x="5424488" y="3447722"/>
              <a:ext cx="20310" cy="33396"/>
            </a:xfrm>
            <a:custGeom>
              <a:avLst/>
              <a:gdLst>
                <a:gd name="T0" fmla="*/ 2 w 14"/>
                <a:gd name="T1" fmla="*/ 0 h 32"/>
                <a:gd name="T2" fmla="*/ 2 w 14"/>
                <a:gd name="T3" fmla="*/ 3 h 32"/>
                <a:gd name="T4" fmla="*/ 3 w 14"/>
                <a:gd name="T5" fmla="*/ 3 h 32"/>
                <a:gd name="T6" fmla="*/ 4 w 14"/>
                <a:gd name="T7" fmla="*/ 3 h 32"/>
                <a:gd name="T8" fmla="*/ 5 w 14"/>
                <a:gd name="T9" fmla="*/ 5 h 32"/>
                <a:gd name="T10" fmla="*/ 1 w 14"/>
                <a:gd name="T11" fmla="*/ 3 h 32"/>
                <a:gd name="T12" fmla="*/ 0 w 14"/>
                <a:gd name="T13" fmla="*/ 1 h 32"/>
                <a:gd name="T14" fmla="*/ 1 w 14"/>
                <a:gd name="T15" fmla="*/ 1 h 32"/>
                <a:gd name="T16" fmla="*/ 2 w 14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32"/>
                <a:gd name="T29" fmla="*/ 14 w 14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32">
                  <a:moveTo>
                    <a:pt x="5" y="0"/>
                  </a:moveTo>
                  <a:lnTo>
                    <a:pt x="6" y="17"/>
                  </a:lnTo>
                  <a:lnTo>
                    <a:pt x="9" y="21"/>
                  </a:lnTo>
                  <a:lnTo>
                    <a:pt x="11" y="22"/>
                  </a:lnTo>
                  <a:lnTo>
                    <a:pt x="14" y="32"/>
                  </a:lnTo>
                  <a:lnTo>
                    <a:pt x="3" y="24"/>
                  </a:lnTo>
                  <a:lnTo>
                    <a:pt x="0" y="7"/>
                  </a:lnTo>
                  <a:lnTo>
                    <a:pt x="3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4" name="Freeform 111"/>
            <p:cNvSpPr>
              <a:spLocks/>
            </p:cNvSpPr>
            <p:nvPr/>
          </p:nvSpPr>
          <p:spPr bwMode="auto">
            <a:xfrm>
              <a:off x="5424488" y="3447722"/>
              <a:ext cx="20310" cy="33396"/>
            </a:xfrm>
            <a:custGeom>
              <a:avLst/>
              <a:gdLst>
                <a:gd name="T0" fmla="*/ 2 w 14"/>
                <a:gd name="T1" fmla="*/ 0 h 32"/>
                <a:gd name="T2" fmla="*/ 2 w 14"/>
                <a:gd name="T3" fmla="*/ 3 h 32"/>
                <a:gd name="T4" fmla="*/ 3 w 14"/>
                <a:gd name="T5" fmla="*/ 3 h 32"/>
                <a:gd name="T6" fmla="*/ 4 w 14"/>
                <a:gd name="T7" fmla="*/ 3 h 32"/>
                <a:gd name="T8" fmla="*/ 5 w 14"/>
                <a:gd name="T9" fmla="*/ 5 h 32"/>
                <a:gd name="T10" fmla="*/ 1 w 14"/>
                <a:gd name="T11" fmla="*/ 3 h 32"/>
                <a:gd name="T12" fmla="*/ 0 w 14"/>
                <a:gd name="T13" fmla="*/ 1 h 32"/>
                <a:gd name="T14" fmla="*/ 1 w 14"/>
                <a:gd name="T15" fmla="*/ 1 h 32"/>
                <a:gd name="T16" fmla="*/ 2 w 14"/>
                <a:gd name="T17" fmla="*/ 0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"/>
                <a:gd name="T28" fmla="*/ 0 h 32"/>
                <a:gd name="T29" fmla="*/ 14 w 14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" h="32">
                  <a:moveTo>
                    <a:pt x="5" y="0"/>
                  </a:moveTo>
                  <a:lnTo>
                    <a:pt x="6" y="17"/>
                  </a:lnTo>
                  <a:lnTo>
                    <a:pt x="9" y="21"/>
                  </a:lnTo>
                  <a:lnTo>
                    <a:pt x="11" y="22"/>
                  </a:lnTo>
                  <a:lnTo>
                    <a:pt x="14" y="32"/>
                  </a:lnTo>
                  <a:lnTo>
                    <a:pt x="3" y="24"/>
                  </a:lnTo>
                  <a:lnTo>
                    <a:pt x="0" y="7"/>
                  </a:lnTo>
                  <a:lnTo>
                    <a:pt x="3" y="1"/>
                  </a:lnTo>
                  <a:lnTo>
                    <a:pt x="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5" name="Freeform 112"/>
            <p:cNvSpPr>
              <a:spLocks/>
            </p:cNvSpPr>
            <p:nvPr/>
          </p:nvSpPr>
          <p:spPr bwMode="auto">
            <a:xfrm>
              <a:off x="6131283" y="2631364"/>
              <a:ext cx="18279" cy="1856"/>
            </a:xfrm>
            <a:custGeom>
              <a:avLst/>
              <a:gdLst>
                <a:gd name="T0" fmla="*/ 1 w 16"/>
                <a:gd name="T1" fmla="*/ 0 h 5"/>
                <a:gd name="T2" fmla="*/ 1 w 16"/>
                <a:gd name="T3" fmla="*/ 0 h 5"/>
                <a:gd name="T4" fmla="*/ 1 w 16"/>
                <a:gd name="T5" fmla="*/ 0 h 5"/>
                <a:gd name="T6" fmla="*/ 1 w 16"/>
                <a:gd name="T7" fmla="*/ 0 h 5"/>
                <a:gd name="T8" fmla="*/ 2 w 16"/>
                <a:gd name="T9" fmla="*/ 0 h 5"/>
                <a:gd name="T10" fmla="*/ 2 w 16"/>
                <a:gd name="T11" fmla="*/ 0 h 5"/>
                <a:gd name="T12" fmla="*/ 2 w 16"/>
                <a:gd name="T13" fmla="*/ 0 h 5"/>
                <a:gd name="T14" fmla="*/ 1 w 16"/>
                <a:gd name="T15" fmla="*/ 0 h 5"/>
                <a:gd name="T16" fmla="*/ 0 w 16"/>
                <a:gd name="T17" fmla="*/ 0 h 5"/>
                <a:gd name="T18" fmla="*/ 0 w 16"/>
                <a:gd name="T19" fmla="*/ 0 h 5"/>
                <a:gd name="T20" fmla="*/ 1 w 16"/>
                <a:gd name="T21" fmla="*/ 0 h 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6"/>
                <a:gd name="T34" fmla="*/ 0 h 5"/>
                <a:gd name="T35" fmla="*/ 16 w 16"/>
                <a:gd name="T36" fmla="*/ 5 h 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6" h="5">
                  <a:moveTo>
                    <a:pt x="4" y="3"/>
                  </a:moveTo>
                  <a:lnTo>
                    <a:pt x="5" y="2"/>
                  </a:lnTo>
                  <a:lnTo>
                    <a:pt x="7" y="4"/>
                  </a:lnTo>
                  <a:lnTo>
                    <a:pt x="9" y="3"/>
                  </a:lnTo>
                  <a:lnTo>
                    <a:pt x="12" y="5"/>
                  </a:lnTo>
                  <a:lnTo>
                    <a:pt x="16" y="2"/>
                  </a:lnTo>
                  <a:lnTo>
                    <a:pt x="14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6" name="Freeform 113"/>
            <p:cNvSpPr>
              <a:spLocks/>
            </p:cNvSpPr>
            <p:nvPr/>
          </p:nvSpPr>
          <p:spPr bwMode="auto">
            <a:xfrm>
              <a:off x="6200336" y="2609100"/>
              <a:ext cx="60931" cy="16699"/>
            </a:xfrm>
            <a:custGeom>
              <a:avLst/>
              <a:gdLst>
                <a:gd name="T0" fmla="*/ 8 w 50"/>
                <a:gd name="T1" fmla="*/ 0 h 20"/>
                <a:gd name="T2" fmla="*/ 9 w 50"/>
                <a:gd name="T3" fmla="*/ 0 h 20"/>
                <a:gd name="T4" fmla="*/ 8 w 50"/>
                <a:gd name="T5" fmla="*/ 0 h 20"/>
                <a:gd name="T6" fmla="*/ 8 w 50"/>
                <a:gd name="T7" fmla="*/ 1 h 20"/>
                <a:gd name="T8" fmla="*/ 5 w 50"/>
                <a:gd name="T9" fmla="*/ 1 h 20"/>
                <a:gd name="T10" fmla="*/ 1 w 50"/>
                <a:gd name="T11" fmla="*/ 1 h 20"/>
                <a:gd name="T12" fmla="*/ 0 w 50"/>
                <a:gd name="T13" fmla="*/ 0 h 20"/>
                <a:gd name="T14" fmla="*/ 1 w 50"/>
                <a:gd name="T15" fmla="*/ 0 h 20"/>
                <a:gd name="T16" fmla="*/ 1 w 50"/>
                <a:gd name="T17" fmla="*/ 0 h 20"/>
                <a:gd name="T18" fmla="*/ 2 w 50"/>
                <a:gd name="T19" fmla="*/ 0 h 20"/>
                <a:gd name="T20" fmla="*/ 4 w 50"/>
                <a:gd name="T21" fmla="*/ 0 h 20"/>
                <a:gd name="T22" fmla="*/ 5 w 50"/>
                <a:gd name="T23" fmla="*/ 0 h 20"/>
                <a:gd name="T24" fmla="*/ 8 w 50"/>
                <a:gd name="T25" fmla="*/ 0 h 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20"/>
                <a:gd name="T41" fmla="*/ 50 w 50"/>
                <a:gd name="T42" fmla="*/ 20 h 2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20">
                  <a:moveTo>
                    <a:pt x="45" y="6"/>
                  </a:moveTo>
                  <a:lnTo>
                    <a:pt x="50" y="6"/>
                  </a:lnTo>
                  <a:lnTo>
                    <a:pt x="49" y="8"/>
                  </a:lnTo>
                  <a:lnTo>
                    <a:pt x="43" y="14"/>
                  </a:lnTo>
                  <a:lnTo>
                    <a:pt x="28" y="20"/>
                  </a:lnTo>
                  <a:lnTo>
                    <a:pt x="8" y="16"/>
                  </a:lnTo>
                  <a:lnTo>
                    <a:pt x="0" y="10"/>
                  </a:lnTo>
                  <a:lnTo>
                    <a:pt x="3" y="2"/>
                  </a:lnTo>
                  <a:lnTo>
                    <a:pt x="8" y="0"/>
                  </a:lnTo>
                  <a:lnTo>
                    <a:pt x="15" y="6"/>
                  </a:lnTo>
                  <a:lnTo>
                    <a:pt x="22" y="6"/>
                  </a:lnTo>
                  <a:lnTo>
                    <a:pt x="29" y="3"/>
                  </a:lnTo>
                  <a:lnTo>
                    <a:pt x="45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7301" name="Freeform 114"/>
            <p:cNvSpPr>
              <a:spLocks/>
            </p:cNvSpPr>
            <p:nvPr/>
          </p:nvSpPr>
          <p:spPr bwMode="auto">
            <a:xfrm>
              <a:off x="4705509" y="1074715"/>
              <a:ext cx="1021601" cy="363651"/>
            </a:xfrm>
            <a:custGeom>
              <a:avLst/>
              <a:gdLst>
                <a:gd name="T0" fmla="*/ 372 w 855"/>
                <a:gd name="T1" fmla="*/ 254 h 366"/>
                <a:gd name="T2" fmla="*/ 356 w 855"/>
                <a:gd name="T3" fmla="*/ 254 h 366"/>
                <a:gd name="T4" fmla="*/ 324 w 855"/>
                <a:gd name="T5" fmla="*/ 245 h 366"/>
                <a:gd name="T6" fmla="*/ 297 w 855"/>
                <a:gd name="T7" fmla="*/ 265 h 366"/>
                <a:gd name="T8" fmla="*/ 270 w 855"/>
                <a:gd name="T9" fmla="*/ 273 h 366"/>
                <a:gd name="T10" fmla="*/ 192 w 855"/>
                <a:gd name="T11" fmla="*/ 242 h 366"/>
                <a:gd name="T12" fmla="*/ 164 w 855"/>
                <a:gd name="T13" fmla="*/ 259 h 366"/>
                <a:gd name="T14" fmla="*/ 119 w 855"/>
                <a:gd name="T15" fmla="*/ 267 h 366"/>
                <a:gd name="T16" fmla="*/ 105 w 855"/>
                <a:gd name="T17" fmla="*/ 250 h 366"/>
                <a:gd name="T18" fmla="*/ 93 w 855"/>
                <a:gd name="T19" fmla="*/ 245 h 366"/>
                <a:gd name="T20" fmla="*/ 73 w 855"/>
                <a:gd name="T21" fmla="*/ 252 h 366"/>
                <a:gd name="T22" fmla="*/ 50 w 855"/>
                <a:gd name="T23" fmla="*/ 252 h 366"/>
                <a:gd name="T24" fmla="*/ 74 w 855"/>
                <a:gd name="T25" fmla="*/ 241 h 366"/>
                <a:gd name="T26" fmla="*/ 47 w 855"/>
                <a:gd name="T27" fmla="*/ 235 h 366"/>
                <a:gd name="T28" fmla="*/ 43 w 855"/>
                <a:gd name="T29" fmla="*/ 217 h 366"/>
                <a:gd name="T30" fmla="*/ 39 w 855"/>
                <a:gd name="T31" fmla="*/ 209 h 366"/>
                <a:gd name="T32" fmla="*/ 38 w 855"/>
                <a:gd name="T33" fmla="*/ 190 h 366"/>
                <a:gd name="T34" fmla="*/ 15 w 855"/>
                <a:gd name="T35" fmla="*/ 183 h 366"/>
                <a:gd name="T36" fmla="*/ 11 w 855"/>
                <a:gd name="T37" fmla="*/ 173 h 366"/>
                <a:gd name="T38" fmla="*/ 15 w 855"/>
                <a:gd name="T39" fmla="*/ 161 h 366"/>
                <a:gd name="T40" fmla="*/ 36 w 855"/>
                <a:gd name="T41" fmla="*/ 169 h 366"/>
                <a:gd name="T42" fmla="*/ 31 w 855"/>
                <a:gd name="T43" fmla="*/ 151 h 366"/>
                <a:gd name="T44" fmla="*/ 22 w 855"/>
                <a:gd name="T45" fmla="*/ 134 h 366"/>
                <a:gd name="T46" fmla="*/ 0 w 855"/>
                <a:gd name="T47" fmla="*/ 122 h 366"/>
                <a:gd name="T48" fmla="*/ 10 w 855"/>
                <a:gd name="T49" fmla="*/ 97 h 366"/>
                <a:gd name="T50" fmla="*/ 46 w 855"/>
                <a:gd name="T51" fmla="*/ 80 h 366"/>
                <a:gd name="T52" fmla="*/ 66 w 855"/>
                <a:gd name="T53" fmla="*/ 74 h 366"/>
                <a:gd name="T54" fmla="*/ 108 w 855"/>
                <a:gd name="T55" fmla="*/ 74 h 366"/>
                <a:gd name="T56" fmla="*/ 138 w 855"/>
                <a:gd name="T57" fmla="*/ 65 h 366"/>
                <a:gd name="T58" fmla="*/ 120 w 855"/>
                <a:gd name="T59" fmla="*/ 61 h 366"/>
                <a:gd name="T60" fmla="*/ 110 w 855"/>
                <a:gd name="T61" fmla="*/ 51 h 366"/>
                <a:gd name="T62" fmla="*/ 131 w 855"/>
                <a:gd name="T63" fmla="*/ 45 h 366"/>
                <a:gd name="T64" fmla="*/ 186 w 855"/>
                <a:gd name="T65" fmla="*/ 49 h 366"/>
                <a:gd name="T66" fmla="*/ 322 w 855"/>
                <a:gd name="T67" fmla="*/ 4 h 366"/>
                <a:gd name="T68" fmla="*/ 338 w 855"/>
                <a:gd name="T69" fmla="*/ 6 h 366"/>
                <a:gd name="T70" fmla="*/ 381 w 855"/>
                <a:gd name="T71" fmla="*/ 37 h 366"/>
                <a:gd name="T72" fmla="*/ 445 w 855"/>
                <a:gd name="T73" fmla="*/ 54 h 366"/>
                <a:gd name="T74" fmla="*/ 568 w 855"/>
                <a:gd name="T75" fmla="*/ 26 h 366"/>
                <a:gd name="T76" fmla="*/ 589 w 855"/>
                <a:gd name="T77" fmla="*/ 24 h 366"/>
                <a:gd name="T78" fmla="*/ 613 w 855"/>
                <a:gd name="T79" fmla="*/ 21 h 366"/>
                <a:gd name="T80" fmla="*/ 645 w 855"/>
                <a:gd name="T81" fmla="*/ 49 h 366"/>
                <a:gd name="T82" fmla="*/ 672 w 855"/>
                <a:gd name="T83" fmla="*/ 93 h 366"/>
                <a:gd name="T84" fmla="*/ 679 w 855"/>
                <a:gd name="T85" fmla="*/ 122 h 366"/>
                <a:gd name="T86" fmla="*/ 684 w 855"/>
                <a:gd name="T87" fmla="*/ 202 h 366"/>
                <a:gd name="T88" fmla="*/ 679 w 855"/>
                <a:gd name="T89" fmla="*/ 227 h 366"/>
                <a:gd name="T90" fmla="*/ 608 w 855"/>
                <a:gd name="T91" fmla="*/ 227 h 366"/>
                <a:gd name="T92" fmla="*/ 599 w 855"/>
                <a:gd name="T93" fmla="*/ 222 h 366"/>
                <a:gd name="T94" fmla="*/ 556 w 855"/>
                <a:gd name="T95" fmla="*/ 231 h 366"/>
                <a:gd name="T96" fmla="*/ 512 w 855"/>
                <a:gd name="T97" fmla="*/ 242 h 366"/>
                <a:gd name="T98" fmla="*/ 460 w 855"/>
                <a:gd name="T99" fmla="*/ 239 h 366"/>
                <a:gd name="T100" fmla="*/ 421 w 855"/>
                <a:gd name="T101" fmla="*/ 251 h 366"/>
                <a:gd name="T102" fmla="*/ 405 w 855"/>
                <a:gd name="T103" fmla="*/ 248 h 366"/>
                <a:gd name="T104" fmla="*/ 392 w 855"/>
                <a:gd name="T105" fmla="*/ 242 h 366"/>
                <a:gd name="T106" fmla="*/ 386 w 855"/>
                <a:gd name="T107" fmla="*/ 259 h 366"/>
                <a:gd name="T108" fmla="*/ 386 w 855"/>
                <a:gd name="T109" fmla="*/ 270 h 366"/>
                <a:gd name="T110" fmla="*/ 373 w 855"/>
                <a:gd name="T111" fmla="*/ 283 h 366"/>
                <a:gd name="T112" fmla="*/ 364 w 855"/>
                <a:gd name="T113" fmla="*/ 282 h 36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366"/>
                <a:gd name="T173" fmla="*/ 855 w 855"/>
                <a:gd name="T174" fmla="*/ 366 h 36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366">
                  <a:moveTo>
                    <a:pt x="450" y="354"/>
                  </a:moveTo>
                  <a:lnTo>
                    <a:pt x="447" y="342"/>
                  </a:lnTo>
                  <a:lnTo>
                    <a:pt x="450" y="329"/>
                  </a:lnTo>
                  <a:lnTo>
                    <a:pt x="458" y="324"/>
                  </a:lnTo>
                  <a:lnTo>
                    <a:pt x="462" y="316"/>
                  </a:lnTo>
                  <a:lnTo>
                    <a:pt x="454" y="309"/>
                  </a:lnTo>
                  <a:lnTo>
                    <a:pt x="440" y="316"/>
                  </a:lnTo>
                  <a:lnTo>
                    <a:pt x="438" y="324"/>
                  </a:lnTo>
                  <a:lnTo>
                    <a:pt x="432" y="326"/>
                  </a:lnTo>
                  <a:lnTo>
                    <a:pt x="420" y="325"/>
                  </a:lnTo>
                  <a:lnTo>
                    <a:pt x="405" y="314"/>
                  </a:lnTo>
                  <a:lnTo>
                    <a:pt x="399" y="312"/>
                  </a:lnTo>
                  <a:lnTo>
                    <a:pt x="393" y="313"/>
                  </a:lnTo>
                  <a:lnTo>
                    <a:pt x="384" y="316"/>
                  </a:lnTo>
                  <a:lnTo>
                    <a:pt x="369" y="331"/>
                  </a:lnTo>
                  <a:lnTo>
                    <a:pt x="366" y="338"/>
                  </a:lnTo>
                  <a:lnTo>
                    <a:pt x="356" y="339"/>
                  </a:lnTo>
                  <a:lnTo>
                    <a:pt x="350" y="346"/>
                  </a:lnTo>
                  <a:lnTo>
                    <a:pt x="342" y="349"/>
                  </a:lnTo>
                  <a:lnTo>
                    <a:pt x="333" y="348"/>
                  </a:lnTo>
                  <a:lnTo>
                    <a:pt x="309" y="356"/>
                  </a:lnTo>
                  <a:lnTo>
                    <a:pt x="293" y="351"/>
                  </a:lnTo>
                  <a:lnTo>
                    <a:pt x="281" y="335"/>
                  </a:lnTo>
                  <a:lnTo>
                    <a:pt x="237" y="309"/>
                  </a:lnTo>
                  <a:lnTo>
                    <a:pt x="208" y="308"/>
                  </a:lnTo>
                  <a:lnTo>
                    <a:pt x="205" y="316"/>
                  </a:lnTo>
                  <a:lnTo>
                    <a:pt x="205" y="326"/>
                  </a:lnTo>
                  <a:lnTo>
                    <a:pt x="202" y="330"/>
                  </a:lnTo>
                  <a:lnTo>
                    <a:pt x="201" y="339"/>
                  </a:lnTo>
                  <a:lnTo>
                    <a:pt x="173" y="348"/>
                  </a:lnTo>
                  <a:lnTo>
                    <a:pt x="155" y="346"/>
                  </a:lnTo>
                  <a:lnTo>
                    <a:pt x="147" y="341"/>
                  </a:lnTo>
                  <a:lnTo>
                    <a:pt x="140" y="333"/>
                  </a:lnTo>
                  <a:lnTo>
                    <a:pt x="136" y="318"/>
                  </a:lnTo>
                  <a:lnTo>
                    <a:pt x="131" y="316"/>
                  </a:lnTo>
                  <a:lnTo>
                    <a:pt x="129" y="319"/>
                  </a:lnTo>
                  <a:lnTo>
                    <a:pt x="129" y="322"/>
                  </a:lnTo>
                  <a:lnTo>
                    <a:pt x="126" y="322"/>
                  </a:lnTo>
                  <a:lnTo>
                    <a:pt x="119" y="318"/>
                  </a:lnTo>
                  <a:lnTo>
                    <a:pt x="115" y="312"/>
                  </a:lnTo>
                  <a:lnTo>
                    <a:pt x="113" y="310"/>
                  </a:lnTo>
                  <a:lnTo>
                    <a:pt x="100" y="313"/>
                  </a:lnTo>
                  <a:lnTo>
                    <a:pt x="98" y="317"/>
                  </a:lnTo>
                  <a:lnTo>
                    <a:pt x="90" y="322"/>
                  </a:lnTo>
                  <a:lnTo>
                    <a:pt x="88" y="322"/>
                  </a:lnTo>
                  <a:lnTo>
                    <a:pt x="91" y="316"/>
                  </a:lnTo>
                  <a:lnTo>
                    <a:pt x="90" y="313"/>
                  </a:lnTo>
                  <a:lnTo>
                    <a:pt x="61" y="321"/>
                  </a:lnTo>
                  <a:lnTo>
                    <a:pt x="65" y="315"/>
                  </a:lnTo>
                  <a:lnTo>
                    <a:pt x="73" y="310"/>
                  </a:lnTo>
                  <a:lnTo>
                    <a:pt x="85" y="310"/>
                  </a:lnTo>
                  <a:lnTo>
                    <a:pt x="91" y="307"/>
                  </a:lnTo>
                  <a:lnTo>
                    <a:pt x="92" y="305"/>
                  </a:lnTo>
                  <a:lnTo>
                    <a:pt x="99" y="301"/>
                  </a:lnTo>
                  <a:lnTo>
                    <a:pt x="101" y="297"/>
                  </a:lnTo>
                  <a:lnTo>
                    <a:pt x="58" y="300"/>
                  </a:lnTo>
                  <a:lnTo>
                    <a:pt x="56" y="296"/>
                  </a:lnTo>
                  <a:lnTo>
                    <a:pt x="66" y="287"/>
                  </a:lnTo>
                  <a:lnTo>
                    <a:pt x="57" y="278"/>
                  </a:lnTo>
                  <a:lnTo>
                    <a:pt x="53" y="277"/>
                  </a:lnTo>
                  <a:lnTo>
                    <a:pt x="54" y="270"/>
                  </a:lnTo>
                  <a:lnTo>
                    <a:pt x="58" y="267"/>
                  </a:lnTo>
                  <a:lnTo>
                    <a:pt x="60" y="264"/>
                  </a:lnTo>
                  <a:lnTo>
                    <a:pt x="48" y="266"/>
                  </a:lnTo>
                  <a:lnTo>
                    <a:pt x="44" y="261"/>
                  </a:lnTo>
                  <a:lnTo>
                    <a:pt x="50" y="257"/>
                  </a:lnTo>
                  <a:lnTo>
                    <a:pt x="51" y="251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1" y="236"/>
                  </a:lnTo>
                  <a:lnTo>
                    <a:pt x="25" y="231"/>
                  </a:lnTo>
                  <a:lnTo>
                    <a:pt x="18" y="233"/>
                  </a:lnTo>
                  <a:lnTo>
                    <a:pt x="14" y="230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14" y="221"/>
                  </a:lnTo>
                  <a:lnTo>
                    <a:pt x="15" y="213"/>
                  </a:lnTo>
                  <a:lnTo>
                    <a:pt x="14" y="208"/>
                  </a:lnTo>
                  <a:lnTo>
                    <a:pt x="16" y="203"/>
                  </a:lnTo>
                  <a:lnTo>
                    <a:pt x="19" y="205"/>
                  </a:lnTo>
                  <a:lnTo>
                    <a:pt x="24" y="219"/>
                  </a:lnTo>
                  <a:lnTo>
                    <a:pt x="29" y="220"/>
                  </a:lnTo>
                  <a:lnTo>
                    <a:pt x="46" y="219"/>
                  </a:lnTo>
                  <a:lnTo>
                    <a:pt x="44" y="216"/>
                  </a:lnTo>
                  <a:lnTo>
                    <a:pt x="35" y="212"/>
                  </a:lnTo>
                  <a:lnTo>
                    <a:pt x="31" y="204"/>
                  </a:lnTo>
                  <a:lnTo>
                    <a:pt x="32" y="199"/>
                  </a:lnTo>
                  <a:lnTo>
                    <a:pt x="38" y="193"/>
                  </a:lnTo>
                  <a:lnTo>
                    <a:pt x="37" y="188"/>
                  </a:lnTo>
                  <a:lnTo>
                    <a:pt x="32" y="183"/>
                  </a:lnTo>
                  <a:lnTo>
                    <a:pt x="32" y="177"/>
                  </a:lnTo>
                  <a:lnTo>
                    <a:pt x="27" y="171"/>
                  </a:lnTo>
                  <a:lnTo>
                    <a:pt x="28" y="162"/>
                  </a:lnTo>
                  <a:lnTo>
                    <a:pt x="36" y="155"/>
                  </a:lnTo>
                  <a:lnTo>
                    <a:pt x="34" y="152"/>
                  </a:lnTo>
                  <a:lnTo>
                    <a:pt x="0" y="155"/>
                  </a:lnTo>
                  <a:lnTo>
                    <a:pt x="0" y="151"/>
                  </a:lnTo>
                  <a:lnTo>
                    <a:pt x="2" y="133"/>
                  </a:lnTo>
                  <a:lnTo>
                    <a:pt x="6" y="125"/>
                  </a:lnTo>
                  <a:lnTo>
                    <a:pt x="12" y="124"/>
                  </a:lnTo>
                  <a:lnTo>
                    <a:pt x="29" y="101"/>
                  </a:lnTo>
                  <a:lnTo>
                    <a:pt x="40" y="102"/>
                  </a:lnTo>
                  <a:lnTo>
                    <a:pt x="53" y="98"/>
                  </a:lnTo>
                  <a:lnTo>
                    <a:pt x="57" y="102"/>
                  </a:lnTo>
                  <a:lnTo>
                    <a:pt x="66" y="105"/>
                  </a:lnTo>
                  <a:lnTo>
                    <a:pt x="77" y="105"/>
                  </a:lnTo>
                  <a:lnTo>
                    <a:pt x="73" y="93"/>
                  </a:lnTo>
                  <a:lnTo>
                    <a:pt x="81" y="94"/>
                  </a:lnTo>
                  <a:lnTo>
                    <a:pt x="86" y="97"/>
                  </a:lnTo>
                  <a:lnTo>
                    <a:pt x="85" y="101"/>
                  </a:lnTo>
                  <a:lnTo>
                    <a:pt x="135" y="99"/>
                  </a:lnTo>
                  <a:lnTo>
                    <a:pt x="133" y="94"/>
                  </a:lnTo>
                  <a:lnTo>
                    <a:pt x="127" y="92"/>
                  </a:lnTo>
                  <a:lnTo>
                    <a:pt x="126" y="89"/>
                  </a:lnTo>
                  <a:lnTo>
                    <a:pt x="133" y="85"/>
                  </a:lnTo>
                  <a:lnTo>
                    <a:pt x="170" y="83"/>
                  </a:lnTo>
                  <a:lnTo>
                    <a:pt x="170" y="79"/>
                  </a:lnTo>
                  <a:lnTo>
                    <a:pt x="163" y="77"/>
                  </a:lnTo>
                  <a:lnTo>
                    <a:pt x="159" y="79"/>
                  </a:lnTo>
                  <a:lnTo>
                    <a:pt x="148" y="78"/>
                  </a:lnTo>
                  <a:lnTo>
                    <a:pt x="145" y="74"/>
                  </a:lnTo>
                  <a:lnTo>
                    <a:pt x="142" y="74"/>
                  </a:lnTo>
                  <a:lnTo>
                    <a:pt x="140" y="68"/>
                  </a:lnTo>
                  <a:lnTo>
                    <a:pt x="135" y="65"/>
                  </a:lnTo>
                  <a:lnTo>
                    <a:pt x="142" y="50"/>
                  </a:lnTo>
                  <a:lnTo>
                    <a:pt x="143" y="53"/>
                  </a:lnTo>
                  <a:lnTo>
                    <a:pt x="151" y="53"/>
                  </a:lnTo>
                  <a:lnTo>
                    <a:pt x="161" y="58"/>
                  </a:lnTo>
                  <a:lnTo>
                    <a:pt x="202" y="59"/>
                  </a:lnTo>
                  <a:lnTo>
                    <a:pt x="208" y="62"/>
                  </a:lnTo>
                  <a:lnTo>
                    <a:pt x="212" y="61"/>
                  </a:lnTo>
                  <a:lnTo>
                    <a:pt x="229" y="63"/>
                  </a:lnTo>
                  <a:lnTo>
                    <a:pt x="241" y="58"/>
                  </a:lnTo>
                  <a:lnTo>
                    <a:pt x="247" y="46"/>
                  </a:lnTo>
                  <a:lnTo>
                    <a:pt x="333" y="4"/>
                  </a:lnTo>
                  <a:lnTo>
                    <a:pt x="397" y="5"/>
                  </a:lnTo>
                  <a:lnTo>
                    <a:pt x="406" y="0"/>
                  </a:lnTo>
                  <a:lnTo>
                    <a:pt x="412" y="0"/>
                  </a:lnTo>
                  <a:lnTo>
                    <a:pt x="417" y="1"/>
                  </a:lnTo>
                  <a:lnTo>
                    <a:pt x="417" y="8"/>
                  </a:lnTo>
                  <a:lnTo>
                    <a:pt x="423" y="17"/>
                  </a:lnTo>
                  <a:lnTo>
                    <a:pt x="446" y="28"/>
                  </a:lnTo>
                  <a:lnTo>
                    <a:pt x="456" y="21"/>
                  </a:lnTo>
                  <a:lnTo>
                    <a:pt x="469" y="47"/>
                  </a:lnTo>
                  <a:lnTo>
                    <a:pt x="491" y="49"/>
                  </a:lnTo>
                  <a:lnTo>
                    <a:pt x="520" y="67"/>
                  </a:lnTo>
                  <a:lnTo>
                    <a:pt x="531" y="61"/>
                  </a:lnTo>
                  <a:lnTo>
                    <a:pt x="548" y="69"/>
                  </a:lnTo>
                  <a:lnTo>
                    <a:pt x="605" y="60"/>
                  </a:lnTo>
                  <a:lnTo>
                    <a:pt x="634" y="66"/>
                  </a:lnTo>
                  <a:lnTo>
                    <a:pt x="651" y="65"/>
                  </a:lnTo>
                  <a:lnTo>
                    <a:pt x="700" y="33"/>
                  </a:lnTo>
                  <a:lnTo>
                    <a:pt x="703" y="28"/>
                  </a:lnTo>
                  <a:lnTo>
                    <a:pt x="708" y="34"/>
                  </a:lnTo>
                  <a:lnTo>
                    <a:pt x="715" y="34"/>
                  </a:lnTo>
                  <a:lnTo>
                    <a:pt x="726" y="31"/>
                  </a:lnTo>
                  <a:lnTo>
                    <a:pt x="741" y="36"/>
                  </a:lnTo>
                  <a:lnTo>
                    <a:pt x="746" y="36"/>
                  </a:lnTo>
                  <a:lnTo>
                    <a:pt x="750" y="29"/>
                  </a:lnTo>
                  <a:lnTo>
                    <a:pt x="755" y="27"/>
                  </a:lnTo>
                  <a:lnTo>
                    <a:pt x="761" y="29"/>
                  </a:lnTo>
                  <a:lnTo>
                    <a:pt x="777" y="47"/>
                  </a:lnTo>
                  <a:lnTo>
                    <a:pt x="782" y="48"/>
                  </a:lnTo>
                  <a:lnTo>
                    <a:pt x="795" y="62"/>
                  </a:lnTo>
                  <a:lnTo>
                    <a:pt x="801" y="73"/>
                  </a:lnTo>
                  <a:lnTo>
                    <a:pt x="805" y="102"/>
                  </a:lnTo>
                  <a:lnTo>
                    <a:pt x="811" y="110"/>
                  </a:lnTo>
                  <a:lnTo>
                    <a:pt x="828" y="119"/>
                  </a:lnTo>
                  <a:lnTo>
                    <a:pt x="836" y="127"/>
                  </a:lnTo>
                  <a:lnTo>
                    <a:pt x="842" y="130"/>
                  </a:lnTo>
                  <a:lnTo>
                    <a:pt x="845" y="134"/>
                  </a:lnTo>
                  <a:lnTo>
                    <a:pt x="837" y="155"/>
                  </a:lnTo>
                  <a:lnTo>
                    <a:pt x="825" y="161"/>
                  </a:lnTo>
                  <a:lnTo>
                    <a:pt x="832" y="183"/>
                  </a:lnTo>
                  <a:lnTo>
                    <a:pt x="832" y="250"/>
                  </a:lnTo>
                  <a:lnTo>
                    <a:pt x="843" y="257"/>
                  </a:lnTo>
                  <a:lnTo>
                    <a:pt x="854" y="270"/>
                  </a:lnTo>
                  <a:lnTo>
                    <a:pt x="855" y="285"/>
                  </a:lnTo>
                  <a:lnTo>
                    <a:pt x="849" y="290"/>
                  </a:lnTo>
                  <a:lnTo>
                    <a:pt x="836" y="289"/>
                  </a:lnTo>
                  <a:lnTo>
                    <a:pt x="828" y="280"/>
                  </a:lnTo>
                  <a:lnTo>
                    <a:pt x="789" y="280"/>
                  </a:lnTo>
                  <a:lnTo>
                    <a:pt x="770" y="272"/>
                  </a:lnTo>
                  <a:lnTo>
                    <a:pt x="749" y="290"/>
                  </a:lnTo>
                  <a:lnTo>
                    <a:pt x="742" y="291"/>
                  </a:lnTo>
                  <a:lnTo>
                    <a:pt x="742" y="289"/>
                  </a:lnTo>
                  <a:lnTo>
                    <a:pt x="742" y="285"/>
                  </a:lnTo>
                  <a:lnTo>
                    <a:pt x="738" y="283"/>
                  </a:lnTo>
                  <a:lnTo>
                    <a:pt x="736" y="281"/>
                  </a:lnTo>
                  <a:lnTo>
                    <a:pt x="730" y="288"/>
                  </a:lnTo>
                  <a:lnTo>
                    <a:pt x="715" y="293"/>
                  </a:lnTo>
                  <a:lnTo>
                    <a:pt x="685" y="295"/>
                  </a:lnTo>
                  <a:lnTo>
                    <a:pt x="677" y="292"/>
                  </a:lnTo>
                  <a:lnTo>
                    <a:pt x="657" y="296"/>
                  </a:lnTo>
                  <a:lnTo>
                    <a:pt x="641" y="306"/>
                  </a:lnTo>
                  <a:lnTo>
                    <a:pt x="631" y="309"/>
                  </a:lnTo>
                  <a:lnTo>
                    <a:pt x="626" y="313"/>
                  </a:lnTo>
                  <a:lnTo>
                    <a:pt x="600" y="318"/>
                  </a:lnTo>
                  <a:lnTo>
                    <a:pt x="576" y="315"/>
                  </a:lnTo>
                  <a:lnTo>
                    <a:pt x="567" y="305"/>
                  </a:lnTo>
                  <a:lnTo>
                    <a:pt x="561" y="304"/>
                  </a:lnTo>
                  <a:lnTo>
                    <a:pt x="549" y="305"/>
                  </a:lnTo>
                  <a:lnTo>
                    <a:pt x="523" y="317"/>
                  </a:lnTo>
                  <a:lnTo>
                    <a:pt x="519" y="320"/>
                  </a:lnTo>
                  <a:lnTo>
                    <a:pt x="507" y="318"/>
                  </a:lnTo>
                  <a:lnTo>
                    <a:pt x="501" y="320"/>
                  </a:lnTo>
                  <a:lnTo>
                    <a:pt x="500" y="318"/>
                  </a:lnTo>
                  <a:lnTo>
                    <a:pt x="499" y="316"/>
                  </a:lnTo>
                  <a:lnTo>
                    <a:pt x="500" y="315"/>
                  </a:lnTo>
                  <a:lnTo>
                    <a:pt x="495" y="312"/>
                  </a:lnTo>
                  <a:lnTo>
                    <a:pt x="487" y="310"/>
                  </a:lnTo>
                  <a:lnTo>
                    <a:pt x="483" y="308"/>
                  </a:lnTo>
                  <a:lnTo>
                    <a:pt x="479" y="318"/>
                  </a:lnTo>
                  <a:lnTo>
                    <a:pt x="478" y="319"/>
                  </a:lnTo>
                  <a:lnTo>
                    <a:pt x="478" y="323"/>
                  </a:lnTo>
                  <a:lnTo>
                    <a:pt x="476" y="330"/>
                  </a:lnTo>
                  <a:lnTo>
                    <a:pt x="483" y="339"/>
                  </a:lnTo>
                  <a:lnTo>
                    <a:pt x="484" y="342"/>
                  </a:lnTo>
                  <a:lnTo>
                    <a:pt x="482" y="344"/>
                  </a:lnTo>
                  <a:lnTo>
                    <a:pt x="476" y="344"/>
                  </a:lnTo>
                  <a:lnTo>
                    <a:pt x="469" y="346"/>
                  </a:lnTo>
                  <a:lnTo>
                    <a:pt x="468" y="356"/>
                  </a:lnTo>
                  <a:lnTo>
                    <a:pt x="464" y="360"/>
                  </a:lnTo>
                  <a:lnTo>
                    <a:pt x="460" y="361"/>
                  </a:lnTo>
                  <a:lnTo>
                    <a:pt x="458" y="366"/>
                  </a:lnTo>
                  <a:lnTo>
                    <a:pt x="452" y="363"/>
                  </a:lnTo>
                  <a:lnTo>
                    <a:pt x="451" y="359"/>
                  </a:lnTo>
                  <a:lnTo>
                    <a:pt x="448" y="359"/>
                  </a:lnTo>
                  <a:lnTo>
                    <a:pt x="450" y="35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8" name="Freeform 115"/>
            <p:cNvSpPr>
              <a:spLocks/>
            </p:cNvSpPr>
            <p:nvPr/>
          </p:nvSpPr>
          <p:spPr bwMode="auto">
            <a:xfrm>
              <a:off x="4705509" y="1074715"/>
              <a:ext cx="1021601" cy="365507"/>
            </a:xfrm>
            <a:custGeom>
              <a:avLst/>
              <a:gdLst>
                <a:gd name="T0" fmla="*/ 76 w 855"/>
                <a:gd name="T1" fmla="*/ 40 h 366"/>
                <a:gd name="T2" fmla="*/ 72 w 855"/>
                <a:gd name="T3" fmla="*/ 40 h 366"/>
                <a:gd name="T4" fmla="*/ 66 w 855"/>
                <a:gd name="T5" fmla="*/ 38 h 366"/>
                <a:gd name="T6" fmla="*/ 61 w 855"/>
                <a:gd name="T7" fmla="*/ 41 h 366"/>
                <a:gd name="T8" fmla="*/ 55 w 855"/>
                <a:gd name="T9" fmla="*/ 43 h 366"/>
                <a:gd name="T10" fmla="*/ 39 w 855"/>
                <a:gd name="T11" fmla="*/ 38 h 366"/>
                <a:gd name="T12" fmla="*/ 33 w 855"/>
                <a:gd name="T13" fmla="*/ 40 h 366"/>
                <a:gd name="T14" fmla="*/ 24 w 855"/>
                <a:gd name="T15" fmla="*/ 42 h 366"/>
                <a:gd name="T16" fmla="*/ 21 w 855"/>
                <a:gd name="T17" fmla="*/ 39 h 366"/>
                <a:gd name="T18" fmla="*/ 19 w 855"/>
                <a:gd name="T19" fmla="*/ 38 h 366"/>
                <a:gd name="T20" fmla="*/ 15 w 855"/>
                <a:gd name="T21" fmla="*/ 39 h 366"/>
                <a:gd name="T22" fmla="*/ 10 w 855"/>
                <a:gd name="T23" fmla="*/ 39 h 366"/>
                <a:gd name="T24" fmla="*/ 15 w 855"/>
                <a:gd name="T25" fmla="*/ 38 h 366"/>
                <a:gd name="T26" fmla="*/ 9 w 855"/>
                <a:gd name="T27" fmla="*/ 37 h 366"/>
                <a:gd name="T28" fmla="*/ 9 w 855"/>
                <a:gd name="T29" fmla="*/ 34 h 366"/>
                <a:gd name="T30" fmla="*/ 8 w 855"/>
                <a:gd name="T31" fmla="*/ 32 h 366"/>
                <a:gd name="T32" fmla="*/ 8 w 855"/>
                <a:gd name="T33" fmla="*/ 30 h 366"/>
                <a:gd name="T34" fmla="*/ 3 w 855"/>
                <a:gd name="T35" fmla="*/ 29 h 366"/>
                <a:gd name="T36" fmla="*/ 2 w 855"/>
                <a:gd name="T37" fmla="*/ 27 h 366"/>
                <a:gd name="T38" fmla="*/ 3 w 855"/>
                <a:gd name="T39" fmla="*/ 25 h 366"/>
                <a:gd name="T40" fmla="*/ 7 w 855"/>
                <a:gd name="T41" fmla="*/ 26 h 366"/>
                <a:gd name="T42" fmla="*/ 6 w 855"/>
                <a:gd name="T43" fmla="*/ 24 h 366"/>
                <a:gd name="T44" fmla="*/ 5 w 855"/>
                <a:gd name="T45" fmla="*/ 21 h 366"/>
                <a:gd name="T46" fmla="*/ 0 w 855"/>
                <a:gd name="T47" fmla="*/ 19 h 366"/>
                <a:gd name="T48" fmla="*/ 2 w 855"/>
                <a:gd name="T49" fmla="*/ 15 h 366"/>
                <a:gd name="T50" fmla="*/ 9 w 855"/>
                <a:gd name="T51" fmla="*/ 12 h 366"/>
                <a:gd name="T52" fmla="*/ 14 w 855"/>
                <a:gd name="T53" fmla="*/ 12 h 366"/>
                <a:gd name="T54" fmla="*/ 22 w 855"/>
                <a:gd name="T55" fmla="*/ 12 h 366"/>
                <a:gd name="T56" fmla="*/ 28 w 855"/>
                <a:gd name="T57" fmla="*/ 10 h 366"/>
                <a:gd name="T58" fmla="*/ 25 w 855"/>
                <a:gd name="T59" fmla="*/ 10 h 366"/>
                <a:gd name="T60" fmla="*/ 22 w 855"/>
                <a:gd name="T61" fmla="*/ 8 h 366"/>
                <a:gd name="T62" fmla="*/ 26 w 855"/>
                <a:gd name="T63" fmla="*/ 7 h 366"/>
                <a:gd name="T64" fmla="*/ 38 w 855"/>
                <a:gd name="T65" fmla="*/ 8 h 366"/>
                <a:gd name="T66" fmla="*/ 65 w 855"/>
                <a:gd name="T67" fmla="*/ 1 h 366"/>
                <a:gd name="T68" fmla="*/ 69 w 855"/>
                <a:gd name="T69" fmla="*/ 1 h 366"/>
                <a:gd name="T70" fmla="*/ 78 w 855"/>
                <a:gd name="T71" fmla="*/ 6 h 366"/>
                <a:gd name="T72" fmla="*/ 91 w 855"/>
                <a:gd name="T73" fmla="*/ 9 h 366"/>
                <a:gd name="T74" fmla="*/ 115 w 855"/>
                <a:gd name="T75" fmla="*/ 4 h 366"/>
                <a:gd name="T76" fmla="*/ 120 w 855"/>
                <a:gd name="T77" fmla="*/ 4 h 366"/>
                <a:gd name="T78" fmla="*/ 125 w 855"/>
                <a:gd name="T79" fmla="*/ 3 h 366"/>
                <a:gd name="T80" fmla="*/ 131 w 855"/>
                <a:gd name="T81" fmla="*/ 8 h 366"/>
                <a:gd name="T82" fmla="*/ 136 w 855"/>
                <a:gd name="T83" fmla="*/ 15 h 366"/>
                <a:gd name="T84" fmla="*/ 138 w 855"/>
                <a:gd name="T85" fmla="*/ 19 h 366"/>
                <a:gd name="T86" fmla="*/ 139 w 855"/>
                <a:gd name="T87" fmla="*/ 32 h 366"/>
                <a:gd name="T88" fmla="*/ 138 w 855"/>
                <a:gd name="T89" fmla="*/ 36 h 366"/>
                <a:gd name="T90" fmla="*/ 124 w 855"/>
                <a:gd name="T91" fmla="*/ 36 h 366"/>
                <a:gd name="T92" fmla="*/ 122 w 855"/>
                <a:gd name="T93" fmla="*/ 34 h 366"/>
                <a:gd name="T94" fmla="*/ 113 w 855"/>
                <a:gd name="T95" fmla="*/ 36 h 366"/>
                <a:gd name="T96" fmla="*/ 104 w 855"/>
                <a:gd name="T97" fmla="*/ 38 h 366"/>
                <a:gd name="T98" fmla="*/ 94 w 855"/>
                <a:gd name="T99" fmla="*/ 37 h 366"/>
                <a:gd name="T100" fmla="*/ 86 w 855"/>
                <a:gd name="T101" fmla="*/ 39 h 366"/>
                <a:gd name="T102" fmla="*/ 82 w 855"/>
                <a:gd name="T103" fmla="*/ 39 h 366"/>
                <a:gd name="T104" fmla="*/ 80 w 855"/>
                <a:gd name="T105" fmla="*/ 38 h 366"/>
                <a:gd name="T106" fmla="*/ 79 w 855"/>
                <a:gd name="T107" fmla="*/ 40 h 366"/>
                <a:gd name="T108" fmla="*/ 79 w 855"/>
                <a:gd name="T109" fmla="*/ 42 h 366"/>
                <a:gd name="T110" fmla="*/ 76 w 855"/>
                <a:gd name="T111" fmla="*/ 44 h 366"/>
                <a:gd name="T112" fmla="*/ 74 w 855"/>
                <a:gd name="T113" fmla="*/ 44 h 36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855"/>
                <a:gd name="T172" fmla="*/ 0 h 366"/>
                <a:gd name="T173" fmla="*/ 855 w 855"/>
                <a:gd name="T174" fmla="*/ 366 h 36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855" h="366">
                  <a:moveTo>
                    <a:pt x="450" y="354"/>
                  </a:moveTo>
                  <a:lnTo>
                    <a:pt x="447" y="342"/>
                  </a:lnTo>
                  <a:lnTo>
                    <a:pt x="450" y="329"/>
                  </a:lnTo>
                  <a:lnTo>
                    <a:pt x="458" y="324"/>
                  </a:lnTo>
                  <a:lnTo>
                    <a:pt x="462" y="316"/>
                  </a:lnTo>
                  <a:lnTo>
                    <a:pt x="454" y="309"/>
                  </a:lnTo>
                  <a:lnTo>
                    <a:pt x="440" y="316"/>
                  </a:lnTo>
                  <a:lnTo>
                    <a:pt x="438" y="324"/>
                  </a:lnTo>
                  <a:lnTo>
                    <a:pt x="432" y="326"/>
                  </a:lnTo>
                  <a:lnTo>
                    <a:pt x="420" y="325"/>
                  </a:lnTo>
                  <a:lnTo>
                    <a:pt x="405" y="314"/>
                  </a:lnTo>
                  <a:lnTo>
                    <a:pt x="399" y="312"/>
                  </a:lnTo>
                  <a:lnTo>
                    <a:pt x="393" y="313"/>
                  </a:lnTo>
                  <a:lnTo>
                    <a:pt x="384" y="316"/>
                  </a:lnTo>
                  <a:lnTo>
                    <a:pt x="369" y="331"/>
                  </a:lnTo>
                  <a:lnTo>
                    <a:pt x="366" y="338"/>
                  </a:lnTo>
                  <a:lnTo>
                    <a:pt x="356" y="339"/>
                  </a:lnTo>
                  <a:lnTo>
                    <a:pt x="350" y="346"/>
                  </a:lnTo>
                  <a:lnTo>
                    <a:pt x="342" y="349"/>
                  </a:lnTo>
                  <a:lnTo>
                    <a:pt x="333" y="348"/>
                  </a:lnTo>
                  <a:lnTo>
                    <a:pt x="309" y="356"/>
                  </a:lnTo>
                  <a:lnTo>
                    <a:pt x="293" y="351"/>
                  </a:lnTo>
                  <a:lnTo>
                    <a:pt x="281" y="335"/>
                  </a:lnTo>
                  <a:lnTo>
                    <a:pt x="237" y="309"/>
                  </a:lnTo>
                  <a:lnTo>
                    <a:pt x="208" y="308"/>
                  </a:lnTo>
                  <a:lnTo>
                    <a:pt x="205" y="316"/>
                  </a:lnTo>
                  <a:lnTo>
                    <a:pt x="205" y="326"/>
                  </a:lnTo>
                  <a:lnTo>
                    <a:pt x="202" y="330"/>
                  </a:lnTo>
                  <a:lnTo>
                    <a:pt x="201" y="339"/>
                  </a:lnTo>
                  <a:lnTo>
                    <a:pt x="173" y="348"/>
                  </a:lnTo>
                  <a:lnTo>
                    <a:pt x="155" y="346"/>
                  </a:lnTo>
                  <a:lnTo>
                    <a:pt x="147" y="341"/>
                  </a:lnTo>
                  <a:lnTo>
                    <a:pt x="140" y="333"/>
                  </a:lnTo>
                  <a:lnTo>
                    <a:pt x="136" y="318"/>
                  </a:lnTo>
                  <a:lnTo>
                    <a:pt x="131" y="316"/>
                  </a:lnTo>
                  <a:lnTo>
                    <a:pt x="129" y="319"/>
                  </a:lnTo>
                  <a:lnTo>
                    <a:pt x="129" y="322"/>
                  </a:lnTo>
                  <a:lnTo>
                    <a:pt x="126" y="322"/>
                  </a:lnTo>
                  <a:lnTo>
                    <a:pt x="119" y="318"/>
                  </a:lnTo>
                  <a:lnTo>
                    <a:pt x="115" y="312"/>
                  </a:lnTo>
                  <a:lnTo>
                    <a:pt x="113" y="310"/>
                  </a:lnTo>
                  <a:lnTo>
                    <a:pt x="100" y="313"/>
                  </a:lnTo>
                  <a:lnTo>
                    <a:pt x="98" y="317"/>
                  </a:lnTo>
                  <a:lnTo>
                    <a:pt x="90" y="322"/>
                  </a:lnTo>
                  <a:lnTo>
                    <a:pt x="88" y="322"/>
                  </a:lnTo>
                  <a:lnTo>
                    <a:pt x="91" y="316"/>
                  </a:lnTo>
                  <a:lnTo>
                    <a:pt x="90" y="313"/>
                  </a:lnTo>
                  <a:lnTo>
                    <a:pt x="61" y="321"/>
                  </a:lnTo>
                  <a:lnTo>
                    <a:pt x="65" y="315"/>
                  </a:lnTo>
                  <a:lnTo>
                    <a:pt x="73" y="310"/>
                  </a:lnTo>
                  <a:lnTo>
                    <a:pt x="85" y="310"/>
                  </a:lnTo>
                  <a:lnTo>
                    <a:pt x="91" y="307"/>
                  </a:lnTo>
                  <a:lnTo>
                    <a:pt x="92" y="305"/>
                  </a:lnTo>
                  <a:lnTo>
                    <a:pt x="99" y="301"/>
                  </a:lnTo>
                  <a:lnTo>
                    <a:pt x="101" y="297"/>
                  </a:lnTo>
                  <a:lnTo>
                    <a:pt x="58" y="300"/>
                  </a:lnTo>
                  <a:lnTo>
                    <a:pt x="56" y="296"/>
                  </a:lnTo>
                  <a:lnTo>
                    <a:pt x="66" y="287"/>
                  </a:lnTo>
                  <a:lnTo>
                    <a:pt x="57" y="278"/>
                  </a:lnTo>
                  <a:lnTo>
                    <a:pt x="53" y="277"/>
                  </a:lnTo>
                  <a:lnTo>
                    <a:pt x="54" y="270"/>
                  </a:lnTo>
                  <a:lnTo>
                    <a:pt x="58" y="267"/>
                  </a:lnTo>
                  <a:lnTo>
                    <a:pt x="60" y="264"/>
                  </a:lnTo>
                  <a:lnTo>
                    <a:pt x="48" y="266"/>
                  </a:lnTo>
                  <a:lnTo>
                    <a:pt x="44" y="261"/>
                  </a:lnTo>
                  <a:lnTo>
                    <a:pt x="50" y="257"/>
                  </a:lnTo>
                  <a:lnTo>
                    <a:pt x="51" y="251"/>
                  </a:lnTo>
                  <a:lnTo>
                    <a:pt x="47" y="242"/>
                  </a:lnTo>
                  <a:lnTo>
                    <a:pt x="41" y="238"/>
                  </a:lnTo>
                  <a:lnTo>
                    <a:pt x="31" y="236"/>
                  </a:lnTo>
                  <a:lnTo>
                    <a:pt x="25" y="231"/>
                  </a:lnTo>
                  <a:lnTo>
                    <a:pt x="18" y="233"/>
                  </a:lnTo>
                  <a:lnTo>
                    <a:pt x="14" y="230"/>
                  </a:lnTo>
                  <a:lnTo>
                    <a:pt x="8" y="226"/>
                  </a:lnTo>
                  <a:lnTo>
                    <a:pt x="8" y="223"/>
                  </a:lnTo>
                  <a:lnTo>
                    <a:pt x="14" y="221"/>
                  </a:lnTo>
                  <a:lnTo>
                    <a:pt x="15" y="213"/>
                  </a:lnTo>
                  <a:lnTo>
                    <a:pt x="14" y="208"/>
                  </a:lnTo>
                  <a:lnTo>
                    <a:pt x="16" y="203"/>
                  </a:lnTo>
                  <a:lnTo>
                    <a:pt x="19" y="205"/>
                  </a:lnTo>
                  <a:lnTo>
                    <a:pt x="24" y="219"/>
                  </a:lnTo>
                  <a:lnTo>
                    <a:pt x="29" y="220"/>
                  </a:lnTo>
                  <a:lnTo>
                    <a:pt x="46" y="219"/>
                  </a:lnTo>
                  <a:lnTo>
                    <a:pt x="44" y="216"/>
                  </a:lnTo>
                  <a:lnTo>
                    <a:pt x="35" y="212"/>
                  </a:lnTo>
                  <a:lnTo>
                    <a:pt x="31" y="204"/>
                  </a:lnTo>
                  <a:lnTo>
                    <a:pt x="32" y="199"/>
                  </a:lnTo>
                  <a:lnTo>
                    <a:pt x="38" y="193"/>
                  </a:lnTo>
                  <a:lnTo>
                    <a:pt x="37" y="188"/>
                  </a:lnTo>
                  <a:lnTo>
                    <a:pt x="32" y="183"/>
                  </a:lnTo>
                  <a:lnTo>
                    <a:pt x="32" y="177"/>
                  </a:lnTo>
                  <a:lnTo>
                    <a:pt x="27" y="171"/>
                  </a:lnTo>
                  <a:lnTo>
                    <a:pt x="28" y="162"/>
                  </a:lnTo>
                  <a:lnTo>
                    <a:pt x="36" y="155"/>
                  </a:lnTo>
                  <a:lnTo>
                    <a:pt x="34" y="152"/>
                  </a:lnTo>
                  <a:lnTo>
                    <a:pt x="0" y="155"/>
                  </a:lnTo>
                  <a:lnTo>
                    <a:pt x="0" y="151"/>
                  </a:lnTo>
                  <a:lnTo>
                    <a:pt x="2" y="133"/>
                  </a:lnTo>
                  <a:lnTo>
                    <a:pt x="6" y="125"/>
                  </a:lnTo>
                  <a:lnTo>
                    <a:pt x="12" y="124"/>
                  </a:lnTo>
                  <a:lnTo>
                    <a:pt x="29" y="101"/>
                  </a:lnTo>
                  <a:lnTo>
                    <a:pt x="40" y="102"/>
                  </a:lnTo>
                  <a:lnTo>
                    <a:pt x="53" y="98"/>
                  </a:lnTo>
                  <a:lnTo>
                    <a:pt x="57" y="102"/>
                  </a:lnTo>
                  <a:lnTo>
                    <a:pt x="66" y="105"/>
                  </a:lnTo>
                  <a:lnTo>
                    <a:pt x="77" y="105"/>
                  </a:lnTo>
                  <a:lnTo>
                    <a:pt x="73" y="93"/>
                  </a:lnTo>
                  <a:lnTo>
                    <a:pt x="81" y="94"/>
                  </a:lnTo>
                  <a:lnTo>
                    <a:pt x="86" y="97"/>
                  </a:lnTo>
                  <a:lnTo>
                    <a:pt x="85" y="101"/>
                  </a:lnTo>
                  <a:lnTo>
                    <a:pt x="135" y="99"/>
                  </a:lnTo>
                  <a:lnTo>
                    <a:pt x="133" y="94"/>
                  </a:lnTo>
                  <a:lnTo>
                    <a:pt x="127" y="92"/>
                  </a:lnTo>
                  <a:lnTo>
                    <a:pt x="126" y="89"/>
                  </a:lnTo>
                  <a:lnTo>
                    <a:pt x="133" y="85"/>
                  </a:lnTo>
                  <a:lnTo>
                    <a:pt x="170" y="83"/>
                  </a:lnTo>
                  <a:lnTo>
                    <a:pt x="170" y="79"/>
                  </a:lnTo>
                  <a:lnTo>
                    <a:pt x="163" y="77"/>
                  </a:lnTo>
                  <a:lnTo>
                    <a:pt x="159" y="79"/>
                  </a:lnTo>
                  <a:lnTo>
                    <a:pt x="148" y="78"/>
                  </a:lnTo>
                  <a:lnTo>
                    <a:pt x="145" y="74"/>
                  </a:lnTo>
                  <a:lnTo>
                    <a:pt x="142" y="74"/>
                  </a:lnTo>
                  <a:lnTo>
                    <a:pt x="140" y="68"/>
                  </a:lnTo>
                  <a:lnTo>
                    <a:pt x="135" y="65"/>
                  </a:lnTo>
                  <a:lnTo>
                    <a:pt x="142" y="50"/>
                  </a:lnTo>
                  <a:lnTo>
                    <a:pt x="143" y="53"/>
                  </a:lnTo>
                  <a:lnTo>
                    <a:pt x="151" y="53"/>
                  </a:lnTo>
                  <a:lnTo>
                    <a:pt x="161" y="58"/>
                  </a:lnTo>
                  <a:lnTo>
                    <a:pt x="202" y="59"/>
                  </a:lnTo>
                  <a:lnTo>
                    <a:pt x="208" y="62"/>
                  </a:lnTo>
                  <a:lnTo>
                    <a:pt x="212" y="61"/>
                  </a:lnTo>
                  <a:lnTo>
                    <a:pt x="229" y="63"/>
                  </a:lnTo>
                  <a:lnTo>
                    <a:pt x="241" y="58"/>
                  </a:lnTo>
                  <a:lnTo>
                    <a:pt x="247" y="46"/>
                  </a:lnTo>
                  <a:lnTo>
                    <a:pt x="333" y="4"/>
                  </a:lnTo>
                  <a:lnTo>
                    <a:pt x="397" y="5"/>
                  </a:lnTo>
                  <a:lnTo>
                    <a:pt x="406" y="0"/>
                  </a:lnTo>
                  <a:lnTo>
                    <a:pt x="412" y="0"/>
                  </a:lnTo>
                  <a:lnTo>
                    <a:pt x="417" y="1"/>
                  </a:lnTo>
                  <a:lnTo>
                    <a:pt x="417" y="8"/>
                  </a:lnTo>
                  <a:lnTo>
                    <a:pt x="423" y="17"/>
                  </a:lnTo>
                  <a:lnTo>
                    <a:pt x="446" y="28"/>
                  </a:lnTo>
                  <a:lnTo>
                    <a:pt x="456" y="21"/>
                  </a:lnTo>
                  <a:lnTo>
                    <a:pt x="469" y="47"/>
                  </a:lnTo>
                  <a:lnTo>
                    <a:pt x="491" y="49"/>
                  </a:lnTo>
                  <a:lnTo>
                    <a:pt x="520" y="67"/>
                  </a:lnTo>
                  <a:lnTo>
                    <a:pt x="531" y="61"/>
                  </a:lnTo>
                  <a:lnTo>
                    <a:pt x="548" y="69"/>
                  </a:lnTo>
                  <a:lnTo>
                    <a:pt x="605" y="60"/>
                  </a:lnTo>
                  <a:lnTo>
                    <a:pt x="634" y="66"/>
                  </a:lnTo>
                  <a:lnTo>
                    <a:pt x="651" y="65"/>
                  </a:lnTo>
                  <a:lnTo>
                    <a:pt x="700" y="33"/>
                  </a:lnTo>
                  <a:lnTo>
                    <a:pt x="703" y="28"/>
                  </a:lnTo>
                  <a:lnTo>
                    <a:pt x="708" y="34"/>
                  </a:lnTo>
                  <a:lnTo>
                    <a:pt x="715" y="34"/>
                  </a:lnTo>
                  <a:lnTo>
                    <a:pt x="726" y="31"/>
                  </a:lnTo>
                  <a:lnTo>
                    <a:pt x="741" y="36"/>
                  </a:lnTo>
                  <a:lnTo>
                    <a:pt x="746" y="36"/>
                  </a:lnTo>
                  <a:lnTo>
                    <a:pt x="750" y="29"/>
                  </a:lnTo>
                  <a:lnTo>
                    <a:pt x="755" y="27"/>
                  </a:lnTo>
                  <a:lnTo>
                    <a:pt x="761" y="29"/>
                  </a:lnTo>
                  <a:lnTo>
                    <a:pt x="777" y="47"/>
                  </a:lnTo>
                  <a:lnTo>
                    <a:pt x="782" y="48"/>
                  </a:lnTo>
                  <a:lnTo>
                    <a:pt x="795" y="62"/>
                  </a:lnTo>
                  <a:lnTo>
                    <a:pt x="801" y="73"/>
                  </a:lnTo>
                  <a:lnTo>
                    <a:pt x="805" y="102"/>
                  </a:lnTo>
                  <a:lnTo>
                    <a:pt x="811" y="110"/>
                  </a:lnTo>
                  <a:lnTo>
                    <a:pt x="828" y="119"/>
                  </a:lnTo>
                  <a:lnTo>
                    <a:pt x="836" y="127"/>
                  </a:lnTo>
                  <a:lnTo>
                    <a:pt x="842" y="130"/>
                  </a:lnTo>
                  <a:lnTo>
                    <a:pt x="845" y="134"/>
                  </a:lnTo>
                  <a:lnTo>
                    <a:pt x="837" y="155"/>
                  </a:lnTo>
                  <a:lnTo>
                    <a:pt x="825" y="161"/>
                  </a:lnTo>
                  <a:lnTo>
                    <a:pt x="832" y="183"/>
                  </a:lnTo>
                  <a:lnTo>
                    <a:pt x="832" y="250"/>
                  </a:lnTo>
                  <a:lnTo>
                    <a:pt x="843" y="257"/>
                  </a:lnTo>
                  <a:lnTo>
                    <a:pt x="854" y="270"/>
                  </a:lnTo>
                  <a:lnTo>
                    <a:pt x="855" y="285"/>
                  </a:lnTo>
                  <a:lnTo>
                    <a:pt x="849" y="290"/>
                  </a:lnTo>
                  <a:lnTo>
                    <a:pt x="836" y="289"/>
                  </a:lnTo>
                  <a:lnTo>
                    <a:pt x="828" y="280"/>
                  </a:lnTo>
                  <a:lnTo>
                    <a:pt x="789" y="280"/>
                  </a:lnTo>
                  <a:lnTo>
                    <a:pt x="770" y="272"/>
                  </a:lnTo>
                  <a:lnTo>
                    <a:pt x="749" y="290"/>
                  </a:lnTo>
                  <a:lnTo>
                    <a:pt x="742" y="291"/>
                  </a:lnTo>
                  <a:lnTo>
                    <a:pt x="742" y="289"/>
                  </a:lnTo>
                  <a:lnTo>
                    <a:pt x="742" y="285"/>
                  </a:lnTo>
                  <a:lnTo>
                    <a:pt x="738" y="283"/>
                  </a:lnTo>
                  <a:lnTo>
                    <a:pt x="736" y="281"/>
                  </a:lnTo>
                  <a:lnTo>
                    <a:pt x="730" y="288"/>
                  </a:lnTo>
                  <a:lnTo>
                    <a:pt x="715" y="293"/>
                  </a:lnTo>
                  <a:lnTo>
                    <a:pt x="685" y="295"/>
                  </a:lnTo>
                  <a:lnTo>
                    <a:pt x="677" y="292"/>
                  </a:lnTo>
                  <a:lnTo>
                    <a:pt x="657" y="296"/>
                  </a:lnTo>
                  <a:lnTo>
                    <a:pt x="641" y="306"/>
                  </a:lnTo>
                  <a:lnTo>
                    <a:pt x="631" y="309"/>
                  </a:lnTo>
                  <a:lnTo>
                    <a:pt x="626" y="313"/>
                  </a:lnTo>
                  <a:lnTo>
                    <a:pt x="600" y="318"/>
                  </a:lnTo>
                  <a:lnTo>
                    <a:pt x="576" y="315"/>
                  </a:lnTo>
                  <a:lnTo>
                    <a:pt x="567" y="305"/>
                  </a:lnTo>
                  <a:lnTo>
                    <a:pt x="561" y="304"/>
                  </a:lnTo>
                  <a:lnTo>
                    <a:pt x="549" y="305"/>
                  </a:lnTo>
                  <a:lnTo>
                    <a:pt x="523" y="317"/>
                  </a:lnTo>
                  <a:lnTo>
                    <a:pt x="519" y="320"/>
                  </a:lnTo>
                  <a:lnTo>
                    <a:pt x="507" y="318"/>
                  </a:lnTo>
                  <a:lnTo>
                    <a:pt x="501" y="320"/>
                  </a:lnTo>
                  <a:lnTo>
                    <a:pt x="500" y="318"/>
                  </a:lnTo>
                  <a:lnTo>
                    <a:pt x="499" y="316"/>
                  </a:lnTo>
                  <a:lnTo>
                    <a:pt x="500" y="315"/>
                  </a:lnTo>
                  <a:lnTo>
                    <a:pt x="495" y="312"/>
                  </a:lnTo>
                  <a:lnTo>
                    <a:pt x="487" y="310"/>
                  </a:lnTo>
                  <a:lnTo>
                    <a:pt x="483" y="308"/>
                  </a:lnTo>
                  <a:lnTo>
                    <a:pt x="479" y="318"/>
                  </a:lnTo>
                  <a:lnTo>
                    <a:pt x="478" y="319"/>
                  </a:lnTo>
                  <a:lnTo>
                    <a:pt x="478" y="323"/>
                  </a:lnTo>
                  <a:lnTo>
                    <a:pt x="476" y="330"/>
                  </a:lnTo>
                  <a:lnTo>
                    <a:pt x="483" y="339"/>
                  </a:lnTo>
                  <a:lnTo>
                    <a:pt x="484" y="342"/>
                  </a:lnTo>
                  <a:lnTo>
                    <a:pt x="482" y="344"/>
                  </a:lnTo>
                  <a:lnTo>
                    <a:pt x="476" y="344"/>
                  </a:lnTo>
                  <a:lnTo>
                    <a:pt x="469" y="346"/>
                  </a:lnTo>
                  <a:lnTo>
                    <a:pt x="468" y="356"/>
                  </a:lnTo>
                  <a:lnTo>
                    <a:pt x="464" y="360"/>
                  </a:lnTo>
                  <a:lnTo>
                    <a:pt x="460" y="361"/>
                  </a:lnTo>
                  <a:lnTo>
                    <a:pt x="458" y="366"/>
                  </a:lnTo>
                  <a:lnTo>
                    <a:pt x="452" y="363"/>
                  </a:lnTo>
                  <a:lnTo>
                    <a:pt x="451" y="359"/>
                  </a:lnTo>
                  <a:lnTo>
                    <a:pt x="448" y="359"/>
                  </a:lnTo>
                  <a:lnTo>
                    <a:pt x="450" y="35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09" name="Freeform 116"/>
            <p:cNvSpPr>
              <a:spLocks/>
            </p:cNvSpPr>
            <p:nvPr/>
          </p:nvSpPr>
          <p:spPr bwMode="auto">
            <a:xfrm>
              <a:off x="5824600" y="1753778"/>
              <a:ext cx="97489" cy="77926"/>
            </a:xfrm>
            <a:custGeom>
              <a:avLst/>
              <a:gdLst>
                <a:gd name="T0" fmla="*/ 14 w 81"/>
                <a:gd name="T1" fmla="*/ 10 h 79"/>
                <a:gd name="T2" fmla="*/ 13 w 81"/>
                <a:gd name="T3" fmla="*/ 8 h 79"/>
                <a:gd name="T4" fmla="*/ 12 w 81"/>
                <a:gd name="T5" fmla="*/ 8 h 79"/>
                <a:gd name="T6" fmla="*/ 12 w 81"/>
                <a:gd name="T7" fmla="*/ 5 h 79"/>
                <a:gd name="T8" fmla="*/ 10 w 81"/>
                <a:gd name="T9" fmla="*/ 5 h 79"/>
                <a:gd name="T10" fmla="*/ 9 w 81"/>
                <a:gd name="T11" fmla="*/ 5 h 79"/>
                <a:gd name="T12" fmla="*/ 9 w 81"/>
                <a:gd name="T13" fmla="*/ 4 h 79"/>
                <a:gd name="T14" fmla="*/ 9 w 81"/>
                <a:gd name="T15" fmla="*/ 4 h 79"/>
                <a:gd name="T16" fmla="*/ 12 w 81"/>
                <a:gd name="T17" fmla="*/ 3 h 79"/>
                <a:gd name="T18" fmla="*/ 13 w 81"/>
                <a:gd name="T19" fmla="*/ 3 h 79"/>
                <a:gd name="T20" fmla="*/ 13 w 81"/>
                <a:gd name="T21" fmla="*/ 2 h 79"/>
                <a:gd name="T22" fmla="*/ 12 w 81"/>
                <a:gd name="T23" fmla="*/ 2 h 79"/>
                <a:gd name="T24" fmla="*/ 11 w 81"/>
                <a:gd name="T25" fmla="*/ 1 h 79"/>
                <a:gd name="T26" fmla="*/ 11 w 81"/>
                <a:gd name="T27" fmla="*/ 1 h 79"/>
                <a:gd name="T28" fmla="*/ 11 w 81"/>
                <a:gd name="T29" fmla="*/ 1 h 79"/>
                <a:gd name="T30" fmla="*/ 7 w 81"/>
                <a:gd name="T31" fmla="*/ 0 h 79"/>
                <a:gd name="T32" fmla="*/ 5 w 81"/>
                <a:gd name="T33" fmla="*/ 1 h 79"/>
                <a:gd name="T34" fmla="*/ 2 w 81"/>
                <a:gd name="T35" fmla="*/ 4 h 79"/>
                <a:gd name="T36" fmla="*/ 0 w 81"/>
                <a:gd name="T37" fmla="*/ 6 h 79"/>
                <a:gd name="T38" fmla="*/ 1 w 81"/>
                <a:gd name="T39" fmla="*/ 6 h 79"/>
                <a:gd name="T40" fmla="*/ 7 w 81"/>
                <a:gd name="T41" fmla="*/ 7 h 79"/>
                <a:gd name="T42" fmla="*/ 7 w 81"/>
                <a:gd name="T43" fmla="*/ 8 h 79"/>
                <a:gd name="T44" fmla="*/ 9 w 81"/>
                <a:gd name="T45" fmla="*/ 10 h 79"/>
                <a:gd name="T46" fmla="*/ 14 w 81"/>
                <a:gd name="T47" fmla="*/ 10 h 7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79"/>
                <a:gd name="T74" fmla="*/ 81 w 81"/>
                <a:gd name="T75" fmla="*/ 79 h 7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79">
                  <a:moveTo>
                    <a:pt x="81" y="79"/>
                  </a:moveTo>
                  <a:lnTo>
                    <a:pt x="79" y="69"/>
                  </a:lnTo>
                  <a:lnTo>
                    <a:pt x="76" y="68"/>
                  </a:lnTo>
                  <a:lnTo>
                    <a:pt x="68" y="43"/>
                  </a:lnTo>
                  <a:lnTo>
                    <a:pt x="61" y="40"/>
                  </a:lnTo>
                  <a:lnTo>
                    <a:pt x="52" y="39"/>
                  </a:lnTo>
                  <a:lnTo>
                    <a:pt x="54" y="35"/>
                  </a:lnTo>
                  <a:lnTo>
                    <a:pt x="56" y="33"/>
                  </a:lnTo>
                  <a:lnTo>
                    <a:pt x="71" y="28"/>
                  </a:lnTo>
                  <a:lnTo>
                    <a:pt x="78" y="22"/>
                  </a:lnTo>
                  <a:lnTo>
                    <a:pt x="77" y="19"/>
                  </a:lnTo>
                  <a:lnTo>
                    <a:pt x="76" y="16"/>
                  </a:lnTo>
                  <a:lnTo>
                    <a:pt x="66" y="9"/>
                  </a:lnTo>
                  <a:lnTo>
                    <a:pt x="65" y="5"/>
                  </a:lnTo>
                  <a:lnTo>
                    <a:pt x="66" y="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15" y="36"/>
                  </a:lnTo>
                  <a:lnTo>
                    <a:pt x="0" y="50"/>
                  </a:lnTo>
                  <a:lnTo>
                    <a:pt x="4" y="52"/>
                  </a:lnTo>
                  <a:lnTo>
                    <a:pt x="38" y="61"/>
                  </a:lnTo>
                  <a:lnTo>
                    <a:pt x="45" y="66"/>
                  </a:lnTo>
                  <a:lnTo>
                    <a:pt x="53" y="79"/>
                  </a:lnTo>
                  <a:lnTo>
                    <a:pt x="81" y="7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0" name="Freeform 117"/>
            <p:cNvSpPr>
              <a:spLocks/>
            </p:cNvSpPr>
            <p:nvPr/>
          </p:nvSpPr>
          <p:spPr bwMode="auto">
            <a:xfrm>
              <a:off x="5824600" y="1753778"/>
              <a:ext cx="97489" cy="77926"/>
            </a:xfrm>
            <a:custGeom>
              <a:avLst/>
              <a:gdLst>
                <a:gd name="T0" fmla="*/ 14 w 81"/>
                <a:gd name="T1" fmla="*/ 10 h 79"/>
                <a:gd name="T2" fmla="*/ 13 w 81"/>
                <a:gd name="T3" fmla="*/ 8 h 79"/>
                <a:gd name="T4" fmla="*/ 12 w 81"/>
                <a:gd name="T5" fmla="*/ 8 h 79"/>
                <a:gd name="T6" fmla="*/ 12 w 81"/>
                <a:gd name="T7" fmla="*/ 5 h 79"/>
                <a:gd name="T8" fmla="*/ 10 w 81"/>
                <a:gd name="T9" fmla="*/ 5 h 79"/>
                <a:gd name="T10" fmla="*/ 9 w 81"/>
                <a:gd name="T11" fmla="*/ 5 h 79"/>
                <a:gd name="T12" fmla="*/ 9 w 81"/>
                <a:gd name="T13" fmla="*/ 4 h 79"/>
                <a:gd name="T14" fmla="*/ 9 w 81"/>
                <a:gd name="T15" fmla="*/ 4 h 79"/>
                <a:gd name="T16" fmla="*/ 12 w 81"/>
                <a:gd name="T17" fmla="*/ 3 h 79"/>
                <a:gd name="T18" fmla="*/ 13 w 81"/>
                <a:gd name="T19" fmla="*/ 3 h 79"/>
                <a:gd name="T20" fmla="*/ 13 w 81"/>
                <a:gd name="T21" fmla="*/ 2 h 79"/>
                <a:gd name="T22" fmla="*/ 12 w 81"/>
                <a:gd name="T23" fmla="*/ 2 h 79"/>
                <a:gd name="T24" fmla="*/ 11 w 81"/>
                <a:gd name="T25" fmla="*/ 1 h 79"/>
                <a:gd name="T26" fmla="*/ 11 w 81"/>
                <a:gd name="T27" fmla="*/ 1 h 79"/>
                <a:gd name="T28" fmla="*/ 11 w 81"/>
                <a:gd name="T29" fmla="*/ 1 h 79"/>
                <a:gd name="T30" fmla="*/ 7 w 81"/>
                <a:gd name="T31" fmla="*/ 0 h 79"/>
                <a:gd name="T32" fmla="*/ 5 w 81"/>
                <a:gd name="T33" fmla="*/ 1 h 79"/>
                <a:gd name="T34" fmla="*/ 2 w 81"/>
                <a:gd name="T35" fmla="*/ 4 h 79"/>
                <a:gd name="T36" fmla="*/ 0 w 81"/>
                <a:gd name="T37" fmla="*/ 6 h 79"/>
                <a:gd name="T38" fmla="*/ 1 w 81"/>
                <a:gd name="T39" fmla="*/ 6 h 79"/>
                <a:gd name="T40" fmla="*/ 7 w 81"/>
                <a:gd name="T41" fmla="*/ 7 h 79"/>
                <a:gd name="T42" fmla="*/ 7 w 81"/>
                <a:gd name="T43" fmla="*/ 8 h 79"/>
                <a:gd name="T44" fmla="*/ 9 w 81"/>
                <a:gd name="T45" fmla="*/ 10 h 79"/>
                <a:gd name="T46" fmla="*/ 14 w 81"/>
                <a:gd name="T47" fmla="*/ 10 h 7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79"/>
                <a:gd name="T74" fmla="*/ 81 w 81"/>
                <a:gd name="T75" fmla="*/ 79 h 7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79">
                  <a:moveTo>
                    <a:pt x="81" y="79"/>
                  </a:moveTo>
                  <a:lnTo>
                    <a:pt x="79" y="69"/>
                  </a:lnTo>
                  <a:lnTo>
                    <a:pt x="76" y="68"/>
                  </a:lnTo>
                  <a:lnTo>
                    <a:pt x="68" y="43"/>
                  </a:lnTo>
                  <a:lnTo>
                    <a:pt x="61" y="40"/>
                  </a:lnTo>
                  <a:lnTo>
                    <a:pt x="52" y="39"/>
                  </a:lnTo>
                  <a:lnTo>
                    <a:pt x="54" y="35"/>
                  </a:lnTo>
                  <a:lnTo>
                    <a:pt x="56" y="33"/>
                  </a:lnTo>
                  <a:lnTo>
                    <a:pt x="71" y="28"/>
                  </a:lnTo>
                  <a:lnTo>
                    <a:pt x="78" y="22"/>
                  </a:lnTo>
                  <a:lnTo>
                    <a:pt x="77" y="19"/>
                  </a:lnTo>
                  <a:lnTo>
                    <a:pt x="76" y="16"/>
                  </a:lnTo>
                  <a:lnTo>
                    <a:pt x="66" y="9"/>
                  </a:lnTo>
                  <a:lnTo>
                    <a:pt x="65" y="5"/>
                  </a:lnTo>
                  <a:lnTo>
                    <a:pt x="66" y="4"/>
                  </a:lnTo>
                  <a:lnTo>
                    <a:pt x="45" y="0"/>
                  </a:lnTo>
                  <a:lnTo>
                    <a:pt x="32" y="5"/>
                  </a:lnTo>
                  <a:lnTo>
                    <a:pt x="15" y="36"/>
                  </a:lnTo>
                  <a:lnTo>
                    <a:pt x="0" y="50"/>
                  </a:lnTo>
                  <a:lnTo>
                    <a:pt x="4" y="52"/>
                  </a:lnTo>
                  <a:lnTo>
                    <a:pt x="38" y="61"/>
                  </a:lnTo>
                  <a:lnTo>
                    <a:pt x="45" y="66"/>
                  </a:lnTo>
                  <a:lnTo>
                    <a:pt x="53" y="79"/>
                  </a:lnTo>
                  <a:lnTo>
                    <a:pt x="81" y="7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1" name="Freeform 118"/>
            <p:cNvSpPr>
              <a:spLocks/>
            </p:cNvSpPr>
            <p:nvPr/>
          </p:nvSpPr>
          <p:spPr bwMode="auto">
            <a:xfrm>
              <a:off x="2304847" y="2419852"/>
              <a:ext cx="345273" cy="202235"/>
            </a:xfrm>
            <a:custGeom>
              <a:avLst/>
              <a:gdLst>
                <a:gd name="T0" fmla="*/ 7 w 288"/>
                <a:gd name="T1" fmla="*/ 17 h 204"/>
                <a:gd name="T2" fmla="*/ 2 w 288"/>
                <a:gd name="T3" fmla="*/ 11 h 204"/>
                <a:gd name="T4" fmla="*/ 1 w 288"/>
                <a:gd name="T5" fmla="*/ 12 h 204"/>
                <a:gd name="T6" fmla="*/ 1 w 288"/>
                <a:gd name="T7" fmla="*/ 11 h 204"/>
                <a:gd name="T8" fmla="*/ 5 w 288"/>
                <a:gd name="T9" fmla="*/ 8 h 204"/>
                <a:gd name="T10" fmla="*/ 8 w 288"/>
                <a:gd name="T11" fmla="*/ 3 h 204"/>
                <a:gd name="T12" fmla="*/ 11 w 288"/>
                <a:gd name="T13" fmla="*/ 1 h 204"/>
                <a:gd name="T14" fmla="*/ 14 w 288"/>
                <a:gd name="T15" fmla="*/ 1 h 204"/>
                <a:gd name="T16" fmla="*/ 18 w 288"/>
                <a:gd name="T17" fmla="*/ 1 h 204"/>
                <a:gd name="T18" fmla="*/ 19 w 288"/>
                <a:gd name="T19" fmla="*/ 1 h 204"/>
                <a:gd name="T20" fmla="*/ 20 w 288"/>
                <a:gd name="T21" fmla="*/ 0 h 204"/>
                <a:gd name="T22" fmla="*/ 24 w 288"/>
                <a:gd name="T23" fmla="*/ 1 h 204"/>
                <a:gd name="T24" fmla="*/ 27 w 288"/>
                <a:gd name="T25" fmla="*/ 2 h 204"/>
                <a:gd name="T26" fmla="*/ 30 w 288"/>
                <a:gd name="T27" fmla="*/ 3 h 204"/>
                <a:gd name="T28" fmla="*/ 31 w 288"/>
                <a:gd name="T29" fmla="*/ 3 h 204"/>
                <a:gd name="T30" fmla="*/ 34 w 288"/>
                <a:gd name="T31" fmla="*/ 6 h 204"/>
                <a:gd name="T32" fmla="*/ 34 w 288"/>
                <a:gd name="T33" fmla="*/ 6 h 204"/>
                <a:gd name="T34" fmla="*/ 35 w 288"/>
                <a:gd name="T35" fmla="*/ 6 h 204"/>
                <a:gd name="T36" fmla="*/ 36 w 288"/>
                <a:gd name="T37" fmla="*/ 7 h 204"/>
                <a:gd name="T38" fmla="*/ 37 w 288"/>
                <a:gd name="T39" fmla="*/ 8 h 204"/>
                <a:gd name="T40" fmla="*/ 38 w 288"/>
                <a:gd name="T41" fmla="*/ 9 h 204"/>
                <a:gd name="T42" fmla="*/ 40 w 288"/>
                <a:gd name="T43" fmla="*/ 10 h 204"/>
                <a:gd name="T44" fmla="*/ 42 w 288"/>
                <a:gd name="T45" fmla="*/ 11 h 204"/>
                <a:gd name="T46" fmla="*/ 42 w 288"/>
                <a:gd name="T47" fmla="*/ 13 h 204"/>
                <a:gd name="T48" fmla="*/ 43 w 288"/>
                <a:gd name="T49" fmla="*/ 13 h 204"/>
                <a:gd name="T50" fmla="*/ 44 w 288"/>
                <a:gd name="T51" fmla="*/ 15 h 204"/>
                <a:gd name="T52" fmla="*/ 43 w 288"/>
                <a:gd name="T53" fmla="*/ 17 h 204"/>
                <a:gd name="T54" fmla="*/ 44 w 288"/>
                <a:gd name="T55" fmla="*/ 19 h 204"/>
                <a:gd name="T56" fmla="*/ 46 w 288"/>
                <a:gd name="T57" fmla="*/ 19 h 204"/>
                <a:gd name="T58" fmla="*/ 47 w 288"/>
                <a:gd name="T59" fmla="*/ 19 h 204"/>
                <a:gd name="T60" fmla="*/ 48 w 288"/>
                <a:gd name="T61" fmla="*/ 20 h 204"/>
                <a:gd name="T62" fmla="*/ 48 w 288"/>
                <a:gd name="T63" fmla="*/ 21 h 204"/>
                <a:gd name="T64" fmla="*/ 48 w 288"/>
                <a:gd name="T65" fmla="*/ 22 h 204"/>
                <a:gd name="T66" fmla="*/ 48 w 288"/>
                <a:gd name="T67" fmla="*/ 24 h 204"/>
                <a:gd name="T68" fmla="*/ 45 w 288"/>
                <a:gd name="T69" fmla="*/ 24 h 204"/>
                <a:gd name="T70" fmla="*/ 42 w 288"/>
                <a:gd name="T71" fmla="*/ 24 h 204"/>
                <a:gd name="T72" fmla="*/ 40 w 288"/>
                <a:gd name="T73" fmla="*/ 24 h 204"/>
                <a:gd name="T74" fmla="*/ 37 w 288"/>
                <a:gd name="T75" fmla="*/ 24 h 204"/>
                <a:gd name="T76" fmla="*/ 36 w 288"/>
                <a:gd name="T77" fmla="*/ 24 h 204"/>
                <a:gd name="T78" fmla="*/ 34 w 288"/>
                <a:gd name="T79" fmla="*/ 22 h 204"/>
                <a:gd name="T80" fmla="*/ 32 w 288"/>
                <a:gd name="T81" fmla="*/ 22 h 204"/>
                <a:gd name="T82" fmla="*/ 11 w 288"/>
                <a:gd name="T83" fmla="*/ 24 h 204"/>
                <a:gd name="T84" fmla="*/ 6 w 288"/>
                <a:gd name="T85" fmla="*/ 24 h 204"/>
                <a:gd name="T86" fmla="*/ 6 w 288"/>
                <a:gd name="T87" fmla="*/ 24 h 204"/>
                <a:gd name="T88" fmla="*/ 6 w 288"/>
                <a:gd name="T89" fmla="*/ 20 h 204"/>
                <a:gd name="T90" fmla="*/ 14 w 288"/>
                <a:gd name="T91" fmla="*/ 19 h 204"/>
                <a:gd name="T92" fmla="*/ 17 w 288"/>
                <a:gd name="T93" fmla="*/ 19 h 204"/>
                <a:gd name="T94" fmla="*/ 19 w 288"/>
                <a:gd name="T95" fmla="*/ 18 h 204"/>
                <a:gd name="T96" fmla="*/ 21 w 288"/>
                <a:gd name="T97" fmla="*/ 18 h 204"/>
                <a:gd name="T98" fmla="*/ 25 w 288"/>
                <a:gd name="T99" fmla="*/ 19 h 204"/>
                <a:gd name="T100" fmla="*/ 27 w 288"/>
                <a:gd name="T101" fmla="*/ 19 h 204"/>
                <a:gd name="T102" fmla="*/ 30 w 288"/>
                <a:gd name="T103" fmla="*/ 18 h 204"/>
                <a:gd name="T104" fmla="*/ 28 w 288"/>
                <a:gd name="T105" fmla="*/ 18 h 204"/>
                <a:gd name="T106" fmla="*/ 25 w 288"/>
                <a:gd name="T107" fmla="*/ 18 h 204"/>
                <a:gd name="T108" fmla="*/ 24 w 288"/>
                <a:gd name="T109" fmla="*/ 17 h 204"/>
                <a:gd name="T110" fmla="*/ 20 w 288"/>
                <a:gd name="T111" fmla="*/ 16 h 204"/>
                <a:gd name="T112" fmla="*/ 18 w 288"/>
                <a:gd name="T113" fmla="*/ 16 h 204"/>
                <a:gd name="T114" fmla="*/ 16 w 288"/>
                <a:gd name="T115" fmla="*/ 17 h 2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8"/>
                <a:gd name="T175" fmla="*/ 0 h 204"/>
                <a:gd name="T176" fmla="*/ 288 w 288"/>
                <a:gd name="T177" fmla="*/ 204 h 2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8" h="204">
                  <a:moveTo>
                    <a:pt x="47" y="145"/>
                  </a:moveTo>
                  <a:lnTo>
                    <a:pt x="46" y="145"/>
                  </a:lnTo>
                  <a:lnTo>
                    <a:pt x="43" y="140"/>
                  </a:lnTo>
                  <a:lnTo>
                    <a:pt x="37" y="133"/>
                  </a:lnTo>
                  <a:lnTo>
                    <a:pt x="35" y="123"/>
                  </a:lnTo>
                  <a:lnTo>
                    <a:pt x="14" y="93"/>
                  </a:lnTo>
                  <a:lnTo>
                    <a:pt x="9" y="93"/>
                  </a:lnTo>
                  <a:lnTo>
                    <a:pt x="6" y="94"/>
                  </a:lnTo>
                  <a:lnTo>
                    <a:pt x="4" y="97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2" y="90"/>
                  </a:lnTo>
                  <a:lnTo>
                    <a:pt x="6" y="90"/>
                  </a:lnTo>
                  <a:lnTo>
                    <a:pt x="15" y="85"/>
                  </a:lnTo>
                  <a:lnTo>
                    <a:pt x="31" y="71"/>
                  </a:lnTo>
                  <a:lnTo>
                    <a:pt x="47" y="46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6" y="17"/>
                  </a:lnTo>
                  <a:lnTo>
                    <a:pt x="59" y="7"/>
                  </a:lnTo>
                  <a:lnTo>
                    <a:pt x="62" y="7"/>
                  </a:lnTo>
                  <a:lnTo>
                    <a:pt x="64" y="6"/>
                  </a:lnTo>
                  <a:lnTo>
                    <a:pt x="78" y="6"/>
                  </a:lnTo>
                  <a:lnTo>
                    <a:pt x="86" y="9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103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3" y="1"/>
                  </a:lnTo>
                  <a:lnTo>
                    <a:pt x="114" y="0"/>
                  </a:lnTo>
                  <a:lnTo>
                    <a:pt x="119" y="1"/>
                  </a:lnTo>
                  <a:lnTo>
                    <a:pt x="122" y="0"/>
                  </a:lnTo>
                  <a:lnTo>
                    <a:pt x="140" y="2"/>
                  </a:lnTo>
                  <a:lnTo>
                    <a:pt x="143" y="2"/>
                  </a:lnTo>
                  <a:lnTo>
                    <a:pt x="147" y="1"/>
                  </a:lnTo>
                  <a:lnTo>
                    <a:pt x="149" y="6"/>
                  </a:lnTo>
                  <a:lnTo>
                    <a:pt x="154" y="6"/>
                  </a:lnTo>
                  <a:lnTo>
                    <a:pt x="162" y="14"/>
                  </a:lnTo>
                  <a:lnTo>
                    <a:pt x="164" y="19"/>
                  </a:lnTo>
                  <a:lnTo>
                    <a:pt x="170" y="25"/>
                  </a:lnTo>
                  <a:lnTo>
                    <a:pt x="179" y="22"/>
                  </a:lnTo>
                  <a:lnTo>
                    <a:pt x="179" y="27"/>
                  </a:lnTo>
                  <a:lnTo>
                    <a:pt x="182" y="27"/>
                  </a:lnTo>
                  <a:lnTo>
                    <a:pt x="186" y="25"/>
                  </a:lnTo>
                  <a:lnTo>
                    <a:pt x="188" y="25"/>
                  </a:lnTo>
                  <a:lnTo>
                    <a:pt x="200" y="44"/>
                  </a:lnTo>
                  <a:lnTo>
                    <a:pt x="199" y="47"/>
                  </a:lnTo>
                  <a:lnTo>
                    <a:pt x="203" y="49"/>
                  </a:lnTo>
                  <a:lnTo>
                    <a:pt x="205" y="52"/>
                  </a:lnTo>
                  <a:lnTo>
                    <a:pt x="207" y="55"/>
                  </a:lnTo>
                  <a:lnTo>
                    <a:pt x="209" y="56"/>
                  </a:lnTo>
                  <a:lnTo>
                    <a:pt x="212" y="54"/>
                  </a:lnTo>
                  <a:lnTo>
                    <a:pt x="214" y="62"/>
                  </a:lnTo>
                  <a:lnTo>
                    <a:pt x="217" y="62"/>
                  </a:lnTo>
                  <a:lnTo>
                    <a:pt x="218" y="65"/>
                  </a:lnTo>
                  <a:lnTo>
                    <a:pt x="216" y="66"/>
                  </a:lnTo>
                  <a:lnTo>
                    <a:pt x="216" y="67"/>
                  </a:lnTo>
                  <a:lnTo>
                    <a:pt x="220" y="68"/>
                  </a:lnTo>
                  <a:lnTo>
                    <a:pt x="221" y="71"/>
                  </a:lnTo>
                  <a:lnTo>
                    <a:pt x="225" y="73"/>
                  </a:lnTo>
                  <a:lnTo>
                    <a:pt x="228" y="73"/>
                  </a:lnTo>
                  <a:lnTo>
                    <a:pt x="233" y="75"/>
                  </a:lnTo>
                  <a:lnTo>
                    <a:pt x="235" y="78"/>
                  </a:lnTo>
                  <a:lnTo>
                    <a:pt x="236" y="82"/>
                  </a:lnTo>
                  <a:lnTo>
                    <a:pt x="237" y="84"/>
                  </a:lnTo>
                  <a:lnTo>
                    <a:pt x="243" y="85"/>
                  </a:lnTo>
                  <a:lnTo>
                    <a:pt x="251" y="93"/>
                  </a:lnTo>
                  <a:lnTo>
                    <a:pt x="251" y="97"/>
                  </a:lnTo>
                  <a:lnTo>
                    <a:pt x="249" y="102"/>
                  </a:lnTo>
                  <a:lnTo>
                    <a:pt x="250" y="107"/>
                  </a:lnTo>
                  <a:lnTo>
                    <a:pt x="251" y="107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13"/>
                  </a:lnTo>
                  <a:lnTo>
                    <a:pt x="257" y="125"/>
                  </a:lnTo>
                  <a:lnTo>
                    <a:pt x="260" y="129"/>
                  </a:lnTo>
                  <a:lnTo>
                    <a:pt x="260" y="133"/>
                  </a:lnTo>
                  <a:lnTo>
                    <a:pt x="256" y="139"/>
                  </a:lnTo>
                  <a:lnTo>
                    <a:pt x="256" y="141"/>
                  </a:lnTo>
                  <a:lnTo>
                    <a:pt x="263" y="149"/>
                  </a:lnTo>
                  <a:lnTo>
                    <a:pt x="264" y="156"/>
                  </a:lnTo>
                  <a:lnTo>
                    <a:pt x="265" y="157"/>
                  </a:lnTo>
                  <a:lnTo>
                    <a:pt x="268" y="157"/>
                  </a:lnTo>
                  <a:lnTo>
                    <a:pt x="270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8" y="160"/>
                  </a:lnTo>
                  <a:lnTo>
                    <a:pt x="279" y="164"/>
                  </a:lnTo>
                  <a:lnTo>
                    <a:pt x="281" y="165"/>
                  </a:lnTo>
                  <a:lnTo>
                    <a:pt x="283" y="169"/>
                  </a:lnTo>
                  <a:lnTo>
                    <a:pt x="286" y="173"/>
                  </a:lnTo>
                  <a:lnTo>
                    <a:pt x="287" y="176"/>
                  </a:lnTo>
                  <a:lnTo>
                    <a:pt x="286" y="176"/>
                  </a:lnTo>
                  <a:lnTo>
                    <a:pt x="286" y="178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85" y="188"/>
                  </a:lnTo>
                  <a:lnTo>
                    <a:pt x="285" y="194"/>
                  </a:lnTo>
                  <a:lnTo>
                    <a:pt x="288" y="197"/>
                  </a:lnTo>
                  <a:lnTo>
                    <a:pt x="288" y="198"/>
                  </a:lnTo>
                  <a:lnTo>
                    <a:pt x="287" y="200"/>
                  </a:lnTo>
                  <a:lnTo>
                    <a:pt x="278" y="199"/>
                  </a:lnTo>
                  <a:lnTo>
                    <a:pt x="273" y="201"/>
                  </a:lnTo>
                  <a:lnTo>
                    <a:pt x="260" y="200"/>
                  </a:lnTo>
                  <a:lnTo>
                    <a:pt x="259" y="201"/>
                  </a:lnTo>
                  <a:lnTo>
                    <a:pt x="252" y="201"/>
                  </a:lnTo>
                  <a:lnTo>
                    <a:pt x="247" y="203"/>
                  </a:lnTo>
                  <a:lnTo>
                    <a:pt x="241" y="204"/>
                  </a:lnTo>
                  <a:lnTo>
                    <a:pt x="236" y="201"/>
                  </a:lnTo>
                  <a:lnTo>
                    <a:pt x="233" y="202"/>
                  </a:lnTo>
                  <a:lnTo>
                    <a:pt x="227" y="200"/>
                  </a:lnTo>
                  <a:lnTo>
                    <a:pt x="222" y="200"/>
                  </a:lnTo>
                  <a:lnTo>
                    <a:pt x="216" y="195"/>
                  </a:lnTo>
                  <a:lnTo>
                    <a:pt x="215" y="196"/>
                  </a:lnTo>
                  <a:lnTo>
                    <a:pt x="214" y="198"/>
                  </a:lnTo>
                  <a:lnTo>
                    <a:pt x="209" y="198"/>
                  </a:lnTo>
                  <a:lnTo>
                    <a:pt x="209" y="193"/>
                  </a:lnTo>
                  <a:lnTo>
                    <a:pt x="205" y="190"/>
                  </a:lnTo>
                  <a:lnTo>
                    <a:pt x="199" y="189"/>
                  </a:lnTo>
                  <a:lnTo>
                    <a:pt x="193" y="191"/>
                  </a:lnTo>
                  <a:lnTo>
                    <a:pt x="190" y="188"/>
                  </a:lnTo>
                  <a:lnTo>
                    <a:pt x="114" y="188"/>
                  </a:lnTo>
                  <a:lnTo>
                    <a:pt x="86" y="199"/>
                  </a:lnTo>
                  <a:lnTo>
                    <a:pt x="62" y="198"/>
                  </a:lnTo>
                  <a:lnTo>
                    <a:pt x="49" y="204"/>
                  </a:lnTo>
                  <a:lnTo>
                    <a:pt x="43" y="204"/>
                  </a:lnTo>
                  <a:lnTo>
                    <a:pt x="40" y="202"/>
                  </a:lnTo>
                  <a:lnTo>
                    <a:pt x="38" y="201"/>
                  </a:lnTo>
                  <a:lnTo>
                    <a:pt x="36" y="201"/>
                  </a:lnTo>
                  <a:lnTo>
                    <a:pt x="37" y="201"/>
                  </a:lnTo>
                  <a:lnTo>
                    <a:pt x="36" y="200"/>
                  </a:lnTo>
                  <a:lnTo>
                    <a:pt x="37" y="171"/>
                  </a:lnTo>
                  <a:lnTo>
                    <a:pt x="40" y="166"/>
                  </a:lnTo>
                  <a:lnTo>
                    <a:pt x="80" y="163"/>
                  </a:lnTo>
                  <a:lnTo>
                    <a:pt x="82" y="162"/>
                  </a:lnTo>
                  <a:lnTo>
                    <a:pt x="84" y="157"/>
                  </a:lnTo>
                  <a:lnTo>
                    <a:pt x="87" y="156"/>
                  </a:lnTo>
                  <a:lnTo>
                    <a:pt x="91" y="157"/>
                  </a:lnTo>
                  <a:lnTo>
                    <a:pt x="100" y="156"/>
                  </a:lnTo>
                  <a:lnTo>
                    <a:pt x="107" y="152"/>
                  </a:lnTo>
                  <a:lnTo>
                    <a:pt x="111" y="148"/>
                  </a:lnTo>
                  <a:lnTo>
                    <a:pt x="113" y="147"/>
                  </a:lnTo>
                  <a:lnTo>
                    <a:pt x="118" y="148"/>
                  </a:lnTo>
                  <a:lnTo>
                    <a:pt x="121" y="150"/>
                  </a:lnTo>
                  <a:lnTo>
                    <a:pt x="127" y="152"/>
                  </a:lnTo>
                  <a:lnTo>
                    <a:pt x="134" y="158"/>
                  </a:lnTo>
                  <a:lnTo>
                    <a:pt x="140" y="158"/>
                  </a:lnTo>
                  <a:lnTo>
                    <a:pt x="148" y="162"/>
                  </a:lnTo>
                  <a:lnTo>
                    <a:pt x="153" y="161"/>
                  </a:lnTo>
                  <a:lnTo>
                    <a:pt x="156" y="163"/>
                  </a:lnTo>
                  <a:lnTo>
                    <a:pt x="161" y="160"/>
                  </a:lnTo>
                  <a:lnTo>
                    <a:pt x="171" y="158"/>
                  </a:lnTo>
                  <a:lnTo>
                    <a:pt x="175" y="155"/>
                  </a:lnTo>
                  <a:lnTo>
                    <a:pt x="175" y="151"/>
                  </a:lnTo>
                  <a:lnTo>
                    <a:pt x="173" y="147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52" y="151"/>
                  </a:lnTo>
                  <a:lnTo>
                    <a:pt x="148" y="150"/>
                  </a:lnTo>
                  <a:lnTo>
                    <a:pt x="143" y="147"/>
                  </a:lnTo>
                  <a:lnTo>
                    <a:pt x="139" y="143"/>
                  </a:lnTo>
                  <a:lnTo>
                    <a:pt x="137" y="142"/>
                  </a:lnTo>
                  <a:lnTo>
                    <a:pt x="128" y="142"/>
                  </a:lnTo>
                  <a:lnTo>
                    <a:pt x="122" y="136"/>
                  </a:lnTo>
                  <a:lnTo>
                    <a:pt x="118" y="135"/>
                  </a:lnTo>
                  <a:lnTo>
                    <a:pt x="116" y="134"/>
                  </a:lnTo>
                  <a:lnTo>
                    <a:pt x="106" y="137"/>
                  </a:lnTo>
                  <a:lnTo>
                    <a:pt x="101" y="136"/>
                  </a:lnTo>
                  <a:lnTo>
                    <a:pt x="97" y="140"/>
                  </a:lnTo>
                  <a:lnTo>
                    <a:pt x="94" y="145"/>
                  </a:lnTo>
                  <a:lnTo>
                    <a:pt x="47" y="14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2" name="Freeform 119"/>
            <p:cNvSpPr>
              <a:spLocks/>
            </p:cNvSpPr>
            <p:nvPr/>
          </p:nvSpPr>
          <p:spPr bwMode="auto">
            <a:xfrm>
              <a:off x="2304847" y="2419852"/>
              <a:ext cx="345273" cy="202235"/>
            </a:xfrm>
            <a:custGeom>
              <a:avLst/>
              <a:gdLst>
                <a:gd name="T0" fmla="*/ 7 w 288"/>
                <a:gd name="T1" fmla="*/ 17 h 204"/>
                <a:gd name="T2" fmla="*/ 2 w 288"/>
                <a:gd name="T3" fmla="*/ 11 h 204"/>
                <a:gd name="T4" fmla="*/ 1 w 288"/>
                <a:gd name="T5" fmla="*/ 12 h 204"/>
                <a:gd name="T6" fmla="*/ 1 w 288"/>
                <a:gd name="T7" fmla="*/ 11 h 204"/>
                <a:gd name="T8" fmla="*/ 5 w 288"/>
                <a:gd name="T9" fmla="*/ 8 h 204"/>
                <a:gd name="T10" fmla="*/ 8 w 288"/>
                <a:gd name="T11" fmla="*/ 3 h 204"/>
                <a:gd name="T12" fmla="*/ 11 w 288"/>
                <a:gd name="T13" fmla="*/ 1 h 204"/>
                <a:gd name="T14" fmla="*/ 14 w 288"/>
                <a:gd name="T15" fmla="*/ 1 h 204"/>
                <a:gd name="T16" fmla="*/ 18 w 288"/>
                <a:gd name="T17" fmla="*/ 1 h 204"/>
                <a:gd name="T18" fmla="*/ 19 w 288"/>
                <a:gd name="T19" fmla="*/ 1 h 204"/>
                <a:gd name="T20" fmla="*/ 20 w 288"/>
                <a:gd name="T21" fmla="*/ 0 h 204"/>
                <a:gd name="T22" fmla="*/ 24 w 288"/>
                <a:gd name="T23" fmla="*/ 1 h 204"/>
                <a:gd name="T24" fmla="*/ 27 w 288"/>
                <a:gd name="T25" fmla="*/ 2 h 204"/>
                <a:gd name="T26" fmla="*/ 30 w 288"/>
                <a:gd name="T27" fmla="*/ 3 h 204"/>
                <a:gd name="T28" fmla="*/ 31 w 288"/>
                <a:gd name="T29" fmla="*/ 3 h 204"/>
                <a:gd name="T30" fmla="*/ 34 w 288"/>
                <a:gd name="T31" fmla="*/ 6 h 204"/>
                <a:gd name="T32" fmla="*/ 34 w 288"/>
                <a:gd name="T33" fmla="*/ 6 h 204"/>
                <a:gd name="T34" fmla="*/ 35 w 288"/>
                <a:gd name="T35" fmla="*/ 6 h 204"/>
                <a:gd name="T36" fmla="*/ 36 w 288"/>
                <a:gd name="T37" fmla="*/ 7 h 204"/>
                <a:gd name="T38" fmla="*/ 37 w 288"/>
                <a:gd name="T39" fmla="*/ 8 h 204"/>
                <a:gd name="T40" fmla="*/ 38 w 288"/>
                <a:gd name="T41" fmla="*/ 9 h 204"/>
                <a:gd name="T42" fmla="*/ 40 w 288"/>
                <a:gd name="T43" fmla="*/ 10 h 204"/>
                <a:gd name="T44" fmla="*/ 42 w 288"/>
                <a:gd name="T45" fmla="*/ 11 h 204"/>
                <a:gd name="T46" fmla="*/ 42 w 288"/>
                <a:gd name="T47" fmla="*/ 13 h 204"/>
                <a:gd name="T48" fmla="*/ 43 w 288"/>
                <a:gd name="T49" fmla="*/ 13 h 204"/>
                <a:gd name="T50" fmla="*/ 44 w 288"/>
                <a:gd name="T51" fmla="*/ 15 h 204"/>
                <a:gd name="T52" fmla="*/ 43 w 288"/>
                <a:gd name="T53" fmla="*/ 17 h 204"/>
                <a:gd name="T54" fmla="*/ 44 w 288"/>
                <a:gd name="T55" fmla="*/ 19 h 204"/>
                <a:gd name="T56" fmla="*/ 46 w 288"/>
                <a:gd name="T57" fmla="*/ 19 h 204"/>
                <a:gd name="T58" fmla="*/ 47 w 288"/>
                <a:gd name="T59" fmla="*/ 19 h 204"/>
                <a:gd name="T60" fmla="*/ 48 w 288"/>
                <a:gd name="T61" fmla="*/ 20 h 204"/>
                <a:gd name="T62" fmla="*/ 48 w 288"/>
                <a:gd name="T63" fmla="*/ 21 h 204"/>
                <a:gd name="T64" fmla="*/ 48 w 288"/>
                <a:gd name="T65" fmla="*/ 22 h 204"/>
                <a:gd name="T66" fmla="*/ 48 w 288"/>
                <a:gd name="T67" fmla="*/ 24 h 204"/>
                <a:gd name="T68" fmla="*/ 45 w 288"/>
                <a:gd name="T69" fmla="*/ 24 h 204"/>
                <a:gd name="T70" fmla="*/ 42 w 288"/>
                <a:gd name="T71" fmla="*/ 24 h 204"/>
                <a:gd name="T72" fmla="*/ 40 w 288"/>
                <a:gd name="T73" fmla="*/ 24 h 204"/>
                <a:gd name="T74" fmla="*/ 37 w 288"/>
                <a:gd name="T75" fmla="*/ 24 h 204"/>
                <a:gd name="T76" fmla="*/ 36 w 288"/>
                <a:gd name="T77" fmla="*/ 24 h 204"/>
                <a:gd name="T78" fmla="*/ 34 w 288"/>
                <a:gd name="T79" fmla="*/ 22 h 204"/>
                <a:gd name="T80" fmla="*/ 32 w 288"/>
                <a:gd name="T81" fmla="*/ 22 h 204"/>
                <a:gd name="T82" fmla="*/ 11 w 288"/>
                <a:gd name="T83" fmla="*/ 24 h 204"/>
                <a:gd name="T84" fmla="*/ 6 w 288"/>
                <a:gd name="T85" fmla="*/ 24 h 204"/>
                <a:gd name="T86" fmla="*/ 6 w 288"/>
                <a:gd name="T87" fmla="*/ 24 h 204"/>
                <a:gd name="T88" fmla="*/ 6 w 288"/>
                <a:gd name="T89" fmla="*/ 20 h 204"/>
                <a:gd name="T90" fmla="*/ 14 w 288"/>
                <a:gd name="T91" fmla="*/ 19 h 204"/>
                <a:gd name="T92" fmla="*/ 17 w 288"/>
                <a:gd name="T93" fmla="*/ 19 h 204"/>
                <a:gd name="T94" fmla="*/ 19 w 288"/>
                <a:gd name="T95" fmla="*/ 18 h 204"/>
                <a:gd name="T96" fmla="*/ 21 w 288"/>
                <a:gd name="T97" fmla="*/ 18 h 204"/>
                <a:gd name="T98" fmla="*/ 25 w 288"/>
                <a:gd name="T99" fmla="*/ 19 h 204"/>
                <a:gd name="T100" fmla="*/ 27 w 288"/>
                <a:gd name="T101" fmla="*/ 19 h 204"/>
                <a:gd name="T102" fmla="*/ 30 w 288"/>
                <a:gd name="T103" fmla="*/ 18 h 204"/>
                <a:gd name="T104" fmla="*/ 28 w 288"/>
                <a:gd name="T105" fmla="*/ 18 h 204"/>
                <a:gd name="T106" fmla="*/ 25 w 288"/>
                <a:gd name="T107" fmla="*/ 18 h 204"/>
                <a:gd name="T108" fmla="*/ 24 w 288"/>
                <a:gd name="T109" fmla="*/ 17 h 204"/>
                <a:gd name="T110" fmla="*/ 20 w 288"/>
                <a:gd name="T111" fmla="*/ 16 h 204"/>
                <a:gd name="T112" fmla="*/ 18 w 288"/>
                <a:gd name="T113" fmla="*/ 16 h 204"/>
                <a:gd name="T114" fmla="*/ 16 w 288"/>
                <a:gd name="T115" fmla="*/ 17 h 2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8"/>
                <a:gd name="T175" fmla="*/ 0 h 204"/>
                <a:gd name="T176" fmla="*/ 288 w 288"/>
                <a:gd name="T177" fmla="*/ 204 h 2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8" h="204">
                  <a:moveTo>
                    <a:pt x="47" y="145"/>
                  </a:moveTo>
                  <a:lnTo>
                    <a:pt x="46" y="145"/>
                  </a:lnTo>
                  <a:lnTo>
                    <a:pt x="43" y="140"/>
                  </a:lnTo>
                  <a:lnTo>
                    <a:pt x="37" y="133"/>
                  </a:lnTo>
                  <a:lnTo>
                    <a:pt x="35" y="123"/>
                  </a:lnTo>
                  <a:lnTo>
                    <a:pt x="14" y="93"/>
                  </a:lnTo>
                  <a:lnTo>
                    <a:pt x="9" y="93"/>
                  </a:lnTo>
                  <a:lnTo>
                    <a:pt x="6" y="94"/>
                  </a:lnTo>
                  <a:lnTo>
                    <a:pt x="4" y="97"/>
                  </a:lnTo>
                  <a:lnTo>
                    <a:pt x="1" y="93"/>
                  </a:lnTo>
                  <a:lnTo>
                    <a:pt x="0" y="91"/>
                  </a:lnTo>
                  <a:lnTo>
                    <a:pt x="2" y="90"/>
                  </a:lnTo>
                  <a:lnTo>
                    <a:pt x="6" y="90"/>
                  </a:lnTo>
                  <a:lnTo>
                    <a:pt x="15" y="85"/>
                  </a:lnTo>
                  <a:lnTo>
                    <a:pt x="31" y="71"/>
                  </a:lnTo>
                  <a:lnTo>
                    <a:pt x="47" y="46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6" y="17"/>
                  </a:lnTo>
                  <a:lnTo>
                    <a:pt x="59" y="7"/>
                  </a:lnTo>
                  <a:lnTo>
                    <a:pt x="62" y="7"/>
                  </a:lnTo>
                  <a:lnTo>
                    <a:pt x="64" y="6"/>
                  </a:lnTo>
                  <a:lnTo>
                    <a:pt x="78" y="6"/>
                  </a:lnTo>
                  <a:lnTo>
                    <a:pt x="86" y="9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103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3" y="1"/>
                  </a:lnTo>
                  <a:lnTo>
                    <a:pt x="114" y="0"/>
                  </a:lnTo>
                  <a:lnTo>
                    <a:pt x="119" y="1"/>
                  </a:lnTo>
                  <a:lnTo>
                    <a:pt x="122" y="0"/>
                  </a:lnTo>
                  <a:lnTo>
                    <a:pt x="140" y="2"/>
                  </a:lnTo>
                  <a:lnTo>
                    <a:pt x="143" y="2"/>
                  </a:lnTo>
                  <a:lnTo>
                    <a:pt x="147" y="1"/>
                  </a:lnTo>
                  <a:lnTo>
                    <a:pt x="149" y="6"/>
                  </a:lnTo>
                  <a:lnTo>
                    <a:pt x="154" y="6"/>
                  </a:lnTo>
                  <a:lnTo>
                    <a:pt x="162" y="14"/>
                  </a:lnTo>
                  <a:lnTo>
                    <a:pt x="164" y="19"/>
                  </a:lnTo>
                  <a:lnTo>
                    <a:pt x="170" y="25"/>
                  </a:lnTo>
                  <a:lnTo>
                    <a:pt x="179" y="22"/>
                  </a:lnTo>
                  <a:lnTo>
                    <a:pt x="179" y="27"/>
                  </a:lnTo>
                  <a:lnTo>
                    <a:pt x="182" y="27"/>
                  </a:lnTo>
                  <a:lnTo>
                    <a:pt x="186" y="25"/>
                  </a:lnTo>
                  <a:lnTo>
                    <a:pt x="188" y="25"/>
                  </a:lnTo>
                  <a:lnTo>
                    <a:pt x="200" y="44"/>
                  </a:lnTo>
                  <a:lnTo>
                    <a:pt x="199" y="47"/>
                  </a:lnTo>
                  <a:lnTo>
                    <a:pt x="203" y="49"/>
                  </a:lnTo>
                  <a:lnTo>
                    <a:pt x="205" y="52"/>
                  </a:lnTo>
                  <a:lnTo>
                    <a:pt x="207" y="55"/>
                  </a:lnTo>
                  <a:lnTo>
                    <a:pt x="209" y="56"/>
                  </a:lnTo>
                  <a:lnTo>
                    <a:pt x="212" y="54"/>
                  </a:lnTo>
                  <a:lnTo>
                    <a:pt x="214" y="62"/>
                  </a:lnTo>
                  <a:lnTo>
                    <a:pt x="217" y="62"/>
                  </a:lnTo>
                  <a:lnTo>
                    <a:pt x="218" y="65"/>
                  </a:lnTo>
                  <a:lnTo>
                    <a:pt x="216" y="66"/>
                  </a:lnTo>
                  <a:lnTo>
                    <a:pt x="216" y="67"/>
                  </a:lnTo>
                  <a:lnTo>
                    <a:pt x="220" y="68"/>
                  </a:lnTo>
                  <a:lnTo>
                    <a:pt x="221" y="71"/>
                  </a:lnTo>
                  <a:lnTo>
                    <a:pt x="225" y="73"/>
                  </a:lnTo>
                  <a:lnTo>
                    <a:pt x="228" y="73"/>
                  </a:lnTo>
                  <a:lnTo>
                    <a:pt x="233" y="75"/>
                  </a:lnTo>
                  <a:lnTo>
                    <a:pt x="235" y="78"/>
                  </a:lnTo>
                  <a:lnTo>
                    <a:pt x="236" y="82"/>
                  </a:lnTo>
                  <a:lnTo>
                    <a:pt x="237" y="84"/>
                  </a:lnTo>
                  <a:lnTo>
                    <a:pt x="243" y="85"/>
                  </a:lnTo>
                  <a:lnTo>
                    <a:pt x="251" y="93"/>
                  </a:lnTo>
                  <a:lnTo>
                    <a:pt x="251" y="97"/>
                  </a:lnTo>
                  <a:lnTo>
                    <a:pt x="249" y="102"/>
                  </a:lnTo>
                  <a:lnTo>
                    <a:pt x="250" y="107"/>
                  </a:lnTo>
                  <a:lnTo>
                    <a:pt x="251" y="107"/>
                  </a:lnTo>
                  <a:lnTo>
                    <a:pt x="252" y="110"/>
                  </a:lnTo>
                  <a:lnTo>
                    <a:pt x="254" y="110"/>
                  </a:lnTo>
                  <a:lnTo>
                    <a:pt x="256" y="113"/>
                  </a:lnTo>
                  <a:lnTo>
                    <a:pt x="257" y="125"/>
                  </a:lnTo>
                  <a:lnTo>
                    <a:pt x="260" y="129"/>
                  </a:lnTo>
                  <a:lnTo>
                    <a:pt x="260" y="133"/>
                  </a:lnTo>
                  <a:lnTo>
                    <a:pt x="256" y="139"/>
                  </a:lnTo>
                  <a:lnTo>
                    <a:pt x="256" y="141"/>
                  </a:lnTo>
                  <a:lnTo>
                    <a:pt x="263" y="149"/>
                  </a:lnTo>
                  <a:lnTo>
                    <a:pt x="264" y="156"/>
                  </a:lnTo>
                  <a:lnTo>
                    <a:pt x="265" y="157"/>
                  </a:lnTo>
                  <a:lnTo>
                    <a:pt x="268" y="157"/>
                  </a:lnTo>
                  <a:lnTo>
                    <a:pt x="270" y="155"/>
                  </a:lnTo>
                  <a:lnTo>
                    <a:pt x="275" y="155"/>
                  </a:lnTo>
                  <a:lnTo>
                    <a:pt x="275" y="158"/>
                  </a:lnTo>
                  <a:lnTo>
                    <a:pt x="278" y="160"/>
                  </a:lnTo>
                  <a:lnTo>
                    <a:pt x="279" y="164"/>
                  </a:lnTo>
                  <a:lnTo>
                    <a:pt x="281" y="165"/>
                  </a:lnTo>
                  <a:lnTo>
                    <a:pt x="283" y="169"/>
                  </a:lnTo>
                  <a:lnTo>
                    <a:pt x="286" y="173"/>
                  </a:lnTo>
                  <a:lnTo>
                    <a:pt x="287" y="176"/>
                  </a:lnTo>
                  <a:lnTo>
                    <a:pt x="286" y="176"/>
                  </a:lnTo>
                  <a:lnTo>
                    <a:pt x="286" y="178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85" y="188"/>
                  </a:lnTo>
                  <a:lnTo>
                    <a:pt x="285" y="194"/>
                  </a:lnTo>
                  <a:lnTo>
                    <a:pt x="288" y="197"/>
                  </a:lnTo>
                  <a:lnTo>
                    <a:pt x="288" y="198"/>
                  </a:lnTo>
                  <a:lnTo>
                    <a:pt x="287" y="200"/>
                  </a:lnTo>
                  <a:lnTo>
                    <a:pt x="278" y="199"/>
                  </a:lnTo>
                  <a:lnTo>
                    <a:pt x="273" y="201"/>
                  </a:lnTo>
                  <a:lnTo>
                    <a:pt x="260" y="200"/>
                  </a:lnTo>
                  <a:lnTo>
                    <a:pt x="259" y="201"/>
                  </a:lnTo>
                  <a:lnTo>
                    <a:pt x="252" y="201"/>
                  </a:lnTo>
                  <a:lnTo>
                    <a:pt x="247" y="203"/>
                  </a:lnTo>
                  <a:lnTo>
                    <a:pt x="241" y="204"/>
                  </a:lnTo>
                  <a:lnTo>
                    <a:pt x="236" y="201"/>
                  </a:lnTo>
                  <a:lnTo>
                    <a:pt x="233" y="202"/>
                  </a:lnTo>
                  <a:lnTo>
                    <a:pt x="227" y="200"/>
                  </a:lnTo>
                  <a:lnTo>
                    <a:pt x="222" y="200"/>
                  </a:lnTo>
                  <a:lnTo>
                    <a:pt x="216" y="195"/>
                  </a:lnTo>
                  <a:lnTo>
                    <a:pt x="215" y="196"/>
                  </a:lnTo>
                  <a:lnTo>
                    <a:pt x="214" y="198"/>
                  </a:lnTo>
                  <a:lnTo>
                    <a:pt x="209" y="198"/>
                  </a:lnTo>
                  <a:lnTo>
                    <a:pt x="209" y="193"/>
                  </a:lnTo>
                  <a:lnTo>
                    <a:pt x="205" y="190"/>
                  </a:lnTo>
                  <a:lnTo>
                    <a:pt x="199" y="189"/>
                  </a:lnTo>
                  <a:lnTo>
                    <a:pt x="193" y="191"/>
                  </a:lnTo>
                  <a:lnTo>
                    <a:pt x="190" y="188"/>
                  </a:lnTo>
                  <a:lnTo>
                    <a:pt x="114" y="188"/>
                  </a:lnTo>
                  <a:lnTo>
                    <a:pt x="86" y="199"/>
                  </a:lnTo>
                  <a:lnTo>
                    <a:pt x="62" y="198"/>
                  </a:lnTo>
                  <a:lnTo>
                    <a:pt x="49" y="204"/>
                  </a:lnTo>
                  <a:lnTo>
                    <a:pt x="43" y="204"/>
                  </a:lnTo>
                  <a:lnTo>
                    <a:pt x="40" y="202"/>
                  </a:lnTo>
                  <a:lnTo>
                    <a:pt x="38" y="201"/>
                  </a:lnTo>
                  <a:lnTo>
                    <a:pt x="36" y="201"/>
                  </a:lnTo>
                  <a:lnTo>
                    <a:pt x="37" y="201"/>
                  </a:lnTo>
                  <a:lnTo>
                    <a:pt x="36" y="200"/>
                  </a:lnTo>
                  <a:lnTo>
                    <a:pt x="37" y="171"/>
                  </a:lnTo>
                  <a:lnTo>
                    <a:pt x="40" y="166"/>
                  </a:lnTo>
                  <a:lnTo>
                    <a:pt x="80" y="163"/>
                  </a:lnTo>
                  <a:lnTo>
                    <a:pt x="82" y="162"/>
                  </a:lnTo>
                  <a:lnTo>
                    <a:pt x="84" y="157"/>
                  </a:lnTo>
                  <a:lnTo>
                    <a:pt x="87" y="156"/>
                  </a:lnTo>
                  <a:lnTo>
                    <a:pt x="91" y="157"/>
                  </a:lnTo>
                  <a:lnTo>
                    <a:pt x="100" y="156"/>
                  </a:lnTo>
                  <a:lnTo>
                    <a:pt x="107" y="152"/>
                  </a:lnTo>
                  <a:lnTo>
                    <a:pt x="111" y="148"/>
                  </a:lnTo>
                  <a:lnTo>
                    <a:pt x="113" y="147"/>
                  </a:lnTo>
                  <a:lnTo>
                    <a:pt x="118" y="148"/>
                  </a:lnTo>
                  <a:lnTo>
                    <a:pt x="121" y="150"/>
                  </a:lnTo>
                  <a:lnTo>
                    <a:pt x="127" y="152"/>
                  </a:lnTo>
                  <a:lnTo>
                    <a:pt x="134" y="158"/>
                  </a:lnTo>
                  <a:lnTo>
                    <a:pt x="140" y="158"/>
                  </a:lnTo>
                  <a:lnTo>
                    <a:pt x="148" y="162"/>
                  </a:lnTo>
                  <a:lnTo>
                    <a:pt x="153" y="161"/>
                  </a:lnTo>
                  <a:lnTo>
                    <a:pt x="156" y="163"/>
                  </a:lnTo>
                  <a:lnTo>
                    <a:pt x="161" y="160"/>
                  </a:lnTo>
                  <a:lnTo>
                    <a:pt x="171" y="158"/>
                  </a:lnTo>
                  <a:lnTo>
                    <a:pt x="175" y="155"/>
                  </a:lnTo>
                  <a:lnTo>
                    <a:pt x="175" y="151"/>
                  </a:lnTo>
                  <a:lnTo>
                    <a:pt x="173" y="147"/>
                  </a:lnTo>
                  <a:lnTo>
                    <a:pt x="171" y="147"/>
                  </a:lnTo>
                  <a:lnTo>
                    <a:pt x="168" y="146"/>
                  </a:lnTo>
                  <a:lnTo>
                    <a:pt x="164" y="146"/>
                  </a:lnTo>
                  <a:lnTo>
                    <a:pt x="152" y="151"/>
                  </a:lnTo>
                  <a:lnTo>
                    <a:pt x="148" y="150"/>
                  </a:lnTo>
                  <a:lnTo>
                    <a:pt x="143" y="147"/>
                  </a:lnTo>
                  <a:lnTo>
                    <a:pt x="139" y="143"/>
                  </a:lnTo>
                  <a:lnTo>
                    <a:pt x="137" y="142"/>
                  </a:lnTo>
                  <a:lnTo>
                    <a:pt x="128" y="142"/>
                  </a:lnTo>
                  <a:lnTo>
                    <a:pt x="122" y="136"/>
                  </a:lnTo>
                  <a:lnTo>
                    <a:pt x="118" y="135"/>
                  </a:lnTo>
                  <a:lnTo>
                    <a:pt x="116" y="134"/>
                  </a:lnTo>
                  <a:lnTo>
                    <a:pt x="106" y="137"/>
                  </a:lnTo>
                  <a:lnTo>
                    <a:pt x="101" y="136"/>
                  </a:lnTo>
                  <a:lnTo>
                    <a:pt x="97" y="140"/>
                  </a:lnTo>
                  <a:lnTo>
                    <a:pt x="94" y="145"/>
                  </a:lnTo>
                  <a:lnTo>
                    <a:pt x="47" y="14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3" name="Freeform 120"/>
            <p:cNvSpPr>
              <a:spLocks/>
            </p:cNvSpPr>
            <p:nvPr/>
          </p:nvSpPr>
          <p:spPr bwMode="auto">
            <a:xfrm>
              <a:off x="4699416" y="1078426"/>
              <a:ext cx="166543" cy="115032"/>
            </a:xfrm>
            <a:custGeom>
              <a:avLst/>
              <a:gdLst>
                <a:gd name="T0" fmla="*/ 15 w 138"/>
                <a:gd name="T1" fmla="*/ 1 h 117"/>
                <a:gd name="T2" fmla="*/ 14 w 138"/>
                <a:gd name="T3" fmla="*/ 1 h 117"/>
                <a:gd name="T4" fmla="*/ 11 w 138"/>
                <a:gd name="T5" fmla="*/ 1 h 117"/>
                <a:gd name="T6" fmla="*/ 8 w 138"/>
                <a:gd name="T7" fmla="*/ 0 h 117"/>
                <a:gd name="T8" fmla="*/ 4 w 138"/>
                <a:gd name="T9" fmla="*/ 1 h 117"/>
                <a:gd name="T10" fmla="*/ 2 w 138"/>
                <a:gd name="T11" fmla="*/ 2 h 117"/>
                <a:gd name="T12" fmla="*/ 3 w 138"/>
                <a:gd name="T13" fmla="*/ 2 h 117"/>
                <a:gd name="T14" fmla="*/ 4 w 138"/>
                <a:gd name="T15" fmla="*/ 3 h 117"/>
                <a:gd name="T16" fmla="*/ 4 w 138"/>
                <a:gd name="T17" fmla="*/ 4 h 117"/>
                <a:gd name="T18" fmla="*/ 2 w 138"/>
                <a:gd name="T19" fmla="*/ 5 h 117"/>
                <a:gd name="T20" fmla="*/ 1 w 138"/>
                <a:gd name="T21" fmla="*/ 8 h 117"/>
                <a:gd name="T22" fmla="*/ 0 w 138"/>
                <a:gd name="T23" fmla="*/ 9 h 117"/>
                <a:gd name="T24" fmla="*/ 1 w 138"/>
                <a:gd name="T25" fmla="*/ 10 h 117"/>
                <a:gd name="T26" fmla="*/ 1 w 138"/>
                <a:gd name="T27" fmla="*/ 10 h 117"/>
                <a:gd name="T28" fmla="*/ 6 w 138"/>
                <a:gd name="T29" fmla="*/ 10 h 117"/>
                <a:gd name="T30" fmla="*/ 5 w 138"/>
                <a:gd name="T31" fmla="*/ 11 h 117"/>
                <a:gd name="T32" fmla="*/ 1 w 138"/>
                <a:gd name="T33" fmla="*/ 12 h 117"/>
                <a:gd name="T34" fmla="*/ 1 w 138"/>
                <a:gd name="T35" fmla="*/ 13 h 117"/>
                <a:gd name="T36" fmla="*/ 2 w 138"/>
                <a:gd name="T37" fmla="*/ 13 h 117"/>
                <a:gd name="T38" fmla="*/ 4 w 138"/>
                <a:gd name="T39" fmla="*/ 12 h 117"/>
                <a:gd name="T40" fmla="*/ 12 w 138"/>
                <a:gd name="T41" fmla="*/ 7 h 117"/>
                <a:gd name="T42" fmla="*/ 20 w 138"/>
                <a:gd name="T43" fmla="*/ 7 h 117"/>
                <a:gd name="T44" fmla="*/ 21 w 138"/>
                <a:gd name="T45" fmla="*/ 7 h 117"/>
                <a:gd name="T46" fmla="*/ 23 w 138"/>
                <a:gd name="T47" fmla="*/ 7 h 117"/>
                <a:gd name="T48" fmla="*/ 24 w 138"/>
                <a:gd name="T49" fmla="*/ 6 h 117"/>
                <a:gd name="T50" fmla="*/ 24 w 138"/>
                <a:gd name="T51" fmla="*/ 5 h 117"/>
                <a:gd name="T52" fmla="*/ 22 w 138"/>
                <a:gd name="T53" fmla="*/ 5 h 117"/>
                <a:gd name="T54" fmla="*/ 18 w 138"/>
                <a:gd name="T55" fmla="*/ 4 h 117"/>
                <a:gd name="T56" fmla="*/ 16 w 138"/>
                <a:gd name="T57" fmla="*/ 3 h 117"/>
                <a:gd name="T58" fmla="*/ 15 w 138"/>
                <a:gd name="T59" fmla="*/ 2 h 117"/>
                <a:gd name="T60" fmla="*/ 15 w 138"/>
                <a:gd name="T61" fmla="*/ 1 h 11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8"/>
                <a:gd name="T94" fmla="*/ 0 h 117"/>
                <a:gd name="T95" fmla="*/ 138 w 138"/>
                <a:gd name="T96" fmla="*/ 117 h 11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8" h="117">
                  <a:moveTo>
                    <a:pt x="91" y="6"/>
                  </a:moveTo>
                  <a:lnTo>
                    <a:pt x="84" y="5"/>
                  </a:lnTo>
                  <a:lnTo>
                    <a:pt x="65" y="8"/>
                  </a:lnTo>
                  <a:lnTo>
                    <a:pt x="51" y="0"/>
                  </a:lnTo>
                  <a:lnTo>
                    <a:pt x="22" y="8"/>
                  </a:lnTo>
                  <a:lnTo>
                    <a:pt x="13" y="14"/>
                  </a:lnTo>
                  <a:lnTo>
                    <a:pt x="16" y="20"/>
                  </a:lnTo>
                  <a:lnTo>
                    <a:pt x="24" y="26"/>
                  </a:lnTo>
                  <a:lnTo>
                    <a:pt x="23" y="35"/>
                  </a:lnTo>
                  <a:lnTo>
                    <a:pt x="13" y="42"/>
                  </a:lnTo>
                  <a:lnTo>
                    <a:pt x="9" y="67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8" y="86"/>
                  </a:lnTo>
                  <a:lnTo>
                    <a:pt x="36" y="84"/>
                  </a:lnTo>
                  <a:lnTo>
                    <a:pt x="30" y="89"/>
                  </a:lnTo>
                  <a:lnTo>
                    <a:pt x="8" y="99"/>
                  </a:lnTo>
                  <a:lnTo>
                    <a:pt x="7" y="117"/>
                  </a:lnTo>
                  <a:lnTo>
                    <a:pt x="15" y="113"/>
                  </a:lnTo>
                  <a:lnTo>
                    <a:pt x="20" y="105"/>
                  </a:lnTo>
                  <a:lnTo>
                    <a:pt x="71" y="63"/>
                  </a:lnTo>
                  <a:lnTo>
                    <a:pt x="116" y="61"/>
                  </a:lnTo>
                  <a:lnTo>
                    <a:pt x="122" y="64"/>
                  </a:lnTo>
                  <a:lnTo>
                    <a:pt x="134" y="60"/>
                  </a:lnTo>
                  <a:lnTo>
                    <a:pt x="138" y="54"/>
                  </a:lnTo>
                  <a:lnTo>
                    <a:pt x="138" y="45"/>
                  </a:lnTo>
                  <a:lnTo>
                    <a:pt x="130" y="45"/>
                  </a:lnTo>
                  <a:lnTo>
                    <a:pt x="104" y="35"/>
                  </a:lnTo>
                  <a:lnTo>
                    <a:pt x="92" y="23"/>
                  </a:lnTo>
                  <a:lnTo>
                    <a:pt x="90" y="13"/>
                  </a:lnTo>
                  <a:lnTo>
                    <a:pt x="91" y="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4" name="Freeform 121"/>
            <p:cNvSpPr>
              <a:spLocks/>
            </p:cNvSpPr>
            <p:nvPr/>
          </p:nvSpPr>
          <p:spPr bwMode="auto">
            <a:xfrm>
              <a:off x="4699416" y="1078426"/>
              <a:ext cx="166543" cy="115032"/>
            </a:xfrm>
            <a:custGeom>
              <a:avLst/>
              <a:gdLst>
                <a:gd name="T0" fmla="*/ 15 w 138"/>
                <a:gd name="T1" fmla="*/ 1 h 117"/>
                <a:gd name="T2" fmla="*/ 14 w 138"/>
                <a:gd name="T3" fmla="*/ 1 h 117"/>
                <a:gd name="T4" fmla="*/ 11 w 138"/>
                <a:gd name="T5" fmla="*/ 1 h 117"/>
                <a:gd name="T6" fmla="*/ 8 w 138"/>
                <a:gd name="T7" fmla="*/ 0 h 117"/>
                <a:gd name="T8" fmla="*/ 4 w 138"/>
                <a:gd name="T9" fmla="*/ 1 h 117"/>
                <a:gd name="T10" fmla="*/ 2 w 138"/>
                <a:gd name="T11" fmla="*/ 2 h 117"/>
                <a:gd name="T12" fmla="*/ 3 w 138"/>
                <a:gd name="T13" fmla="*/ 2 h 117"/>
                <a:gd name="T14" fmla="*/ 4 w 138"/>
                <a:gd name="T15" fmla="*/ 3 h 117"/>
                <a:gd name="T16" fmla="*/ 4 w 138"/>
                <a:gd name="T17" fmla="*/ 4 h 117"/>
                <a:gd name="T18" fmla="*/ 2 w 138"/>
                <a:gd name="T19" fmla="*/ 5 h 117"/>
                <a:gd name="T20" fmla="*/ 1 w 138"/>
                <a:gd name="T21" fmla="*/ 8 h 117"/>
                <a:gd name="T22" fmla="*/ 0 w 138"/>
                <a:gd name="T23" fmla="*/ 9 h 117"/>
                <a:gd name="T24" fmla="*/ 1 w 138"/>
                <a:gd name="T25" fmla="*/ 10 h 117"/>
                <a:gd name="T26" fmla="*/ 1 w 138"/>
                <a:gd name="T27" fmla="*/ 10 h 117"/>
                <a:gd name="T28" fmla="*/ 6 w 138"/>
                <a:gd name="T29" fmla="*/ 10 h 117"/>
                <a:gd name="T30" fmla="*/ 5 w 138"/>
                <a:gd name="T31" fmla="*/ 11 h 117"/>
                <a:gd name="T32" fmla="*/ 1 w 138"/>
                <a:gd name="T33" fmla="*/ 12 h 117"/>
                <a:gd name="T34" fmla="*/ 1 w 138"/>
                <a:gd name="T35" fmla="*/ 13 h 117"/>
                <a:gd name="T36" fmla="*/ 2 w 138"/>
                <a:gd name="T37" fmla="*/ 13 h 117"/>
                <a:gd name="T38" fmla="*/ 4 w 138"/>
                <a:gd name="T39" fmla="*/ 12 h 117"/>
                <a:gd name="T40" fmla="*/ 12 w 138"/>
                <a:gd name="T41" fmla="*/ 7 h 117"/>
                <a:gd name="T42" fmla="*/ 20 w 138"/>
                <a:gd name="T43" fmla="*/ 7 h 117"/>
                <a:gd name="T44" fmla="*/ 21 w 138"/>
                <a:gd name="T45" fmla="*/ 7 h 117"/>
                <a:gd name="T46" fmla="*/ 23 w 138"/>
                <a:gd name="T47" fmla="*/ 7 h 117"/>
                <a:gd name="T48" fmla="*/ 24 w 138"/>
                <a:gd name="T49" fmla="*/ 6 h 117"/>
                <a:gd name="T50" fmla="*/ 24 w 138"/>
                <a:gd name="T51" fmla="*/ 5 h 117"/>
                <a:gd name="T52" fmla="*/ 22 w 138"/>
                <a:gd name="T53" fmla="*/ 5 h 117"/>
                <a:gd name="T54" fmla="*/ 18 w 138"/>
                <a:gd name="T55" fmla="*/ 4 h 117"/>
                <a:gd name="T56" fmla="*/ 16 w 138"/>
                <a:gd name="T57" fmla="*/ 3 h 117"/>
                <a:gd name="T58" fmla="*/ 15 w 138"/>
                <a:gd name="T59" fmla="*/ 2 h 117"/>
                <a:gd name="T60" fmla="*/ 15 w 138"/>
                <a:gd name="T61" fmla="*/ 1 h 11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8"/>
                <a:gd name="T94" fmla="*/ 0 h 117"/>
                <a:gd name="T95" fmla="*/ 138 w 138"/>
                <a:gd name="T96" fmla="*/ 117 h 11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8" h="117">
                  <a:moveTo>
                    <a:pt x="91" y="6"/>
                  </a:moveTo>
                  <a:lnTo>
                    <a:pt x="84" y="5"/>
                  </a:lnTo>
                  <a:lnTo>
                    <a:pt x="65" y="8"/>
                  </a:lnTo>
                  <a:lnTo>
                    <a:pt x="51" y="0"/>
                  </a:lnTo>
                  <a:lnTo>
                    <a:pt x="22" y="8"/>
                  </a:lnTo>
                  <a:lnTo>
                    <a:pt x="13" y="14"/>
                  </a:lnTo>
                  <a:lnTo>
                    <a:pt x="16" y="20"/>
                  </a:lnTo>
                  <a:lnTo>
                    <a:pt x="24" y="26"/>
                  </a:lnTo>
                  <a:lnTo>
                    <a:pt x="23" y="35"/>
                  </a:lnTo>
                  <a:lnTo>
                    <a:pt x="13" y="42"/>
                  </a:lnTo>
                  <a:lnTo>
                    <a:pt x="9" y="67"/>
                  </a:lnTo>
                  <a:lnTo>
                    <a:pt x="0" y="79"/>
                  </a:lnTo>
                  <a:lnTo>
                    <a:pt x="2" y="84"/>
                  </a:lnTo>
                  <a:lnTo>
                    <a:pt x="8" y="86"/>
                  </a:lnTo>
                  <a:lnTo>
                    <a:pt x="36" y="84"/>
                  </a:lnTo>
                  <a:lnTo>
                    <a:pt x="30" y="89"/>
                  </a:lnTo>
                  <a:lnTo>
                    <a:pt x="8" y="99"/>
                  </a:lnTo>
                  <a:lnTo>
                    <a:pt x="7" y="117"/>
                  </a:lnTo>
                  <a:lnTo>
                    <a:pt x="15" y="113"/>
                  </a:lnTo>
                  <a:lnTo>
                    <a:pt x="20" y="105"/>
                  </a:lnTo>
                  <a:lnTo>
                    <a:pt x="71" y="63"/>
                  </a:lnTo>
                  <a:lnTo>
                    <a:pt x="116" y="61"/>
                  </a:lnTo>
                  <a:lnTo>
                    <a:pt x="122" y="64"/>
                  </a:lnTo>
                  <a:lnTo>
                    <a:pt x="134" y="60"/>
                  </a:lnTo>
                  <a:lnTo>
                    <a:pt x="138" y="54"/>
                  </a:lnTo>
                  <a:lnTo>
                    <a:pt x="138" y="45"/>
                  </a:lnTo>
                  <a:lnTo>
                    <a:pt x="130" y="45"/>
                  </a:lnTo>
                  <a:lnTo>
                    <a:pt x="104" y="35"/>
                  </a:lnTo>
                  <a:lnTo>
                    <a:pt x="92" y="23"/>
                  </a:lnTo>
                  <a:lnTo>
                    <a:pt x="90" y="13"/>
                  </a:lnTo>
                  <a:lnTo>
                    <a:pt x="91" y="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5" name="Freeform 122"/>
            <p:cNvSpPr>
              <a:spLocks/>
            </p:cNvSpPr>
            <p:nvPr/>
          </p:nvSpPr>
          <p:spPr bwMode="auto">
            <a:xfrm>
              <a:off x="4898456" y="3232501"/>
              <a:ext cx="595087" cy="491671"/>
            </a:xfrm>
            <a:custGeom>
              <a:avLst/>
              <a:gdLst>
                <a:gd name="T0" fmla="*/ 74 w 497"/>
                <a:gd name="T1" fmla="*/ 20 h 493"/>
                <a:gd name="T2" fmla="*/ 73 w 497"/>
                <a:gd name="T3" fmla="*/ 31 h 493"/>
                <a:gd name="T4" fmla="*/ 75 w 497"/>
                <a:gd name="T5" fmla="*/ 34 h 493"/>
                <a:gd name="T6" fmla="*/ 74 w 497"/>
                <a:gd name="T7" fmla="*/ 35 h 493"/>
                <a:gd name="T8" fmla="*/ 74 w 497"/>
                <a:gd name="T9" fmla="*/ 38 h 493"/>
                <a:gd name="T10" fmla="*/ 74 w 497"/>
                <a:gd name="T11" fmla="*/ 40 h 493"/>
                <a:gd name="T12" fmla="*/ 75 w 497"/>
                <a:gd name="T13" fmla="*/ 44 h 493"/>
                <a:gd name="T14" fmla="*/ 76 w 497"/>
                <a:gd name="T15" fmla="*/ 46 h 493"/>
                <a:gd name="T16" fmla="*/ 77 w 497"/>
                <a:gd name="T17" fmla="*/ 48 h 493"/>
                <a:gd name="T18" fmla="*/ 78 w 497"/>
                <a:gd name="T19" fmla="*/ 49 h 493"/>
                <a:gd name="T20" fmla="*/ 80 w 497"/>
                <a:gd name="T21" fmla="*/ 52 h 493"/>
                <a:gd name="T22" fmla="*/ 83 w 497"/>
                <a:gd name="T23" fmla="*/ 53 h 493"/>
                <a:gd name="T24" fmla="*/ 69 w 497"/>
                <a:gd name="T25" fmla="*/ 58 h 493"/>
                <a:gd name="T26" fmla="*/ 65 w 497"/>
                <a:gd name="T27" fmla="*/ 57 h 493"/>
                <a:gd name="T28" fmla="*/ 55 w 497"/>
                <a:gd name="T29" fmla="*/ 59 h 493"/>
                <a:gd name="T30" fmla="*/ 51 w 497"/>
                <a:gd name="T31" fmla="*/ 60 h 493"/>
                <a:gd name="T32" fmla="*/ 48 w 497"/>
                <a:gd name="T33" fmla="*/ 59 h 493"/>
                <a:gd name="T34" fmla="*/ 40 w 497"/>
                <a:gd name="T35" fmla="*/ 59 h 493"/>
                <a:gd name="T36" fmla="*/ 38 w 497"/>
                <a:gd name="T37" fmla="*/ 56 h 493"/>
                <a:gd name="T38" fmla="*/ 36 w 497"/>
                <a:gd name="T39" fmla="*/ 49 h 493"/>
                <a:gd name="T40" fmla="*/ 32 w 497"/>
                <a:gd name="T41" fmla="*/ 48 h 493"/>
                <a:gd name="T42" fmla="*/ 31 w 497"/>
                <a:gd name="T43" fmla="*/ 48 h 493"/>
                <a:gd name="T44" fmla="*/ 28 w 497"/>
                <a:gd name="T45" fmla="*/ 47 h 493"/>
                <a:gd name="T46" fmla="*/ 25 w 497"/>
                <a:gd name="T47" fmla="*/ 46 h 493"/>
                <a:gd name="T48" fmla="*/ 13 w 497"/>
                <a:gd name="T49" fmla="*/ 42 h 493"/>
                <a:gd name="T50" fmla="*/ 6 w 497"/>
                <a:gd name="T51" fmla="*/ 35 h 493"/>
                <a:gd name="T52" fmla="*/ 1 w 497"/>
                <a:gd name="T53" fmla="*/ 30 h 493"/>
                <a:gd name="T54" fmla="*/ 2 w 497"/>
                <a:gd name="T55" fmla="*/ 27 h 493"/>
                <a:gd name="T56" fmla="*/ 1 w 497"/>
                <a:gd name="T57" fmla="*/ 23 h 493"/>
                <a:gd name="T58" fmla="*/ 1 w 497"/>
                <a:gd name="T59" fmla="*/ 19 h 493"/>
                <a:gd name="T60" fmla="*/ 9 w 497"/>
                <a:gd name="T61" fmla="*/ 12 h 493"/>
                <a:gd name="T62" fmla="*/ 7 w 497"/>
                <a:gd name="T63" fmla="*/ 10 h 493"/>
                <a:gd name="T64" fmla="*/ 6 w 497"/>
                <a:gd name="T65" fmla="*/ 9 h 493"/>
                <a:gd name="T66" fmla="*/ 6 w 497"/>
                <a:gd name="T67" fmla="*/ 1 h 493"/>
                <a:gd name="T68" fmla="*/ 10 w 497"/>
                <a:gd name="T69" fmla="*/ 0 h 493"/>
                <a:gd name="T70" fmla="*/ 17 w 497"/>
                <a:gd name="T71" fmla="*/ 9 h 493"/>
                <a:gd name="T72" fmla="*/ 18 w 497"/>
                <a:gd name="T73" fmla="*/ 10 h 493"/>
                <a:gd name="T74" fmla="*/ 19 w 497"/>
                <a:gd name="T75" fmla="*/ 8 h 493"/>
                <a:gd name="T76" fmla="*/ 23 w 497"/>
                <a:gd name="T77" fmla="*/ 9 h 493"/>
                <a:gd name="T78" fmla="*/ 25 w 497"/>
                <a:gd name="T79" fmla="*/ 10 h 493"/>
                <a:gd name="T80" fmla="*/ 26 w 497"/>
                <a:gd name="T81" fmla="*/ 9 h 493"/>
                <a:gd name="T82" fmla="*/ 31 w 497"/>
                <a:gd name="T83" fmla="*/ 7 h 493"/>
                <a:gd name="T84" fmla="*/ 29 w 497"/>
                <a:gd name="T85" fmla="*/ 6 h 493"/>
                <a:gd name="T86" fmla="*/ 29 w 497"/>
                <a:gd name="T87" fmla="*/ 5 h 493"/>
                <a:gd name="T88" fmla="*/ 30 w 497"/>
                <a:gd name="T89" fmla="*/ 5 h 493"/>
                <a:gd name="T90" fmla="*/ 31 w 497"/>
                <a:gd name="T91" fmla="*/ 3 h 493"/>
                <a:gd name="T92" fmla="*/ 33 w 497"/>
                <a:gd name="T93" fmla="*/ 2 h 493"/>
                <a:gd name="T94" fmla="*/ 33 w 497"/>
                <a:gd name="T95" fmla="*/ 1 h 49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97"/>
                <a:gd name="T145" fmla="*/ 0 h 493"/>
                <a:gd name="T146" fmla="*/ 497 w 497"/>
                <a:gd name="T147" fmla="*/ 493 h 49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97" h="493">
                  <a:moveTo>
                    <a:pt x="369" y="94"/>
                  </a:moveTo>
                  <a:lnTo>
                    <a:pt x="379" y="129"/>
                  </a:lnTo>
                  <a:lnTo>
                    <a:pt x="443" y="168"/>
                  </a:lnTo>
                  <a:lnTo>
                    <a:pt x="421" y="234"/>
                  </a:lnTo>
                  <a:lnTo>
                    <a:pt x="423" y="249"/>
                  </a:lnTo>
                  <a:lnTo>
                    <a:pt x="437" y="258"/>
                  </a:lnTo>
                  <a:lnTo>
                    <a:pt x="442" y="265"/>
                  </a:lnTo>
                  <a:lnTo>
                    <a:pt x="449" y="271"/>
                  </a:lnTo>
                  <a:lnTo>
                    <a:pt x="454" y="281"/>
                  </a:lnTo>
                  <a:lnTo>
                    <a:pt x="454" y="285"/>
                  </a:lnTo>
                  <a:lnTo>
                    <a:pt x="452" y="286"/>
                  </a:lnTo>
                  <a:lnTo>
                    <a:pt x="448" y="292"/>
                  </a:lnTo>
                  <a:lnTo>
                    <a:pt x="445" y="308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9" y="322"/>
                  </a:lnTo>
                  <a:lnTo>
                    <a:pt x="448" y="330"/>
                  </a:lnTo>
                  <a:lnTo>
                    <a:pt x="443" y="330"/>
                  </a:lnTo>
                  <a:lnTo>
                    <a:pt x="441" y="337"/>
                  </a:lnTo>
                  <a:lnTo>
                    <a:pt x="448" y="355"/>
                  </a:lnTo>
                  <a:lnTo>
                    <a:pt x="452" y="358"/>
                  </a:lnTo>
                  <a:lnTo>
                    <a:pt x="452" y="361"/>
                  </a:lnTo>
                  <a:lnTo>
                    <a:pt x="449" y="363"/>
                  </a:lnTo>
                  <a:lnTo>
                    <a:pt x="459" y="380"/>
                  </a:lnTo>
                  <a:lnTo>
                    <a:pt x="461" y="385"/>
                  </a:lnTo>
                  <a:lnTo>
                    <a:pt x="459" y="390"/>
                  </a:lnTo>
                  <a:lnTo>
                    <a:pt x="464" y="394"/>
                  </a:lnTo>
                  <a:lnTo>
                    <a:pt x="466" y="400"/>
                  </a:lnTo>
                  <a:lnTo>
                    <a:pt x="466" y="406"/>
                  </a:lnTo>
                  <a:lnTo>
                    <a:pt x="469" y="409"/>
                  </a:lnTo>
                  <a:lnTo>
                    <a:pt x="469" y="415"/>
                  </a:lnTo>
                  <a:lnTo>
                    <a:pt x="478" y="420"/>
                  </a:lnTo>
                  <a:lnTo>
                    <a:pt x="482" y="428"/>
                  </a:lnTo>
                  <a:lnTo>
                    <a:pt x="489" y="429"/>
                  </a:lnTo>
                  <a:lnTo>
                    <a:pt x="495" y="433"/>
                  </a:lnTo>
                  <a:lnTo>
                    <a:pt x="497" y="434"/>
                  </a:lnTo>
                  <a:lnTo>
                    <a:pt x="497" y="439"/>
                  </a:lnTo>
                  <a:lnTo>
                    <a:pt x="471" y="459"/>
                  </a:lnTo>
                  <a:lnTo>
                    <a:pt x="416" y="477"/>
                  </a:lnTo>
                  <a:lnTo>
                    <a:pt x="408" y="477"/>
                  </a:lnTo>
                  <a:lnTo>
                    <a:pt x="398" y="472"/>
                  </a:lnTo>
                  <a:lnTo>
                    <a:pt x="389" y="474"/>
                  </a:lnTo>
                  <a:lnTo>
                    <a:pt x="378" y="475"/>
                  </a:lnTo>
                  <a:lnTo>
                    <a:pt x="367" y="486"/>
                  </a:lnTo>
                  <a:lnTo>
                    <a:pt x="333" y="486"/>
                  </a:lnTo>
                  <a:lnTo>
                    <a:pt x="323" y="492"/>
                  </a:lnTo>
                  <a:lnTo>
                    <a:pt x="316" y="492"/>
                  </a:lnTo>
                  <a:lnTo>
                    <a:pt x="309" y="493"/>
                  </a:lnTo>
                  <a:lnTo>
                    <a:pt x="306" y="493"/>
                  </a:lnTo>
                  <a:lnTo>
                    <a:pt x="296" y="485"/>
                  </a:lnTo>
                  <a:lnTo>
                    <a:pt x="290" y="483"/>
                  </a:lnTo>
                  <a:lnTo>
                    <a:pt x="284" y="483"/>
                  </a:lnTo>
                  <a:lnTo>
                    <a:pt x="279" y="487"/>
                  </a:lnTo>
                  <a:lnTo>
                    <a:pt x="242" y="487"/>
                  </a:lnTo>
                  <a:lnTo>
                    <a:pt x="242" y="483"/>
                  </a:lnTo>
                  <a:lnTo>
                    <a:pt x="238" y="477"/>
                  </a:lnTo>
                  <a:lnTo>
                    <a:pt x="229" y="468"/>
                  </a:lnTo>
                  <a:lnTo>
                    <a:pt x="228" y="466"/>
                  </a:lnTo>
                  <a:lnTo>
                    <a:pt x="229" y="450"/>
                  </a:lnTo>
                  <a:lnTo>
                    <a:pt x="217" y="407"/>
                  </a:lnTo>
                  <a:lnTo>
                    <a:pt x="208" y="397"/>
                  </a:lnTo>
                  <a:lnTo>
                    <a:pt x="197" y="395"/>
                  </a:lnTo>
                  <a:lnTo>
                    <a:pt x="193" y="401"/>
                  </a:lnTo>
                  <a:lnTo>
                    <a:pt x="190" y="396"/>
                  </a:lnTo>
                  <a:lnTo>
                    <a:pt x="188" y="394"/>
                  </a:lnTo>
                  <a:lnTo>
                    <a:pt x="185" y="394"/>
                  </a:lnTo>
                  <a:lnTo>
                    <a:pt x="175" y="397"/>
                  </a:lnTo>
                  <a:lnTo>
                    <a:pt x="173" y="396"/>
                  </a:lnTo>
                  <a:lnTo>
                    <a:pt x="169" y="392"/>
                  </a:lnTo>
                  <a:lnTo>
                    <a:pt x="161" y="392"/>
                  </a:lnTo>
                  <a:lnTo>
                    <a:pt x="152" y="387"/>
                  </a:lnTo>
                  <a:lnTo>
                    <a:pt x="149" y="383"/>
                  </a:lnTo>
                  <a:lnTo>
                    <a:pt x="147" y="382"/>
                  </a:lnTo>
                  <a:lnTo>
                    <a:pt x="97" y="365"/>
                  </a:lnTo>
                  <a:lnTo>
                    <a:pt x="79" y="349"/>
                  </a:lnTo>
                  <a:lnTo>
                    <a:pt x="72" y="348"/>
                  </a:lnTo>
                  <a:lnTo>
                    <a:pt x="66" y="348"/>
                  </a:lnTo>
                  <a:lnTo>
                    <a:pt x="40" y="293"/>
                  </a:lnTo>
                  <a:lnTo>
                    <a:pt x="40" y="275"/>
                  </a:lnTo>
                  <a:lnTo>
                    <a:pt x="25" y="258"/>
                  </a:lnTo>
                  <a:lnTo>
                    <a:pt x="7" y="249"/>
                  </a:lnTo>
                  <a:lnTo>
                    <a:pt x="4" y="237"/>
                  </a:lnTo>
                  <a:lnTo>
                    <a:pt x="10" y="232"/>
                  </a:lnTo>
                  <a:lnTo>
                    <a:pt x="12" y="227"/>
                  </a:lnTo>
                  <a:lnTo>
                    <a:pt x="6" y="205"/>
                  </a:lnTo>
                  <a:lnTo>
                    <a:pt x="6" y="193"/>
                  </a:lnTo>
                  <a:lnTo>
                    <a:pt x="3" y="189"/>
                  </a:lnTo>
                  <a:lnTo>
                    <a:pt x="0" y="186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3" y="149"/>
                  </a:lnTo>
                  <a:lnTo>
                    <a:pt x="53" y="101"/>
                  </a:lnTo>
                  <a:lnTo>
                    <a:pt x="53" y="95"/>
                  </a:lnTo>
                  <a:lnTo>
                    <a:pt x="51" y="90"/>
                  </a:lnTo>
                  <a:lnTo>
                    <a:pt x="48" y="87"/>
                  </a:lnTo>
                  <a:lnTo>
                    <a:pt x="43" y="86"/>
                  </a:lnTo>
                  <a:lnTo>
                    <a:pt x="39" y="83"/>
                  </a:lnTo>
                  <a:lnTo>
                    <a:pt x="39" y="75"/>
                  </a:lnTo>
                  <a:lnTo>
                    <a:pt x="40" y="69"/>
                  </a:lnTo>
                  <a:lnTo>
                    <a:pt x="54" y="53"/>
                  </a:lnTo>
                  <a:lnTo>
                    <a:pt x="57" y="44"/>
                  </a:lnTo>
                  <a:lnTo>
                    <a:pt x="36" y="2"/>
                  </a:lnTo>
                  <a:lnTo>
                    <a:pt x="55" y="4"/>
                  </a:lnTo>
                  <a:lnTo>
                    <a:pt x="60" y="2"/>
                  </a:lnTo>
                  <a:lnTo>
                    <a:pt x="60" y="0"/>
                  </a:lnTo>
                  <a:lnTo>
                    <a:pt x="98" y="1"/>
                  </a:lnTo>
                  <a:lnTo>
                    <a:pt x="94" y="51"/>
                  </a:lnTo>
                  <a:lnTo>
                    <a:pt x="97" y="69"/>
                  </a:lnTo>
                  <a:lnTo>
                    <a:pt x="97" y="75"/>
                  </a:lnTo>
                  <a:lnTo>
                    <a:pt x="101" y="83"/>
                  </a:lnTo>
                  <a:lnTo>
                    <a:pt x="108" y="80"/>
                  </a:lnTo>
                  <a:lnTo>
                    <a:pt x="111" y="73"/>
                  </a:lnTo>
                  <a:lnTo>
                    <a:pt x="116" y="72"/>
                  </a:lnTo>
                  <a:lnTo>
                    <a:pt x="115" y="65"/>
                  </a:lnTo>
                  <a:lnTo>
                    <a:pt x="119" y="60"/>
                  </a:lnTo>
                  <a:lnTo>
                    <a:pt x="136" y="75"/>
                  </a:lnTo>
                  <a:lnTo>
                    <a:pt x="141" y="72"/>
                  </a:lnTo>
                  <a:lnTo>
                    <a:pt x="145" y="72"/>
                  </a:lnTo>
                  <a:lnTo>
                    <a:pt x="147" y="90"/>
                  </a:lnTo>
                  <a:lnTo>
                    <a:pt x="152" y="85"/>
                  </a:lnTo>
                  <a:lnTo>
                    <a:pt x="152" y="79"/>
                  </a:lnTo>
                  <a:lnTo>
                    <a:pt x="154" y="70"/>
                  </a:lnTo>
                  <a:lnTo>
                    <a:pt x="157" y="69"/>
                  </a:lnTo>
                  <a:lnTo>
                    <a:pt x="172" y="69"/>
                  </a:lnTo>
                  <a:lnTo>
                    <a:pt x="179" y="66"/>
                  </a:lnTo>
                  <a:lnTo>
                    <a:pt x="187" y="60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74" y="55"/>
                  </a:lnTo>
                  <a:lnTo>
                    <a:pt x="166" y="52"/>
                  </a:lnTo>
                  <a:lnTo>
                    <a:pt x="168" y="49"/>
                  </a:lnTo>
                  <a:lnTo>
                    <a:pt x="177" y="43"/>
                  </a:lnTo>
                  <a:lnTo>
                    <a:pt x="174" y="40"/>
                  </a:lnTo>
                  <a:lnTo>
                    <a:pt x="177" y="38"/>
                  </a:lnTo>
                  <a:lnTo>
                    <a:pt x="182" y="38"/>
                  </a:lnTo>
                  <a:lnTo>
                    <a:pt x="183" y="35"/>
                  </a:lnTo>
                  <a:lnTo>
                    <a:pt x="188" y="29"/>
                  </a:lnTo>
                  <a:lnTo>
                    <a:pt x="188" y="25"/>
                  </a:lnTo>
                  <a:lnTo>
                    <a:pt x="192" y="24"/>
                  </a:lnTo>
                  <a:lnTo>
                    <a:pt x="194" y="17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197" y="9"/>
                  </a:lnTo>
                  <a:lnTo>
                    <a:pt x="199" y="4"/>
                  </a:lnTo>
                  <a:lnTo>
                    <a:pt x="209" y="0"/>
                  </a:lnTo>
                  <a:lnTo>
                    <a:pt x="369" y="9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6" name="Freeform 123"/>
            <p:cNvSpPr>
              <a:spLocks/>
            </p:cNvSpPr>
            <p:nvPr/>
          </p:nvSpPr>
          <p:spPr bwMode="auto">
            <a:xfrm>
              <a:off x="4898456" y="3232501"/>
              <a:ext cx="595087" cy="491671"/>
            </a:xfrm>
            <a:custGeom>
              <a:avLst/>
              <a:gdLst>
                <a:gd name="T0" fmla="*/ 74 w 497"/>
                <a:gd name="T1" fmla="*/ 20 h 493"/>
                <a:gd name="T2" fmla="*/ 73 w 497"/>
                <a:gd name="T3" fmla="*/ 31 h 493"/>
                <a:gd name="T4" fmla="*/ 75 w 497"/>
                <a:gd name="T5" fmla="*/ 34 h 493"/>
                <a:gd name="T6" fmla="*/ 74 w 497"/>
                <a:gd name="T7" fmla="*/ 35 h 493"/>
                <a:gd name="T8" fmla="*/ 74 w 497"/>
                <a:gd name="T9" fmla="*/ 38 h 493"/>
                <a:gd name="T10" fmla="*/ 74 w 497"/>
                <a:gd name="T11" fmla="*/ 40 h 493"/>
                <a:gd name="T12" fmla="*/ 75 w 497"/>
                <a:gd name="T13" fmla="*/ 44 h 493"/>
                <a:gd name="T14" fmla="*/ 76 w 497"/>
                <a:gd name="T15" fmla="*/ 46 h 493"/>
                <a:gd name="T16" fmla="*/ 77 w 497"/>
                <a:gd name="T17" fmla="*/ 48 h 493"/>
                <a:gd name="T18" fmla="*/ 78 w 497"/>
                <a:gd name="T19" fmla="*/ 49 h 493"/>
                <a:gd name="T20" fmla="*/ 80 w 497"/>
                <a:gd name="T21" fmla="*/ 52 h 493"/>
                <a:gd name="T22" fmla="*/ 83 w 497"/>
                <a:gd name="T23" fmla="*/ 53 h 493"/>
                <a:gd name="T24" fmla="*/ 69 w 497"/>
                <a:gd name="T25" fmla="*/ 58 h 493"/>
                <a:gd name="T26" fmla="*/ 65 w 497"/>
                <a:gd name="T27" fmla="*/ 57 h 493"/>
                <a:gd name="T28" fmla="*/ 55 w 497"/>
                <a:gd name="T29" fmla="*/ 59 h 493"/>
                <a:gd name="T30" fmla="*/ 51 w 497"/>
                <a:gd name="T31" fmla="*/ 60 h 493"/>
                <a:gd name="T32" fmla="*/ 48 w 497"/>
                <a:gd name="T33" fmla="*/ 59 h 493"/>
                <a:gd name="T34" fmla="*/ 40 w 497"/>
                <a:gd name="T35" fmla="*/ 59 h 493"/>
                <a:gd name="T36" fmla="*/ 38 w 497"/>
                <a:gd name="T37" fmla="*/ 56 h 493"/>
                <a:gd name="T38" fmla="*/ 36 w 497"/>
                <a:gd name="T39" fmla="*/ 49 h 493"/>
                <a:gd name="T40" fmla="*/ 32 w 497"/>
                <a:gd name="T41" fmla="*/ 48 h 493"/>
                <a:gd name="T42" fmla="*/ 31 w 497"/>
                <a:gd name="T43" fmla="*/ 48 h 493"/>
                <a:gd name="T44" fmla="*/ 28 w 497"/>
                <a:gd name="T45" fmla="*/ 47 h 493"/>
                <a:gd name="T46" fmla="*/ 25 w 497"/>
                <a:gd name="T47" fmla="*/ 46 h 493"/>
                <a:gd name="T48" fmla="*/ 13 w 497"/>
                <a:gd name="T49" fmla="*/ 42 h 493"/>
                <a:gd name="T50" fmla="*/ 6 w 497"/>
                <a:gd name="T51" fmla="*/ 35 h 493"/>
                <a:gd name="T52" fmla="*/ 1 w 497"/>
                <a:gd name="T53" fmla="*/ 30 h 493"/>
                <a:gd name="T54" fmla="*/ 2 w 497"/>
                <a:gd name="T55" fmla="*/ 27 h 493"/>
                <a:gd name="T56" fmla="*/ 1 w 497"/>
                <a:gd name="T57" fmla="*/ 23 h 493"/>
                <a:gd name="T58" fmla="*/ 1 w 497"/>
                <a:gd name="T59" fmla="*/ 19 h 493"/>
                <a:gd name="T60" fmla="*/ 9 w 497"/>
                <a:gd name="T61" fmla="*/ 12 h 493"/>
                <a:gd name="T62" fmla="*/ 7 w 497"/>
                <a:gd name="T63" fmla="*/ 10 h 493"/>
                <a:gd name="T64" fmla="*/ 6 w 497"/>
                <a:gd name="T65" fmla="*/ 9 h 493"/>
                <a:gd name="T66" fmla="*/ 6 w 497"/>
                <a:gd name="T67" fmla="*/ 1 h 493"/>
                <a:gd name="T68" fmla="*/ 10 w 497"/>
                <a:gd name="T69" fmla="*/ 0 h 493"/>
                <a:gd name="T70" fmla="*/ 17 w 497"/>
                <a:gd name="T71" fmla="*/ 9 h 493"/>
                <a:gd name="T72" fmla="*/ 18 w 497"/>
                <a:gd name="T73" fmla="*/ 10 h 493"/>
                <a:gd name="T74" fmla="*/ 19 w 497"/>
                <a:gd name="T75" fmla="*/ 8 h 493"/>
                <a:gd name="T76" fmla="*/ 23 w 497"/>
                <a:gd name="T77" fmla="*/ 9 h 493"/>
                <a:gd name="T78" fmla="*/ 25 w 497"/>
                <a:gd name="T79" fmla="*/ 10 h 493"/>
                <a:gd name="T80" fmla="*/ 26 w 497"/>
                <a:gd name="T81" fmla="*/ 9 h 493"/>
                <a:gd name="T82" fmla="*/ 31 w 497"/>
                <a:gd name="T83" fmla="*/ 7 h 493"/>
                <a:gd name="T84" fmla="*/ 29 w 497"/>
                <a:gd name="T85" fmla="*/ 6 h 493"/>
                <a:gd name="T86" fmla="*/ 29 w 497"/>
                <a:gd name="T87" fmla="*/ 5 h 493"/>
                <a:gd name="T88" fmla="*/ 30 w 497"/>
                <a:gd name="T89" fmla="*/ 5 h 493"/>
                <a:gd name="T90" fmla="*/ 31 w 497"/>
                <a:gd name="T91" fmla="*/ 3 h 493"/>
                <a:gd name="T92" fmla="*/ 33 w 497"/>
                <a:gd name="T93" fmla="*/ 2 h 493"/>
                <a:gd name="T94" fmla="*/ 33 w 497"/>
                <a:gd name="T95" fmla="*/ 1 h 49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97"/>
                <a:gd name="T145" fmla="*/ 0 h 493"/>
                <a:gd name="T146" fmla="*/ 497 w 497"/>
                <a:gd name="T147" fmla="*/ 493 h 49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97" h="493">
                  <a:moveTo>
                    <a:pt x="369" y="94"/>
                  </a:moveTo>
                  <a:lnTo>
                    <a:pt x="379" y="129"/>
                  </a:lnTo>
                  <a:lnTo>
                    <a:pt x="443" y="168"/>
                  </a:lnTo>
                  <a:lnTo>
                    <a:pt x="421" y="234"/>
                  </a:lnTo>
                  <a:lnTo>
                    <a:pt x="423" y="249"/>
                  </a:lnTo>
                  <a:lnTo>
                    <a:pt x="437" y="258"/>
                  </a:lnTo>
                  <a:lnTo>
                    <a:pt x="442" y="265"/>
                  </a:lnTo>
                  <a:lnTo>
                    <a:pt x="449" y="271"/>
                  </a:lnTo>
                  <a:lnTo>
                    <a:pt x="454" y="281"/>
                  </a:lnTo>
                  <a:lnTo>
                    <a:pt x="454" y="285"/>
                  </a:lnTo>
                  <a:lnTo>
                    <a:pt x="452" y="286"/>
                  </a:lnTo>
                  <a:lnTo>
                    <a:pt x="448" y="292"/>
                  </a:lnTo>
                  <a:lnTo>
                    <a:pt x="445" y="308"/>
                  </a:lnTo>
                  <a:lnTo>
                    <a:pt x="448" y="313"/>
                  </a:lnTo>
                  <a:lnTo>
                    <a:pt x="448" y="318"/>
                  </a:lnTo>
                  <a:lnTo>
                    <a:pt x="449" y="322"/>
                  </a:lnTo>
                  <a:lnTo>
                    <a:pt x="448" y="330"/>
                  </a:lnTo>
                  <a:lnTo>
                    <a:pt x="443" y="330"/>
                  </a:lnTo>
                  <a:lnTo>
                    <a:pt x="441" y="337"/>
                  </a:lnTo>
                  <a:lnTo>
                    <a:pt x="448" y="355"/>
                  </a:lnTo>
                  <a:lnTo>
                    <a:pt x="452" y="358"/>
                  </a:lnTo>
                  <a:lnTo>
                    <a:pt x="452" y="361"/>
                  </a:lnTo>
                  <a:lnTo>
                    <a:pt x="449" y="363"/>
                  </a:lnTo>
                  <a:lnTo>
                    <a:pt x="459" y="380"/>
                  </a:lnTo>
                  <a:lnTo>
                    <a:pt x="461" y="385"/>
                  </a:lnTo>
                  <a:lnTo>
                    <a:pt x="459" y="390"/>
                  </a:lnTo>
                  <a:lnTo>
                    <a:pt x="464" y="394"/>
                  </a:lnTo>
                  <a:lnTo>
                    <a:pt x="466" y="400"/>
                  </a:lnTo>
                  <a:lnTo>
                    <a:pt x="466" y="406"/>
                  </a:lnTo>
                  <a:lnTo>
                    <a:pt x="469" y="409"/>
                  </a:lnTo>
                  <a:lnTo>
                    <a:pt x="469" y="415"/>
                  </a:lnTo>
                  <a:lnTo>
                    <a:pt x="478" y="420"/>
                  </a:lnTo>
                  <a:lnTo>
                    <a:pt x="482" y="428"/>
                  </a:lnTo>
                  <a:lnTo>
                    <a:pt x="489" y="429"/>
                  </a:lnTo>
                  <a:lnTo>
                    <a:pt x="495" y="433"/>
                  </a:lnTo>
                  <a:lnTo>
                    <a:pt x="497" y="434"/>
                  </a:lnTo>
                  <a:lnTo>
                    <a:pt x="497" y="439"/>
                  </a:lnTo>
                  <a:lnTo>
                    <a:pt x="471" y="459"/>
                  </a:lnTo>
                  <a:lnTo>
                    <a:pt x="416" y="477"/>
                  </a:lnTo>
                  <a:lnTo>
                    <a:pt x="408" y="477"/>
                  </a:lnTo>
                  <a:lnTo>
                    <a:pt x="398" y="472"/>
                  </a:lnTo>
                  <a:lnTo>
                    <a:pt x="389" y="474"/>
                  </a:lnTo>
                  <a:lnTo>
                    <a:pt x="378" y="475"/>
                  </a:lnTo>
                  <a:lnTo>
                    <a:pt x="367" y="486"/>
                  </a:lnTo>
                  <a:lnTo>
                    <a:pt x="333" y="486"/>
                  </a:lnTo>
                  <a:lnTo>
                    <a:pt x="323" y="492"/>
                  </a:lnTo>
                  <a:lnTo>
                    <a:pt x="316" y="492"/>
                  </a:lnTo>
                  <a:lnTo>
                    <a:pt x="309" y="493"/>
                  </a:lnTo>
                  <a:lnTo>
                    <a:pt x="306" y="493"/>
                  </a:lnTo>
                  <a:lnTo>
                    <a:pt x="296" y="485"/>
                  </a:lnTo>
                  <a:lnTo>
                    <a:pt x="290" y="483"/>
                  </a:lnTo>
                  <a:lnTo>
                    <a:pt x="284" y="483"/>
                  </a:lnTo>
                  <a:lnTo>
                    <a:pt x="279" y="487"/>
                  </a:lnTo>
                  <a:lnTo>
                    <a:pt x="242" y="487"/>
                  </a:lnTo>
                  <a:lnTo>
                    <a:pt x="242" y="483"/>
                  </a:lnTo>
                  <a:lnTo>
                    <a:pt x="238" y="477"/>
                  </a:lnTo>
                  <a:lnTo>
                    <a:pt x="229" y="468"/>
                  </a:lnTo>
                  <a:lnTo>
                    <a:pt x="228" y="466"/>
                  </a:lnTo>
                  <a:lnTo>
                    <a:pt x="229" y="450"/>
                  </a:lnTo>
                  <a:lnTo>
                    <a:pt x="217" y="407"/>
                  </a:lnTo>
                  <a:lnTo>
                    <a:pt x="208" y="397"/>
                  </a:lnTo>
                  <a:lnTo>
                    <a:pt x="197" y="395"/>
                  </a:lnTo>
                  <a:lnTo>
                    <a:pt x="193" y="401"/>
                  </a:lnTo>
                  <a:lnTo>
                    <a:pt x="190" y="396"/>
                  </a:lnTo>
                  <a:lnTo>
                    <a:pt x="188" y="394"/>
                  </a:lnTo>
                  <a:lnTo>
                    <a:pt x="185" y="394"/>
                  </a:lnTo>
                  <a:lnTo>
                    <a:pt x="175" y="397"/>
                  </a:lnTo>
                  <a:lnTo>
                    <a:pt x="173" y="396"/>
                  </a:lnTo>
                  <a:lnTo>
                    <a:pt x="169" y="392"/>
                  </a:lnTo>
                  <a:lnTo>
                    <a:pt x="161" y="392"/>
                  </a:lnTo>
                  <a:lnTo>
                    <a:pt x="152" y="387"/>
                  </a:lnTo>
                  <a:lnTo>
                    <a:pt x="149" y="383"/>
                  </a:lnTo>
                  <a:lnTo>
                    <a:pt x="147" y="382"/>
                  </a:lnTo>
                  <a:lnTo>
                    <a:pt x="97" y="365"/>
                  </a:lnTo>
                  <a:lnTo>
                    <a:pt x="79" y="349"/>
                  </a:lnTo>
                  <a:lnTo>
                    <a:pt x="72" y="348"/>
                  </a:lnTo>
                  <a:lnTo>
                    <a:pt x="66" y="348"/>
                  </a:lnTo>
                  <a:lnTo>
                    <a:pt x="40" y="293"/>
                  </a:lnTo>
                  <a:lnTo>
                    <a:pt x="40" y="275"/>
                  </a:lnTo>
                  <a:lnTo>
                    <a:pt x="25" y="258"/>
                  </a:lnTo>
                  <a:lnTo>
                    <a:pt x="7" y="249"/>
                  </a:lnTo>
                  <a:lnTo>
                    <a:pt x="4" y="237"/>
                  </a:lnTo>
                  <a:lnTo>
                    <a:pt x="10" y="232"/>
                  </a:lnTo>
                  <a:lnTo>
                    <a:pt x="12" y="227"/>
                  </a:lnTo>
                  <a:lnTo>
                    <a:pt x="6" y="205"/>
                  </a:lnTo>
                  <a:lnTo>
                    <a:pt x="6" y="193"/>
                  </a:lnTo>
                  <a:lnTo>
                    <a:pt x="3" y="189"/>
                  </a:lnTo>
                  <a:lnTo>
                    <a:pt x="0" y="186"/>
                  </a:lnTo>
                  <a:lnTo>
                    <a:pt x="0" y="157"/>
                  </a:lnTo>
                  <a:lnTo>
                    <a:pt x="2" y="155"/>
                  </a:lnTo>
                  <a:lnTo>
                    <a:pt x="23" y="149"/>
                  </a:lnTo>
                  <a:lnTo>
                    <a:pt x="53" y="101"/>
                  </a:lnTo>
                  <a:lnTo>
                    <a:pt x="53" y="95"/>
                  </a:lnTo>
                  <a:lnTo>
                    <a:pt x="51" y="90"/>
                  </a:lnTo>
                  <a:lnTo>
                    <a:pt x="48" y="87"/>
                  </a:lnTo>
                  <a:lnTo>
                    <a:pt x="43" y="86"/>
                  </a:lnTo>
                  <a:lnTo>
                    <a:pt x="39" y="83"/>
                  </a:lnTo>
                  <a:lnTo>
                    <a:pt x="39" y="75"/>
                  </a:lnTo>
                  <a:lnTo>
                    <a:pt x="40" y="69"/>
                  </a:lnTo>
                  <a:lnTo>
                    <a:pt x="54" y="53"/>
                  </a:lnTo>
                  <a:lnTo>
                    <a:pt x="57" y="44"/>
                  </a:lnTo>
                  <a:lnTo>
                    <a:pt x="36" y="2"/>
                  </a:lnTo>
                  <a:lnTo>
                    <a:pt x="55" y="4"/>
                  </a:lnTo>
                  <a:lnTo>
                    <a:pt x="60" y="2"/>
                  </a:lnTo>
                  <a:lnTo>
                    <a:pt x="60" y="0"/>
                  </a:lnTo>
                  <a:lnTo>
                    <a:pt x="98" y="1"/>
                  </a:lnTo>
                  <a:lnTo>
                    <a:pt x="94" y="51"/>
                  </a:lnTo>
                  <a:lnTo>
                    <a:pt x="97" y="69"/>
                  </a:lnTo>
                  <a:lnTo>
                    <a:pt x="97" y="75"/>
                  </a:lnTo>
                  <a:lnTo>
                    <a:pt x="101" y="83"/>
                  </a:lnTo>
                  <a:lnTo>
                    <a:pt x="108" y="80"/>
                  </a:lnTo>
                  <a:lnTo>
                    <a:pt x="111" y="73"/>
                  </a:lnTo>
                  <a:lnTo>
                    <a:pt x="116" y="72"/>
                  </a:lnTo>
                  <a:lnTo>
                    <a:pt x="115" y="65"/>
                  </a:lnTo>
                  <a:lnTo>
                    <a:pt x="119" y="60"/>
                  </a:lnTo>
                  <a:lnTo>
                    <a:pt x="136" y="75"/>
                  </a:lnTo>
                  <a:lnTo>
                    <a:pt x="141" y="72"/>
                  </a:lnTo>
                  <a:lnTo>
                    <a:pt x="145" y="72"/>
                  </a:lnTo>
                  <a:lnTo>
                    <a:pt x="147" y="90"/>
                  </a:lnTo>
                  <a:lnTo>
                    <a:pt x="152" y="85"/>
                  </a:lnTo>
                  <a:lnTo>
                    <a:pt x="152" y="79"/>
                  </a:lnTo>
                  <a:lnTo>
                    <a:pt x="154" y="70"/>
                  </a:lnTo>
                  <a:lnTo>
                    <a:pt x="157" y="69"/>
                  </a:lnTo>
                  <a:lnTo>
                    <a:pt x="172" y="69"/>
                  </a:lnTo>
                  <a:lnTo>
                    <a:pt x="179" y="66"/>
                  </a:lnTo>
                  <a:lnTo>
                    <a:pt x="187" y="60"/>
                  </a:lnTo>
                  <a:lnTo>
                    <a:pt x="188" y="58"/>
                  </a:lnTo>
                  <a:lnTo>
                    <a:pt x="186" y="54"/>
                  </a:lnTo>
                  <a:lnTo>
                    <a:pt x="174" y="55"/>
                  </a:lnTo>
                  <a:lnTo>
                    <a:pt x="166" y="52"/>
                  </a:lnTo>
                  <a:lnTo>
                    <a:pt x="168" y="49"/>
                  </a:lnTo>
                  <a:lnTo>
                    <a:pt x="177" y="43"/>
                  </a:lnTo>
                  <a:lnTo>
                    <a:pt x="174" y="40"/>
                  </a:lnTo>
                  <a:lnTo>
                    <a:pt x="177" y="38"/>
                  </a:lnTo>
                  <a:lnTo>
                    <a:pt x="182" y="38"/>
                  </a:lnTo>
                  <a:lnTo>
                    <a:pt x="183" y="35"/>
                  </a:lnTo>
                  <a:lnTo>
                    <a:pt x="188" y="29"/>
                  </a:lnTo>
                  <a:lnTo>
                    <a:pt x="188" y="25"/>
                  </a:lnTo>
                  <a:lnTo>
                    <a:pt x="192" y="24"/>
                  </a:lnTo>
                  <a:lnTo>
                    <a:pt x="194" y="17"/>
                  </a:lnTo>
                  <a:lnTo>
                    <a:pt x="198" y="18"/>
                  </a:lnTo>
                  <a:lnTo>
                    <a:pt x="199" y="15"/>
                  </a:lnTo>
                  <a:lnTo>
                    <a:pt x="197" y="9"/>
                  </a:lnTo>
                  <a:lnTo>
                    <a:pt x="199" y="4"/>
                  </a:lnTo>
                  <a:lnTo>
                    <a:pt x="209" y="0"/>
                  </a:lnTo>
                  <a:lnTo>
                    <a:pt x="369" y="94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7" name="Freeform 125"/>
            <p:cNvSpPr>
              <a:spLocks/>
            </p:cNvSpPr>
            <p:nvPr/>
          </p:nvSpPr>
          <p:spPr bwMode="auto">
            <a:xfrm>
              <a:off x="2532320" y="2731552"/>
              <a:ext cx="172636" cy="137297"/>
            </a:xfrm>
            <a:custGeom>
              <a:avLst/>
              <a:gdLst>
                <a:gd name="T0" fmla="*/ 1 w 139"/>
                <a:gd name="T1" fmla="*/ 5 h 139"/>
                <a:gd name="T2" fmla="*/ 3 w 139"/>
                <a:gd name="T3" fmla="*/ 5 h 139"/>
                <a:gd name="T4" fmla="*/ 4 w 139"/>
                <a:gd name="T5" fmla="*/ 4 h 139"/>
                <a:gd name="T6" fmla="*/ 5 w 139"/>
                <a:gd name="T7" fmla="*/ 3 h 139"/>
                <a:gd name="T8" fmla="*/ 7 w 139"/>
                <a:gd name="T9" fmla="*/ 2 h 139"/>
                <a:gd name="T10" fmla="*/ 8 w 139"/>
                <a:gd name="T11" fmla="*/ 1 h 139"/>
                <a:gd name="T12" fmla="*/ 10 w 139"/>
                <a:gd name="T13" fmla="*/ 1 h 139"/>
                <a:gd name="T14" fmla="*/ 12 w 139"/>
                <a:gd name="T15" fmla="*/ 0 h 139"/>
                <a:gd name="T16" fmla="*/ 19 w 139"/>
                <a:gd name="T17" fmla="*/ 1 h 139"/>
                <a:gd name="T18" fmla="*/ 21 w 139"/>
                <a:gd name="T19" fmla="*/ 2 h 139"/>
                <a:gd name="T20" fmla="*/ 21 w 139"/>
                <a:gd name="T21" fmla="*/ 3 h 139"/>
                <a:gd name="T22" fmla="*/ 21 w 139"/>
                <a:gd name="T23" fmla="*/ 3 h 139"/>
                <a:gd name="T24" fmla="*/ 23 w 139"/>
                <a:gd name="T25" fmla="*/ 3 h 139"/>
                <a:gd name="T26" fmla="*/ 23 w 139"/>
                <a:gd name="T27" fmla="*/ 4 h 139"/>
                <a:gd name="T28" fmla="*/ 23 w 139"/>
                <a:gd name="T29" fmla="*/ 5 h 139"/>
                <a:gd name="T30" fmla="*/ 23 w 139"/>
                <a:gd name="T31" fmla="*/ 5 h 139"/>
                <a:gd name="T32" fmla="*/ 24 w 139"/>
                <a:gd name="T33" fmla="*/ 6 h 139"/>
                <a:gd name="T34" fmla="*/ 25 w 139"/>
                <a:gd name="T35" fmla="*/ 7 h 139"/>
                <a:gd name="T36" fmla="*/ 24 w 139"/>
                <a:gd name="T37" fmla="*/ 7 h 139"/>
                <a:gd name="T38" fmla="*/ 23 w 139"/>
                <a:gd name="T39" fmla="*/ 9 h 139"/>
                <a:gd name="T40" fmla="*/ 26 w 139"/>
                <a:gd name="T41" fmla="*/ 8 h 139"/>
                <a:gd name="T42" fmla="*/ 26 w 139"/>
                <a:gd name="T43" fmla="*/ 9 h 139"/>
                <a:gd name="T44" fmla="*/ 27 w 139"/>
                <a:gd name="T45" fmla="*/ 10 h 139"/>
                <a:gd name="T46" fmla="*/ 25 w 139"/>
                <a:gd name="T47" fmla="*/ 10 h 139"/>
                <a:gd name="T48" fmla="*/ 24 w 139"/>
                <a:gd name="T49" fmla="*/ 11 h 139"/>
                <a:gd name="T50" fmla="*/ 24 w 139"/>
                <a:gd name="T51" fmla="*/ 12 h 139"/>
                <a:gd name="T52" fmla="*/ 23 w 139"/>
                <a:gd name="T53" fmla="*/ 13 h 139"/>
                <a:gd name="T54" fmla="*/ 21 w 139"/>
                <a:gd name="T55" fmla="*/ 13 h 139"/>
                <a:gd name="T56" fmla="*/ 18 w 139"/>
                <a:gd name="T57" fmla="*/ 15 h 139"/>
                <a:gd name="T58" fmla="*/ 18 w 139"/>
                <a:gd name="T59" fmla="*/ 15 h 139"/>
                <a:gd name="T60" fmla="*/ 17 w 139"/>
                <a:gd name="T61" fmla="*/ 16 h 139"/>
                <a:gd name="T62" fmla="*/ 17 w 139"/>
                <a:gd name="T63" fmla="*/ 16 h 139"/>
                <a:gd name="T64" fmla="*/ 8 w 139"/>
                <a:gd name="T65" fmla="*/ 14 h 139"/>
                <a:gd name="T66" fmla="*/ 4 w 139"/>
                <a:gd name="T67" fmla="*/ 12 h 139"/>
                <a:gd name="T68" fmla="*/ 4 w 139"/>
                <a:gd name="T69" fmla="*/ 11 h 139"/>
                <a:gd name="T70" fmla="*/ 2 w 139"/>
                <a:gd name="T71" fmla="*/ 10 h 139"/>
                <a:gd name="T72" fmla="*/ 1 w 139"/>
                <a:gd name="T73" fmla="*/ 9 h 139"/>
                <a:gd name="T74" fmla="*/ 1 w 139"/>
                <a:gd name="T75" fmla="*/ 9 h 139"/>
                <a:gd name="T76" fmla="*/ 2 w 139"/>
                <a:gd name="T77" fmla="*/ 9 h 139"/>
                <a:gd name="T78" fmla="*/ 2 w 139"/>
                <a:gd name="T79" fmla="*/ 8 h 139"/>
                <a:gd name="T80" fmla="*/ 1 w 139"/>
                <a:gd name="T81" fmla="*/ 7 h 139"/>
                <a:gd name="T82" fmla="*/ 1 w 139"/>
                <a:gd name="T83" fmla="*/ 6 h 139"/>
                <a:gd name="T84" fmla="*/ 0 w 139"/>
                <a:gd name="T85" fmla="*/ 6 h 139"/>
                <a:gd name="T86" fmla="*/ 1 w 139"/>
                <a:gd name="T87" fmla="*/ 5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9"/>
                <a:gd name="T133" fmla="*/ 0 h 139"/>
                <a:gd name="T134" fmla="*/ 139 w 139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9" h="139">
                  <a:moveTo>
                    <a:pt x="2" y="42"/>
                  </a:moveTo>
                  <a:lnTo>
                    <a:pt x="7" y="44"/>
                  </a:lnTo>
                  <a:lnTo>
                    <a:pt x="14" y="43"/>
                  </a:lnTo>
                  <a:lnTo>
                    <a:pt x="16" y="41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6" y="31"/>
                  </a:lnTo>
                  <a:lnTo>
                    <a:pt x="26" y="27"/>
                  </a:lnTo>
                  <a:lnTo>
                    <a:pt x="31" y="25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0" y="6"/>
                  </a:lnTo>
                  <a:lnTo>
                    <a:pt x="48" y="5"/>
                  </a:lnTo>
                  <a:lnTo>
                    <a:pt x="51" y="7"/>
                  </a:lnTo>
                  <a:lnTo>
                    <a:pt x="63" y="5"/>
                  </a:lnTo>
                  <a:lnTo>
                    <a:pt x="64" y="0"/>
                  </a:lnTo>
                  <a:lnTo>
                    <a:pt x="96" y="2"/>
                  </a:lnTo>
                  <a:lnTo>
                    <a:pt x="99" y="8"/>
                  </a:lnTo>
                  <a:lnTo>
                    <a:pt x="104" y="10"/>
                  </a:lnTo>
                  <a:lnTo>
                    <a:pt x="107" y="15"/>
                  </a:lnTo>
                  <a:lnTo>
                    <a:pt x="111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9" y="29"/>
                  </a:lnTo>
                  <a:lnTo>
                    <a:pt x="121" y="30"/>
                  </a:lnTo>
                  <a:lnTo>
                    <a:pt x="121" y="32"/>
                  </a:lnTo>
                  <a:lnTo>
                    <a:pt x="120" y="35"/>
                  </a:lnTo>
                  <a:lnTo>
                    <a:pt x="121" y="38"/>
                  </a:lnTo>
                  <a:lnTo>
                    <a:pt x="120" y="39"/>
                  </a:lnTo>
                  <a:lnTo>
                    <a:pt x="121" y="43"/>
                  </a:lnTo>
                  <a:lnTo>
                    <a:pt x="122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9" y="59"/>
                  </a:lnTo>
                  <a:lnTo>
                    <a:pt x="128" y="60"/>
                  </a:lnTo>
                  <a:lnTo>
                    <a:pt x="124" y="61"/>
                  </a:lnTo>
                  <a:lnTo>
                    <a:pt x="120" y="76"/>
                  </a:lnTo>
                  <a:lnTo>
                    <a:pt x="120" y="78"/>
                  </a:lnTo>
                  <a:lnTo>
                    <a:pt x="130" y="74"/>
                  </a:lnTo>
                  <a:lnTo>
                    <a:pt x="135" y="70"/>
                  </a:lnTo>
                  <a:lnTo>
                    <a:pt x="136" y="70"/>
                  </a:lnTo>
                  <a:lnTo>
                    <a:pt x="137" y="72"/>
                  </a:lnTo>
                  <a:lnTo>
                    <a:pt x="136" y="79"/>
                  </a:lnTo>
                  <a:lnTo>
                    <a:pt x="139" y="82"/>
                  </a:lnTo>
                  <a:lnTo>
                    <a:pt x="139" y="83"/>
                  </a:lnTo>
                  <a:lnTo>
                    <a:pt x="131" y="84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5" y="104"/>
                  </a:lnTo>
                  <a:lnTo>
                    <a:pt x="122" y="104"/>
                  </a:lnTo>
                  <a:lnTo>
                    <a:pt x="120" y="108"/>
                  </a:lnTo>
                  <a:lnTo>
                    <a:pt x="117" y="109"/>
                  </a:lnTo>
                  <a:lnTo>
                    <a:pt x="114" y="114"/>
                  </a:lnTo>
                  <a:lnTo>
                    <a:pt x="109" y="115"/>
                  </a:lnTo>
                  <a:lnTo>
                    <a:pt x="98" y="125"/>
                  </a:lnTo>
                  <a:lnTo>
                    <a:pt x="94" y="125"/>
                  </a:lnTo>
                  <a:lnTo>
                    <a:pt x="93" y="127"/>
                  </a:lnTo>
                  <a:lnTo>
                    <a:pt x="93" y="131"/>
                  </a:lnTo>
                  <a:lnTo>
                    <a:pt x="91" y="132"/>
                  </a:lnTo>
                  <a:lnTo>
                    <a:pt x="90" y="137"/>
                  </a:lnTo>
                  <a:lnTo>
                    <a:pt x="86" y="139"/>
                  </a:lnTo>
                  <a:lnTo>
                    <a:pt x="85" y="139"/>
                  </a:lnTo>
                  <a:lnTo>
                    <a:pt x="43" y="122"/>
                  </a:lnTo>
                  <a:lnTo>
                    <a:pt x="42" y="117"/>
                  </a:lnTo>
                  <a:lnTo>
                    <a:pt x="39" y="113"/>
                  </a:lnTo>
                  <a:lnTo>
                    <a:pt x="19" y="100"/>
                  </a:lnTo>
                  <a:lnTo>
                    <a:pt x="20" y="94"/>
                  </a:lnTo>
                  <a:lnTo>
                    <a:pt x="18" y="92"/>
                  </a:lnTo>
                  <a:lnTo>
                    <a:pt x="18" y="89"/>
                  </a:lnTo>
                  <a:lnTo>
                    <a:pt x="14" y="86"/>
                  </a:lnTo>
                  <a:lnTo>
                    <a:pt x="8" y="85"/>
                  </a:lnTo>
                  <a:lnTo>
                    <a:pt x="4" y="78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9" y="70"/>
                  </a:lnTo>
                  <a:lnTo>
                    <a:pt x="6" y="69"/>
                  </a:lnTo>
                  <a:lnTo>
                    <a:pt x="4" y="66"/>
                  </a:lnTo>
                  <a:lnTo>
                    <a:pt x="5" y="60"/>
                  </a:lnTo>
                  <a:lnTo>
                    <a:pt x="4" y="55"/>
                  </a:lnTo>
                  <a:lnTo>
                    <a:pt x="3" y="53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2" y="4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8" name="Freeform 126"/>
            <p:cNvSpPr>
              <a:spLocks/>
            </p:cNvSpPr>
            <p:nvPr/>
          </p:nvSpPr>
          <p:spPr bwMode="auto">
            <a:xfrm>
              <a:off x="2532320" y="2731552"/>
              <a:ext cx="172636" cy="137297"/>
            </a:xfrm>
            <a:custGeom>
              <a:avLst/>
              <a:gdLst>
                <a:gd name="T0" fmla="*/ 1 w 139"/>
                <a:gd name="T1" fmla="*/ 5 h 139"/>
                <a:gd name="T2" fmla="*/ 3 w 139"/>
                <a:gd name="T3" fmla="*/ 5 h 139"/>
                <a:gd name="T4" fmla="*/ 4 w 139"/>
                <a:gd name="T5" fmla="*/ 4 h 139"/>
                <a:gd name="T6" fmla="*/ 5 w 139"/>
                <a:gd name="T7" fmla="*/ 3 h 139"/>
                <a:gd name="T8" fmla="*/ 7 w 139"/>
                <a:gd name="T9" fmla="*/ 2 h 139"/>
                <a:gd name="T10" fmla="*/ 8 w 139"/>
                <a:gd name="T11" fmla="*/ 1 h 139"/>
                <a:gd name="T12" fmla="*/ 10 w 139"/>
                <a:gd name="T13" fmla="*/ 1 h 139"/>
                <a:gd name="T14" fmla="*/ 12 w 139"/>
                <a:gd name="T15" fmla="*/ 0 h 139"/>
                <a:gd name="T16" fmla="*/ 19 w 139"/>
                <a:gd name="T17" fmla="*/ 1 h 139"/>
                <a:gd name="T18" fmla="*/ 21 w 139"/>
                <a:gd name="T19" fmla="*/ 2 h 139"/>
                <a:gd name="T20" fmla="*/ 21 w 139"/>
                <a:gd name="T21" fmla="*/ 3 h 139"/>
                <a:gd name="T22" fmla="*/ 21 w 139"/>
                <a:gd name="T23" fmla="*/ 3 h 139"/>
                <a:gd name="T24" fmla="*/ 23 w 139"/>
                <a:gd name="T25" fmla="*/ 3 h 139"/>
                <a:gd name="T26" fmla="*/ 23 w 139"/>
                <a:gd name="T27" fmla="*/ 4 h 139"/>
                <a:gd name="T28" fmla="*/ 23 w 139"/>
                <a:gd name="T29" fmla="*/ 5 h 139"/>
                <a:gd name="T30" fmla="*/ 23 w 139"/>
                <a:gd name="T31" fmla="*/ 5 h 139"/>
                <a:gd name="T32" fmla="*/ 24 w 139"/>
                <a:gd name="T33" fmla="*/ 6 h 139"/>
                <a:gd name="T34" fmla="*/ 25 w 139"/>
                <a:gd name="T35" fmla="*/ 7 h 139"/>
                <a:gd name="T36" fmla="*/ 24 w 139"/>
                <a:gd name="T37" fmla="*/ 7 h 139"/>
                <a:gd name="T38" fmla="*/ 23 w 139"/>
                <a:gd name="T39" fmla="*/ 9 h 139"/>
                <a:gd name="T40" fmla="*/ 26 w 139"/>
                <a:gd name="T41" fmla="*/ 8 h 139"/>
                <a:gd name="T42" fmla="*/ 26 w 139"/>
                <a:gd name="T43" fmla="*/ 9 h 139"/>
                <a:gd name="T44" fmla="*/ 27 w 139"/>
                <a:gd name="T45" fmla="*/ 10 h 139"/>
                <a:gd name="T46" fmla="*/ 25 w 139"/>
                <a:gd name="T47" fmla="*/ 10 h 139"/>
                <a:gd name="T48" fmla="*/ 24 w 139"/>
                <a:gd name="T49" fmla="*/ 11 h 139"/>
                <a:gd name="T50" fmla="*/ 24 w 139"/>
                <a:gd name="T51" fmla="*/ 12 h 139"/>
                <a:gd name="T52" fmla="*/ 23 w 139"/>
                <a:gd name="T53" fmla="*/ 13 h 139"/>
                <a:gd name="T54" fmla="*/ 21 w 139"/>
                <a:gd name="T55" fmla="*/ 13 h 139"/>
                <a:gd name="T56" fmla="*/ 18 w 139"/>
                <a:gd name="T57" fmla="*/ 15 h 139"/>
                <a:gd name="T58" fmla="*/ 18 w 139"/>
                <a:gd name="T59" fmla="*/ 15 h 139"/>
                <a:gd name="T60" fmla="*/ 17 w 139"/>
                <a:gd name="T61" fmla="*/ 16 h 139"/>
                <a:gd name="T62" fmla="*/ 17 w 139"/>
                <a:gd name="T63" fmla="*/ 16 h 139"/>
                <a:gd name="T64" fmla="*/ 8 w 139"/>
                <a:gd name="T65" fmla="*/ 14 h 139"/>
                <a:gd name="T66" fmla="*/ 4 w 139"/>
                <a:gd name="T67" fmla="*/ 12 h 139"/>
                <a:gd name="T68" fmla="*/ 4 w 139"/>
                <a:gd name="T69" fmla="*/ 11 h 139"/>
                <a:gd name="T70" fmla="*/ 2 w 139"/>
                <a:gd name="T71" fmla="*/ 10 h 139"/>
                <a:gd name="T72" fmla="*/ 1 w 139"/>
                <a:gd name="T73" fmla="*/ 9 h 139"/>
                <a:gd name="T74" fmla="*/ 1 w 139"/>
                <a:gd name="T75" fmla="*/ 9 h 139"/>
                <a:gd name="T76" fmla="*/ 2 w 139"/>
                <a:gd name="T77" fmla="*/ 9 h 139"/>
                <a:gd name="T78" fmla="*/ 2 w 139"/>
                <a:gd name="T79" fmla="*/ 8 h 139"/>
                <a:gd name="T80" fmla="*/ 1 w 139"/>
                <a:gd name="T81" fmla="*/ 7 h 139"/>
                <a:gd name="T82" fmla="*/ 1 w 139"/>
                <a:gd name="T83" fmla="*/ 6 h 139"/>
                <a:gd name="T84" fmla="*/ 0 w 139"/>
                <a:gd name="T85" fmla="*/ 6 h 139"/>
                <a:gd name="T86" fmla="*/ 1 w 139"/>
                <a:gd name="T87" fmla="*/ 5 h 13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39"/>
                <a:gd name="T133" fmla="*/ 0 h 139"/>
                <a:gd name="T134" fmla="*/ 139 w 139"/>
                <a:gd name="T135" fmla="*/ 139 h 13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39" h="139">
                  <a:moveTo>
                    <a:pt x="2" y="42"/>
                  </a:moveTo>
                  <a:lnTo>
                    <a:pt x="7" y="44"/>
                  </a:lnTo>
                  <a:lnTo>
                    <a:pt x="14" y="43"/>
                  </a:lnTo>
                  <a:lnTo>
                    <a:pt x="16" y="41"/>
                  </a:lnTo>
                  <a:lnTo>
                    <a:pt x="20" y="34"/>
                  </a:lnTo>
                  <a:lnTo>
                    <a:pt x="24" y="32"/>
                  </a:lnTo>
                  <a:lnTo>
                    <a:pt x="26" y="31"/>
                  </a:lnTo>
                  <a:lnTo>
                    <a:pt x="26" y="27"/>
                  </a:lnTo>
                  <a:lnTo>
                    <a:pt x="31" y="25"/>
                  </a:lnTo>
                  <a:lnTo>
                    <a:pt x="38" y="14"/>
                  </a:lnTo>
                  <a:lnTo>
                    <a:pt x="38" y="7"/>
                  </a:lnTo>
                  <a:lnTo>
                    <a:pt x="40" y="6"/>
                  </a:lnTo>
                  <a:lnTo>
                    <a:pt x="48" y="5"/>
                  </a:lnTo>
                  <a:lnTo>
                    <a:pt x="51" y="7"/>
                  </a:lnTo>
                  <a:lnTo>
                    <a:pt x="63" y="5"/>
                  </a:lnTo>
                  <a:lnTo>
                    <a:pt x="64" y="0"/>
                  </a:lnTo>
                  <a:lnTo>
                    <a:pt x="96" y="2"/>
                  </a:lnTo>
                  <a:lnTo>
                    <a:pt x="99" y="8"/>
                  </a:lnTo>
                  <a:lnTo>
                    <a:pt x="104" y="10"/>
                  </a:lnTo>
                  <a:lnTo>
                    <a:pt x="107" y="15"/>
                  </a:lnTo>
                  <a:lnTo>
                    <a:pt x="111" y="18"/>
                  </a:lnTo>
                  <a:lnTo>
                    <a:pt x="112" y="20"/>
                  </a:lnTo>
                  <a:lnTo>
                    <a:pt x="114" y="22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9" y="29"/>
                  </a:lnTo>
                  <a:lnTo>
                    <a:pt x="121" y="30"/>
                  </a:lnTo>
                  <a:lnTo>
                    <a:pt x="121" y="32"/>
                  </a:lnTo>
                  <a:lnTo>
                    <a:pt x="120" y="35"/>
                  </a:lnTo>
                  <a:lnTo>
                    <a:pt x="121" y="38"/>
                  </a:lnTo>
                  <a:lnTo>
                    <a:pt x="120" y="39"/>
                  </a:lnTo>
                  <a:lnTo>
                    <a:pt x="121" y="43"/>
                  </a:lnTo>
                  <a:lnTo>
                    <a:pt x="122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9" y="59"/>
                  </a:lnTo>
                  <a:lnTo>
                    <a:pt x="128" y="60"/>
                  </a:lnTo>
                  <a:lnTo>
                    <a:pt x="124" y="61"/>
                  </a:lnTo>
                  <a:lnTo>
                    <a:pt x="120" y="76"/>
                  </a:lnTo>
                  <a:lnTo>
                    <a:pt x="120" y="78"/>
                  </a:lnTo>
                  <a:lnTo>
                    <a:pt x="130" y="74"/>
                  </a:lnTo>
                  <a:lnTo>
                    <a:pt x="135" y="70"/>
                  </a:lnTo>
                  <a:lnTo>
                    <a:pt x="136" y="70"/>
                  </a:lnTo>
                  <a:lnTo>
                    <a:pt x="137" y="72"/>
                  </a:lnTo>
                  <a:lnTo>
                    <a:pt x="136" y="79"/>
                  </a:lnTo>
                  <a:lnTo>
                    <a:pt x="139" y="82"/>
                  </a:lnTo>
                  <a:lnTo>
                    <a:pt x="139" y="83"/>
                  </a:lnTo>
                  <a:lnTo>
                    <a:pt x="131" y="84"/>
                  </a:lnTo>
                  <a:lnTo>
                    <a:pt x="128" y="88"/>
                  </a:lnTo>
                  <a:lnTo>
                    <a:pt x="125" y="90"/>
                  </a:lnTo>
                  <a:lnTo>
                    <a:pt x="125" y="104"/>
                  </a:lnTo>
                  <a:lnTo>
                    <a:pt x="122" y="104"/>
                  </a:lnTo>
                  <a:lnTo>
                    <a:pt x="120" y="108"/>
                  </a:lnTo>
                  <a:lnTo>
                    <a:pt x="117" y="109"/>
                  </a:lnTo>
                  <a:lnTo>
                    <a:pt x="114" y="114"/>
                  </a:lnTo>
                  <a:lnTo>
                    <a:pt x="109" y="115"/>
                  </a:lnTo>
                  <a:lnTo>
                    <a:pt x="98" y="125"/>
                  </a:lnTo>
                  <a:lnTo>
                    <a:pt x="94" y="125"/>
                  </a:lnTo>
                  <a:lnTo>
                    <a:pt x="93" y="127"/>
                  </a:lnTo>
                  <a:lnTo>
                    <a:pt x="93" y="131"/>
                  </a:lnTo>
                  <a:lnTo>
                    <a:pt x="91" y="132"/>
                  </a:lnTo>
                  <a:lnTo>
                    <a:pt x="90" y="137"/>
                  </a:lnTo>
                  <a:lnTo>
                    <a:pt x="86" y="139"/>
                  </a:lnTo>
                  <a:lnTo>
                    <a:pt x="85" y="139"/>
                  </a:lnTo>
                  <a:lnTo>
                    <a:pt x="43" y="122"/>
                  </a:lnTo>
                  <a:lnTo>
                    <a:pt x="42" y="117"/>
                  </a:lnTo>
                  <a:lnTo>
                    <a:pt x="39" y="113"/>
                  </a:lnTo>
                  <a:lnTo>
                    <a:pt x="19" y="100"/>
                  </a:lnTo>
                  <a:lnTo>
                    <a:pt x="20" y="94"/>
                  </a:lnTo>
                  <a:lnTo>
                    <a:pt x="18" y="92"/>
                  </a:lnTo>
                  <a:lnTo>
                    <a:pt x="18" y="89"/>
                  </a:lnTo>
                  <a:lnTo>
                    <a:pt x="14" y="86"/>
                  </a:lnTo>
                  <a:lnTo>
                    <a:pt x="8" y="85"/>
                  </a:lnTo>
                  <a:lnTo>
                    <a:pt x="4" y="78"/>
                  </a:lnTo>
                  <a:lnTo>
                    <a:pt x="4" y="73"/>
                  </a:lnTo>
                  <a:lnTo>
                    <a:pt x="6" y="72"/>
                  </a:lnTo>
                  <a:lnTo>
                    <a:pt x="7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9" y="70"/>
                  </a:lnTo>
                  <a:lnTo>
                    <a:pt x="6" y="69"/>
                  </a:lnTo>
                  <a:lnTo>
                    <a:pt x="4" y="66"/>
                  </a:lnTo>
                  <a:lnTo>
                    <a:pt x="5" y="60"/>
                  </a:lnTo>
                  <a:lnTo>
                    <a:pt x="4" y="55"/>
                  </a:lnTo>
                  <a:lnTo>
                    <a:pt x="3" y="53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2" y="4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19" name="Freeform 127"/>
            <p:cNvSpPr>
              <a:spLocks/>
            </p:cNvSpPr>
            <p:nvPr/>
          </p:nvSpPr>
          <p:spPr bwMode="auto">
            <a:xfrm>
              <a:off x="2798385" y="2694447"/>
              <a:ext cx="337149" cy="295003"/>
            </a:xfrm>
            <a:custGeom>
              <a:avLst/>
              <a:gdLst>
                <a:gd name="T0" fmla="*/ 33 w 282"/>
                <a:gd name="T1" fmla="*/ 31 h 297"/>
                <a:gd name="T2" fmla="*/ 44 w 282"/>
                <a:gd name="T3" fmla="*/ 31 h 297"/>
                <a:gd name="T4" fmla="*/ 44 w 282"/>
                <a:gd name="T5" fmla="*/ 28 h 297"/>
                <a:gd name="T6" fmla="*/ 41 w 282"/>
                <a:gd name="T7" fmla="*/ 21 h 297"/>
                <a:gd name="T8" fmla="*/ 43 w 282"/>
                <a:gd name="T9" fmla="*/ 18 h 297"/>
                <a:gd name="T10" fmla="*/ 46 w 282"/>
                <a:gd name="T11" fmla="*/ 14 h 297"/>
                <a:gd name="T12" fmla="*/ 45 w 282"/>
                <a:gd name="T13" fmla="*/ 9 h 297"/>
                <a:gd name="T14" fmla="*/ 44 w 282"/>
                <a:gd name="T15" fmla="*/ 7 h 297"/>
                <a:gd name="T16" fmla="*/ 44 w 282"/>
                <a:gd name="T17" fmla="*/ 7 h 297"/>
                <a:gd name="T18" fmla="*/ 41 w 282"/>
                <a:gd name="T19" fmla="*/ 5 h 297"/>
                <a:gd name="T20" fmla="*/ 32 w 282"/>
                <a:gd name="T21" fmla="*/ 5 h 297"/>
                <a:gd name="T22" fmla="*/ 31 w 282"/>
                <a:gd name="T23" fmla="*/ 5 h 297"/>
                <a:gd name="T24" fmla="*/ 29 w 282"/>
                <a:gd name="T25" fmla="*/ 6 h 297"/>
                <a:gd name="T26" fmla="*/ 28 w 282"/>
                <a:gd name="T27" fmla="*/ 5 h 297"/>
                <a:gd name="T28" fmla="*/ 26 w 282"/>
                <a:gd name="T29" fmla="*/ 3 h 297"/>
                <a:gd name="T30" fmla="*/ 26 w 282"/>
                <a:gd name="T31" fmla="*/ 3 h 297"/>
                <a:gd name="T32" fmla="*/ 23 w 282"/>
                <a:gd name="T33" fmla="*/ 2 h 297"/>
                <a:gd name="T34" fmla="*/ 20 w 282"/>
                <a:gd name="T35" fmla="*/ 3 h 297"/>
                <a:gd name="T36" fmla="*/ 18 w 282"/>
                <a:gd name="T37" fmla="*/ 2 h 297"/>
                <a:gd name="T38" fmla="*/ 17 w 282"/>
                <a:gd name="T39" fmla="*/ 0 h 297"/>
                <a:gd name="T40" fmla="*/ 15 w 282"/>
                <a:gd name="T41" fmla="*/ 1 h 297"/>
                <a:gd name="T42" fmla="*/ 14 w 282"/>
                <a:gd name="T43" fmla="*/ 2 h 297"/>
                <a:gd name="T44" fmla="*/ 12 w 282"/>
                <a:gd name="T45" fmla="*/ 3 h 297"/>
                <a:gd name="T46" fmla="*/ 11 w 282"/>
                <a:gd name="T47" fmla="*/ 3 h 297"/>
                <a:gd name="T48" fmla="*/ 9 w 282"/>
                <a:gd name="T49" fmla="*/ 3 h 297"/>
                <a:gd name="T50" fmla="*/ 8 w 282"/>
                <a:gd name="T51" fmla="*/ 2 h 297"/>
                <a:gd name="T52" fmla="*/ 5 w 282"/>
                <a:gd name="T53" fmla="*/ 2 h 297"/>
                <a:gd name="T54" fmla="*/ 5 w 282"/>
                <a:gd name="T55" fmla="*/ 3 h 297"/>
                <a:gd name="T56" fmla="*/ 3 w 282"/>
                <a:gd name="T57" fmla="*/ 7 h 297"/>
                <a:gd name="T58" fmla="*/ 5 w 282"/>
                <a:gd name="T59" fmla="*/ 9 h 297"/>
                <a:gd name="T60" fmla="*/ 5 w 282"/>
                <a:gd name="T61" fmla="*/ 10 h 297"/>
                <a:gd name="T62" fmla="*/ 5 w 282"/>
                <a:gd name="T63" fmla="*/ 11 h 297"/>
                <a:gd name="T64" fmla="*/ 6 w 282"/>
                <a:gd name="T65" fmla="*/ 13 h 297"/>
                <a:gd name="T66" fmla="*/ 5 w 282"/>
                <a:gd name="T67" fmla="*/ 13 h 297"/>
                <a:gd name="T68" fmla="*/ 2 w 282"/>
                <a:gd name="T69" fmla="*/ 13 h 297"/>
                <a:gd name="T70" fmla="*/ 2 w 282"/>
                <a:gd name="T71" fmla="*/ 14 h 297"/>
                <a:gd name="T72" fmla="*/ 4 w 282"/>
                <a:gd name="T73" fmla="*/ 14 h 297"/>
                <a:gd name="T74" fmla="*/ 4 w 282"/>
                <a:gd name="T75" fmla="*/ 17 h 297"/>
                <a:gd name="T76" fmla="*/ 1 w 282"/>
                <a:gd name="T77" fmla="*/ 18 h 297"/>
                <a:gd name="T78" fmla="*/ 2 w 282"/>
                <a:gd name="T79" fmla="*/ 20 h 297"/>
                <a:gd name="T80" fmla="*/ 0 w 282"/>
                <a:gd name="T81" fmla="*/ 23 h 297"/>
                <a:gd name="T82" fmla="*/ 1 w 282"/>
                <a:gd name="T83" fmla="*/ 24 h 297"/>
                <a:gd name="T84" fmla="*/ 3 w 282"/>
                <a:gd name="T85" fmla="*/ 25 h 297"/>
                <a:gd name="T86" fmla="*/ 5 w 282"/>
                <a:gd name="T87" fmla="*/ 26 h 297"/>
                <a:gd name="T88" fmla="*/ 8 w 282"/>
                <a:gd name="T89" fmla="*/ 27 h 297"/>
                <a:gd name="T90" fmla="*/ 9 w 282"/>
                <a:gd name="T91" fmla="*/ 29 h 297"/>
                <a:gd name="T92" fmla="*/ 8 w 282"/>
                <a:gd name="T93" fmla="*/ 30 h 297"/>
                <a:gd name="T94" fmla="*/ 8 w 282"/>
                <a:gd name="T95" fmla="*/ 31 h 29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2"/>
                <a:gd name="T145" fmla="*/ 0 h 297"/>
                <a:gd name="T146" fmla="*/ 282 w 282"/>
                <a:gd name="T147" fmla="*/ 297 h 29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2" h="297">
                  <a:moveTo>
                    <a:pt x="46" y="292"/>
                  </a:moveTo>
                  <a:lnTo>
                    <a:pt x="47" y="296"/>
                  </a:lnTo>
                  <a:lnTo>
                    <a:pt x="61" y="297"/>
                  </a:lnTo>
                  <a:lnTo>
                    <a:pt x="200" y="257"/>
                  </a:lnTo>
                  <a:lnTo>
                    <a:pt x="249" y="265"/>
                  </a:lnTo>
                  <a:lnTo>
                    <a:pt x="254" y="258"/>
                  </a:lnTo>
                  <a:lnTo>
                    <a:pt x="256" y="257"/>
                  </a:lnTo>
                  <a:lnTo>
                    <a:pt x="261" y="257"/>
                  </a:lnTo>
                  <a:lnTo>
                    <a:pt x="264" y="258"/>
                  </a:lnTo>
                  <a:lnTo>
                    <a:pt x="269" y="258"/>
                  </a:lnTo>
                  <a:lnTo>
                    <a:pt x="267" y="236"/>
                  </a:lnTo>
                  <a:lnTo>
                    <a:pt x="266" y="235"/>
                  </a:lnTo>
                  <a:lnTo>
                    <a:pt x="259" y="234"/>
                  </a:lnTo>
                  <a:lnTo>
                    <a:pt x="256" y="230"/>
                  </a:lnTo>
                  <a:lnTo>
                    <a:pt x="247" y="200"/>
                  </a:lnTo>
                  <a:lnTo>
                    <a:pt x="248" y="178"/>
                  </a:lnTo>
                  <a:lnTo>
                    <a:pt x="251" y="173"/>
                  </a:lnTo>
                  <a:lnTo>
                    <a:pt x="256" y="167"/>
                  </a:lnTo>
                  <a:lnTo>
                    <a:pt x="258" y="162"/>
                  </a:lnTo>
                  <a:lnTo>
                    <a:pt x="260" y="146"/>
                  </a:lnTo>
                  <a:lnTo>
                    <a:pt x="268" y="127"/>
                  </a:lnTo>
                  <a:lnTo>
                    <a:pt x="271" y="126"/>
                  </a:lnTo>
                  <a:lnTo>
                    <a:pt x="273" y="122"/>
                  </a:lnTo>
                  <a:lnTo>
                    <a:pt x="276" y="121"/>
                  </a:lnTo>
                  <a:lnTo>
                    <a:pt x="276" y="116"/>
                  </a:lnTo>
                  <a:lnTo>
                    <a:pt x="282" y="116"/>
                  </a:lnTo>
                  <a:lnTo>
                    <a:pt x="272" y="80"/>
                  </a:lnTo>
                  <a:lnTo>
                    <a:pt x="270" y="77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71" y="70"/>
                  </a:lnTo>
                  <a:lnTo>
                    <a:pt x="269" y="64"/>
                  </a:lnTo>
                  <a:lnTo>
                    <a:pt x="271" y="62"/>
                  </a:lnTo>
                  <a:lnTo>
                    <a:pt x="270" y="57"/>
                  </a:lnTo>
                  <a:lnTo>
                    <a:pt x="268" y="59"/>
                  </a:lnTo>
                  <a:lnTo>
                    <a:pt x="263" y="59"/>
                  </a:lnTo>
                  <a:lnTo>
                    <a:pt x="261" y="57"/>
                  </a:lnTo>
                  <a:lnTo>
                    <a:pt x="256" y="46"/>
                  </a:lnTo>
                  <a:lnTo>
                    <a:pt x="252" y="45"/>
                  </a:lnTo>
                  <a:lnTo>
                    <a:pt x="247" y="37"/>
                  </a:lnTo>
                  <a:lnTo>
                    <a:pt x="246" y="37"/>
                  </a:lnTo>
                  <a:lnTo>
                    <a:pt x="241" y="41"/>
                  </a:lnTo>
                  <a:lnTo>
                    <a:pt x="226" y="37"/>
                  </a:lnTo>
                  <a:lnTo>
                    <a:pt x="197" y="45"/>
                  </a:lnTo>
                  <a:lnTo>
                    <a:pt x="194" y="50"/>
                  </a:lnTo>
                  <a:lnTo>
                    <a:pt x="192" y="52"/>
                  </a:lnTo>
                  <a:lnTo>
                    <a:pt x="186" y="49"/>
                  </a:lnTo>
                  <a:lnTo>
                    <a:pt x="184" y="46"/>
                  </a:lnTo>
                  <a:lnTo>
                    <a:pt x="183" y="46"/>
                  </a:lnTo>
                  <a:lnTo>
                    <a:pt x="182" y="48"/>
                  </a:lnTo>
                  <a:lnTo>
                    <a:pt x="178" y="48"/>
                  </a:lnTo>
                  <a:lnTo>
                    <a:pt x="177" y="49"/>
                  </a:lnTo>
                  <a:lnTo>
                    <a:pt x="171" y="46"/>
                  </a:lnTo>
                  <a:lnTo>
                    <a:pt x="171" y="43"/>
                  </a:lnTo>
                  <a:lnTo>
                    <a:pt x="168" y="40"/>
                  </a:lnTo>
                  <a:lnTo>
                    <a:pt x="165" y="40"/>
                  </a:lnTo>
                  <a:lnTo>
                    <a:pt x="165" y="35"/>
                  </a:lnTo>
                  <a:lnTo>
                    <a:pt x="164" y="33"/>
                  </a:lnTo>
                  <a:lnTo>
                    <a:pt x="162" y="32"/>
                  </a:lnTo>
                  <a:lnTo>
                    <a:pt x="159" y="27"/>
                  </a:lnTo>
                  <a:lnTo>
                    <a:pt x="157" y="26"/>
                  </a:lnTo>
                  <a:lnTo>
                    <a:pt x="156" y="25"/>
                  </a:lnTo>
                  <a:lnTo>
                    <a:pt x="156" y="21"/>
                  </a:lnTo>
                  <a:lnTo>
                    <a:pt x="155" y="20"/>
                  </a:lnTo>
                  <a:lnTo>
                    <a:pt x="154" y="19"/>
                  </a:lnTo>
                  <a:lnTo>
                    <a:pt x="143" y="21"/>
                  </a:lnTo>
                  <a:lnTo>
                    <a:pt x="142" y="20"/>
                  </a:lnTo>
                  <a:lnTo>
                    <a:pt x="139" y="15"/>
                  </a:lnTo>
                  <a:lnTo>
                    <a:pt x="136" y="14"/>
                  </a:lnTo>
                  <a:lnTo>
                    <a:pt x="125" y="15"/>
                  </a:lnTo>
                  <a:lnTo>
                    <a:pt x="122" y="20"/>
                  </a:lnTo>
                  <a:lnTo>
                    <a:pt x="119" y="20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9" y="21"/>
                  </a:lnTo>
                  <a:lnTo>
                    <a:pt x="108" y="12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7" y="3"/>
                  </a:lnTo>
                  <a:lnTo>
                    <a:pt x="105" y="0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6"/>
                  </a:lnTo>
                  <a:lnTo>
                    <a:pt x="86" y="18"/>
                  </a:lnTo>
                  <a:lnTo>
                    <a:pt x="76" y="18"/>
                  </a:lnTo>
                  <a:lnTo>
                    <a:pt x="71" y="20"/>
                  </a:lnTo>
                  <a:lnTo>
                    <a:pt x="71" y="23"/>
                  </a:lnTo>
                  <a:lnTo>
                    <a:pt x="69" y="27"/>
                  </a:lnTo>
                  <a:lnTo>
                    <a:pt x="66" y="27"/>
                  </a:lnTo>
                  <a:lnTo>
                    <a:pt x="63" y="25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2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3" y="18"/>
                  </a:lnTo>
                  <a:lnTo>
                    <a:pt x="49" y="14"/>
                  </a:lnTo>
                  <a:lnTo>
                    <a:pt x="46" y="13"/>
                  </a:lnTo>
                  <a:lnTo>
                    <a:pt x="43" y="16"/>
                  </a:lnTo>
                  <a:lnTo>
                    <a:pt x="39" y="15"/>
                  </a:lnTo>
                  <a:lnTo>
                    <a:pt x="37" y="16"/>
                  </a:lnTo>
                  <a:lnTo>
                    <a:pt x="35" y="18"/>
                  </a:lnTo>
                  <a:lnTo>
                    <a:pt x="34" y="21"/>
                  </a:lnTo>
                  <a:lnTo>
                    <a:pt x="32" y="24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5"/>
                  </a:lnTo>
                  <a:lnTo>
                    <a:pt x="18" y="38"/>
                  </a:lnTo>
                  <a:lnTo>
                    <a:pt x="18" y="59"/>
                  </a:lnTo>
                  <a:lnTo>
                    <a:pt x="20" y="60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0" y="75"/>
                  </a:lnTo>
                  <a:lnTo>
                    <a:pt x="33" y="75"/>
                  </a:lnTo>
                  <a:lnTo>
                    <a:pt x="36" y="79"/>
                  </a:lnTo>
                  <a:lnTo>
                    <a:pt x="36" y="80"/>
                  </a:lnTo>
                  <a:lnTo>
                    <a:pt x="34" y="81"/>
                  </a:lnTo>
                  <a:lnTo>
                    <a:pt x="32" y="85"/>
                  </a:lnTo>
                  <a:lnTo>
                    <a:pt x="29" y="92"/>
                  </a:lnTo>
                  <a:lnTo>
                    <a:pt x="31" y="91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6" y="97"/>
                  </a:lnTo>
                  <a:lnTo>
                    <a:pt x="39" y="101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6" y="108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8" y="105"/>
                  </a:lnTo>
                  <a:lnTo>
                    <a:pt x="21" y="105"/>
                  </a:lnTo>
                  <a:lnTo>
                    <a:pt x="13" y="108"/>
                  </a:lnTo>
                  <a:lnTo>
                    <a:pt x="15" y="109"/>
                  </a:lnTo>
                  <a:lnTo>
                    <a:pt x="16" y="113"/>
                  </a:lnTo>
                  <a:lnTo>
                    <a:pt x="14" y="117"/>
                  </a:lnTo>
                  <a:lnTo>
                    <a:pt x="15" y="118"/>
                  </a:lnTo>
                  <a:lnTo>
                    <a:pt x="22" y="118"/>
                  </a:lnTo>
                  <a:lnTo>
                    <a:pt x="25" y="119"/>
                  </a:lnTo>
                  <a:lnTo>
                    <a:pt x="25" y="122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7" y="125"/>
                  </a:lnTo>
                  <a:lnTo>
                    <a:pt x="23" y="128"/>
                  </a:lnTo>
                  <a:lnTo>
                    <a:pt x="22" y="139"/>
                  </a:lnTo>
                  <a:lnTo>
                    <a:pt x="18" y="145"/>
                  </a:lnTo>
                  <a:lnTo>
                    <a:pt x="17" y="148"/>
                  </a:lnTo>
                  <a:lnTo>
                    <a:pt x="6" y="148"/>
                  </a:lnTo>
                  <a:lnTo>
                    <a:pt x="3" y="149"/>
                  </a:lnTo>
                  <a:lnTo>
                    <a:pt x="6" y="161"/>
                  </a:lnTo>
                  <a:lnTo>
                    <a:pt x="8" y="161"/>
                  </a:lnTo>
                  <a:lnTo>
                    <a:pt x="10" y="165"/>
                  </a:lnTo>
                  <a:lnTo>
                    <a:pt x="10" y="167"/>
                  </a:lnTo>
                  <a:lnTo>
                    <a:pt x="13" y="169"/>
                  </a:lnTo>
                  <a:lnTo>
                    <a:pt x="9" y="184"/>
                  </a:lnTo>
                  <a:lnTo>
                    <a:pt x="2" y="190"/>
                  </a:lnTo>
                  <a:lnTo>
                    <a:pt x="0" y="195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9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8" y="201"/>
                  </a:lnTo>
                  <a:lnTo>
                    <a:pt x="12" y="201"/>
                  </a:lnTo>
                  <a:lnTo>
                    <a:pt x="17" y="205"/>
                  </a:lnTo>
                  <a:lnTo>
                    <a:pt x="26" y="205"/>
                  </a:lnTo>
                  <a:lnTo>
                    <a:pt x="28" y="206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4" y="215"/>
                  </a:lnTo>
                  <a:lnTo>
                    <a:pt x="37" y="223"/>
                  </a:lnTo>
                  <a:lnTo>
                    <a:pt x="42" y="223"/>
                  </a:lnTo>
                  <a:lnTo>
                    <a:pt x="46" y="227"/>
                  </a:lnTo>
                  <a:lnTo>
                    <a:pt x="52" y="226"/>
                  </a:lnTo>
                  <a:lnTo>
                    <a:pt x="52" y="231"/>
                  </a:lnTo>
                  <a:lnTo>
                    <a:pt x="54" y="235"/>
                  </a:lnTo>
                  <a:lnTo>
                    <a:pt x="55" y="240"/>
                  </a:lnTo>
                  <a:lnTo>
                    <a:pt x="53" y="246"/>
                  </a:lnTo>
                  <a:lnTo>
                    <a:pt x="55" y="250"/>
                  </a:lnTo>
                  <a:lnTo>
                    <a:pt x="55" y="251"/>
                  </a:lnTo>
                  <a:lnTo>
                    <a:pt x="50" y="251"/>
                  </a:lnTo>
                  <a:lnTo>
                    <a:pt x="49" y="254"/>
                  </a:lnTo>
                  <a:lnTo>
                    <a:pt x="49" y="260"/>
                  </a:lnTo>
                  <a:lnTo>
                    <a:pt x="47" y="260"/>
                  </a:lnTo>
                  <a:lnTo>
                    <a:pt x="46" y="262"/>
                  </a:lnTo>
                  <a:lnTo>
                    <a:pt x="47" y="267"/>
                  </a:lnTo>
                  <a:lnTo>
                    <a:pt x="46" y="271"/>
                  </a:lnTo>
                  <a:lnTo>
                    <a:pt x="46" y="2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0" name="Freeform 128"/>
            <p:cNvSpPr>
              <a:spLocks/>
            </p:cNvSpPr>
            <p:nvPr/>
          </p:nvSpPr>
          <p:spPr bwMode="auto">
            <a:xfrm>
              <a:off x="2798385" y="2694447"/>
              <a:ext cx="337149" cy="295003"/>
            </a:xfrm>
            <a:custGeom>
              <a:avLst/>
              <a:gdLst>
                <a:gd name="T0" fmla="*/ 33 w 282"/>
                <a:gd name="T1" fmla="*/ 31 h 297"/>
                <a:gd name="T2" fmla="*/ 44 w 282"/>
                <a:gd name="T3" fmla="*/ 31 h 297"/>
                <a:gd name="T4" fmla="*/ 44 w 282"/>
                <a:gd name="T5" fmla="*/ 28 h 297"/>
                <a:gd name="T6" fmla="*/ 41 w 282"/>
                <a:gd name="T7" fmla="*/ 21 h 297"/>
                <a:gd name="T8" fmla="*/ 43 w 282"/>
                <a:gd name="T9" fmla="*/ 18 h 297"/>
                <a:gd name="T10" fmla="*/ 46 w 282"/>
                <a:gd name="T11" fmla="*/ 14 h 297"/>
                <a:gd name="T12" fmla="*/ 45 w 282"/>
                <a:gd name="T13" fmla="*/ 9 h 297"/>
                <a:gd name="T14" fmla="*/ 44 w 282"/>
                <a:gd name="T15" fmla="*/ 7 h 297"/>
                <a:gd name="T16" fmla="*/ 44 w 282"/>
                <a:gd name="T17" fmla="*/ 7 h 297"/>
                <a:gd name="T18" fmla="*/ 41 w 282"/>
                <a:gd name="T19" fmla="*/ 5 h 297"/>
                <a:gd name="T20" fmla="*/ 32 w 282"/>
                <a:gd name="T21" fmla="*/ 5 h 297"/>
                <a:gd name="T22" fmla="*/ 31 w 282"/>
                <a:gd name="T23" fmla="*/ 5 h 297"/>
                <a:gd name="T24" fmla="*/ 29 w 282"/>
                <a:gd name="T25" fmla="*/ 6 h 297"/>
                <a:gd name="T26" fmla="*/ 28 w 282"/>
                <a:gd name="T27" fmla="*/ 5 h 297"/>
                <a:gd name="T28" fmla="*/ 26 w 282"/>
                <a:gd name="T29" fmla="*/ 3 h 297"/>
                <a:gd name="T30" fmla="*/ 26 w 282"/>
                <a:gd name="T31" fmla="*/ 3 h 297"/>
                <a:gd name="T32" fmla="*/ 23 w 282"/>
                <a:gd name="T33" fmla="*/ 2 h 297"/>
                <a:gd name="T34" fmla="*/ 20 w 282"/>
                <a:gd name="T35" fmla="*/ 3 h 297"/>
                <a:gd name="T36" fmla="*/ 18 w 282"/>
                <a:gd name="T37" fmla="*/ 2 h 297"/>
                <a:gd name="T38" fmla="*/ 17 w 282"/>
                <a:gd name="T39" fmla="*/ 0 h 297"/>
                <a:gd name="T40" fmla="*/ 15 w 282"/>
                <a:gd name="T41" fmla="*/ 1 h 297"/>
                <a:gd name="T42" fmla="*/ 14 w 282"/>
                <a:gd name="T43" fmla="*/ 2 h 297"/>
                <a:gd name="T44" fmla="*/ 12 w 282"/>
                <a:gd name="T45" fmla="*/ 3 h 297"/>
                <a:gd name="T46" fmla="*/ 11 w 282"/>
                <a:gd name="T47" fmla="*/ 3 h 297"/>
                <a:gd name="T48" fmla="*/ 9 w 282"/>
                <a:gd name="T49" fmla="*/ 3 h 297"/>
                <a:gd name="T50" fmla="*/ 8 w 282"/>
                <a:gd name="T51" fmla="*/ 2 h 297"/>
                <a:gd name="T52" fmla="*/ 5 w 282"/>
                <a:gd name="T53" fmla="*/ 2 h 297"/>
                <a:gd name="T54" fmla="*/ 5 w 282"/>
                <a:gd name="T55" fmla="*/ 3 h 297"/>
                <a:gd name="T56" fmla="*/ 3 w 282"/>
                <a:gd name="T57" fmla="*/ 7 h 297"/>
                <a:gd name="T58" fmla="*/ 5 w 282"/>
                <a:gd name="T59" fmla="*/ 9 h 297"/>
                <a:gd name="T60" fmla="*/ 5 w 282"/>
                <a:gd name="T61" fmla="*/ 10 h 297"/>
                <a:gd name="T62" fmla="*/ 5 w 282"/>
                <a:gd name="T63" fmla="*/ 11 h 297"/>
                <a:gd name="T64" fmla="*/ 6 w 282"/>
                <a:gd name="T65" fmla="*/ 13 h 297"/>
                <a:gd name="T66" fmla="*/ 5 w 282"/>
                <a:gd name="T67" fmla="*/ 13 h 297"/>
                <a:gd name="T68" fmla="*/ 2 w 282"/>
                <a:gd name="T69" fmla="*/ 13 h 297"/>
                <a:gd name="T70" fmla="*/ 2 w 282"/>
                <a:gd name="T71" fmla="*/ 14 h 297"/>
                <a:gd name="T72" fmla="*/ 4 w 282"/>
                <a:gd name="T73" fmla="*/ 14 h 297"/>
                <a:gd name="T74" fmla="*/ 4 w 282"/>
                <a:gd name="T75" fmla="*/ 17 h 297"/>
                <a:gd name="T76" fmla="*/ 1 w 282"/>
                <a:gd name="T77" fmla="*/ 18 h 297"/>
                <a:gd name="T78" fmla="*/ 2 w 282"/>
                <a:gd name="T79" fmla="*/ 20 h 297"/>
                <a:gd name="T80" fmla="*/ 0 w 282"/>
                <a:gd name="T81" fmla="*/ 23 h 297"/>
                <a:gd name="T82" fmla="*/ 1 w 282"/>
                <a:gd name="T83" fmla="*/ 24 h 297"/>
                <a:gd name="T84" fmla="*/ 3 w 282"/>
                <a:gd name="T85" fmla="*/ 25 h 297"/>
                <a:gd name="T86" fmla="*/ 5 w 282"/>
                <a:gd name="T87" fmla="*/ 26 h 297"/>
                <a:gd name="T88" fmla="*/ 8 w 282"/>
                <a:gd name="T89" fmla="*/ 27 h 297"/>
                <a:gd name="T90" fmla="*/ 9 w 282"/>
                <a:gd name="T91" fmla="*/ 29 h 297"/>
                <a:gd name="T92" fmla="*/ 8 w 282"/>
                <a:gd name="T93" fmla="*/ 30 h 297"/>
                <a:gd name="T94" fmla="*/ 8 w 282"/>
                <a:gd name="T95" fmla="*/ 31 h 29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82"/>
                <a:gd name="T145" fmla="*/ 0 h 297"/>
                <a:gd name="T146" fmla="*/ 282 w 282"/>
                <a:gd name="T147" fmla="*/ 297 h 29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82" h="297">
                  <a:moveTo>
                    <a:pt x="46" y="292"/>
                  </a:moveTo>
                  <a:lnTo>
                    <a:pt x="47" y="296"/>
                  </a:lnTo>
                  <a:lnTo>
                    <a:pt x="61" y="297"/>
                  </a:lnTo>
                  <a:lnTo>
                    <a:pt x="200" y="257"/>
                  </a:lnTo>
                  <a:lnTo>
                    <a:pt x="249" y="265"/>
                  </a:lnTo>
                  <a:lnTo>
                    <a:pt x="254" y="258"/>
                  </a:lnTo>
                  <a:lnTo>
                    <a:pt x="256" y="257"/>
                  </a:lnTo>
                  <a:lnTo>
                    <a:pt x="261" y="257"/>
                  </a:lnTo>
                  <a:lnTo>
                    <a:pt x="264" y="258"/>
                  </a:lnTo>
                  <a:lnTo>
                    <a:pt x="269" y="258"/>
                  </a:lnTo>
                  <a:lnTo>
                    <a:pt x="267" y="236"/>
                  </a:lnTo>
                  <a:lnTo>
                    <a:pt x="266" y="235"/>
                  </a:lnTo>
                  <a:lnTo>
                    <a:pt x="259" y="234"/>
                  </a:lnTo>
                  <a:lnTo>
                    <a:pt x="256" y="230"/>
                  </a:lnTo>
                  <a:lnTo>
                    <a:pt x="247" y="200"/>
                  </a:lnTo>
                  <a:lnTo>
                    <a:pt x="248" y="178"/>
                  </a:lnTo>
                  <a:lnTo>
                    <a:pt x="251" y="173"/>
                  </a:lnTo>
                  <a:lnTo>
                    <a:pt x="256" y="167"/>
                  </a:lnTo>
                  <a:lnTo>
                    <a:pt x="258" y="162"/>
                  </a:lnTo>
                  <a:lnTo>
                    <a:pt x="260" y="146"/>
                  </a:lnTo>
                  <a:lnTo>
                    <a:pt x="268" y="127"/>
                  </a:lnTo>
                  <a:lnTo>
                    <a:pt x="271" y="126"/>
                  </a:lnTo>
                  <a:lnTo>
                    <a:pt x="273" y="122"/>
                  </a:lnTo>
                  <a:lnTo>
                    <a:pt x="276" y="121"/>
                  </a:lnTo>
                  <a:lnTo>
                    <a:pt x="276" y="116"/>
                  </a:lnTo>
                  <a:lnTo>
                    <a:pt x="282" y="116"/>
                  </a:lnTo>
                  <a:lnTo>
                    <a:pt x="272" y="80"/>
                  </a:lnTo>
                  <a:lnTo>
                    <a:pt x="270" y="77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71" y="70"/>
                  </a:lnTo>
                  <a:lnTo>
                    <a:pt x="269" y="64"/>
                  </a:lnTo>
                  <a:lnTo>
                    <a:pt x="271" y="62"/>
                  </a:lnTo>
                  <a:lnTo>
                    <a:pt x="270" y="57"/>
                  </a:lnTo>
                  <a:lnTo>
                    <a:pt x="268" y="59"/>
                  </a:lnTo>
                  <a:lnTo>
                    <a:pt x="263" y="59"/>
                  </a:lnTo>
                  <a:lnTo>
                    <a:pt x="261" y="57"/>
                  </a:lnTo>
                  <a:lnTo>
                    <a:pt x="256" y="46"/>
                  </a:lnTo>
                  <a:lnTo>
                    <a:pt x="252" y="45"/>
                  </a:lnTo>
                  <a:lnTo>
                    <a:pt x="247" y="37"/>
                  </a:lnTo>
                  <a:lnTo>
                    <a:pt x="246" y="37"/>
                  </a:lnTo>
                  <a:lnTo>
                    <a:pt x="241" y="41"/>
                  </a:lnTo>
                  <a:lnTo>
                    <a:pt x="226" y="37"/>
                  </a:lnTo>
                  <a:lnTo>
                    <a:pt x="197" y="45"/>
                  </a:lnTo>
                  <a:lnTo>
                    <a:pt x="194" y="50"/>
                  </a:lnTo>
                  <a:lnTo>
                    <a:pt x="192" y="52"/>
                  </a:lnTo>
                  <a:lnTo>
                    <a:pt x="186" y="49"/>
                  </a:lnTo>
                  <a:lnTo>
                    <a:pt x="184" y="46"/>
                  </a:lnTo>
                  <a:lnTo>
                    <a:pt x="183" y="46"/>
                  </a:lnTo>
                  <a:lnTo>
                    <a:pt x="182" y="48"/>
                  </a:lnTo>
                  <a:lnTo>
                    <a:pt x="178" y="48"/>
                  </a:lnTo>
                  <a:lnTo>
                    <a:pt x="177" y="49"/>
                  </a:lnTo>
                  <a:lnTo>
                    <a:pt x="171" y="46"/>
                  </a:lnTo>
                  <a:lnTo>
                    <a:pt x="171" y="43"/>
                  </a:lnTo>
                  <a:lnTo>
                    <a:pt x="168" y="40"/>
                  </a:lnTo>
                  <a:lnTo>
                    <a:pt x="165" y="40"/>
                  </a:lnTo>
                  <a:lnTo>
                    <a:pt x="165" y="35"/>
                  </a:lnTo>
                  <a:lnTo>
                    <a:pt x="164" y="33"/>
                  </a:lnTo>
                  <a:lnTo>
                    <a:pt x="162" y="32"/>
                  </a:lnTo>
                  <a:lnTo>
                    <a:pt x="159" y="27"/>
                  </a:lnTo>
                  <a:lnTo>
                    <a:pt x="157" y="26"/>
                  </a:lnTo>
                  <a:lnTo>
                    <a:pt x="156" y="25"/>
                  </a:lnTo>
                  <a:lnTo>
                    <a:pt x="156" y="21"/>
                  </a:lnTo>
                  <a:lnTo>
                    <a:pt x="155" y="20"/>
                  </a:lnTo>
                  <a:lnTo>
                    <a:pt x="154" y="19"/>
                  </a:lnTo>
                  <a:lnTo>
                    <a:pt x="143" y="21"/>
                  </a:lnTo>
                  <a:lnTo>
                    <a:pt x="142" y="20"/>
                  </a:lnTo>
                  <a:lnTo>
                    <a:pt x="139" y="15"/>
                  </a:lnTo>
                  <a:lnTo>
                    <a:pt x="136" y="14"/>
                  </a:lnTo>
                  <a:lnTo>
                    <a:pt x="125" y="15"/>
                  </a:lnTo>
                  <a:lnTo>
                    <a:pt x="122" y="20"/>
                  </a:lnTo>
                  <a:lnTo>
                    <a:pt x="119" y="20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9" y="21"/>
                  </a:lnTo>
                  <a:lnTo>
                    <a:pt x="108" y="12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7" y="3"/>
                  </a:lnTo>
                  <a:lnTo>
                    <a:pt x="105" y="0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8"/>
                  </a:lnTo>
                  <a:lnTo>
                    <a:pt x="86" y="11"/>
                  </a:lnTo>
                  <a:lnTo>
                    <a:pt x="88" y="16"/>
                  </a:lnTo>
                  <a:lnTo>
                    <a:pt x="86" y="18"/>
                  </a:lnTo>
                  <a:lnTo>
                    <a:pt x="76" y="18"/>
                  </a:lnTo>
                  <a:lnTo>
                    <a:pt x="71" y="20"/>
                  </a:lnTo>
                  <a:lnTo>
                    <a:pt x="71" y="23"/>
                  </a:lnTo>
                  <a:lnTo>
                    <a:pt x="69" y="27"/>
                  </a:lnTo>
                  <a:lnTo>
                    <a:pt x="66" y="27"/>
                  </a:lnTo>
                  <a:lnTo>
                    <a:pt x="63" y="25"/>
                  </a:lnTo>
                  <a:lnTo>
                    <a:pt x="60" y="21"/>
                  </a:lnTo>
                  <a:lnTo>
                    <a:pt x="58" y="21"/>
                  </a:lnTo>
                  <a:lnTo>
                    <a:pt x="56" y="22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3" y="18"/>
                  </a:lnTo>
                  <a:lnTo>
                    <a:pt x="49" y="14"/>
                  </a:lnTo>
                  <a:lnTo>
                    <a:pt x="46" y="13"/>
                  </a:lnTo>
                  <a:lnTo>
                    <a:pt x="43" y="16"/>
                  </a:lnTo>
                  <a:lnTo>
                    <a:pt x="39" y="15"/>
                  </a:lnTo>
                  <a:lnTo>
                    <a:pt x="37" y="16"/>
                  </a:lnTo>
                  <a:lnTo>
                    <a:pt x="35" y="18"/>
                  </a:lnTo>
                  <a:lnTo>
                    <a:pt x="34" y="21"/>
                  </a:lnTo>
                  <a:lnTo>
                    <a:pt x="32" y="24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1" y="33"/>
                  </a:lnTo>
                  <a:lnTo>
                    <a:pt x="21" y="35"/>
                  </a:lnTo>
                  <a:lnTo>
                    <a:pt x="18" y="38"/>
                  </a:lnTo>
                  <a:lnTo>
                    <a:pt x="18" y="59"/>
                  </a:lnTo>
                  <a:lnTo>
                    <a:pt x="20" y="60"/>
                  </a:lnTo>
                  <a:lnTo>
                    <a:pt x="26" y="64"/>
                  </a:lnTo>
                  <a:lnTo>
                    <a:pt x="32" y="64"/>
                  </a:lnTo>
                  <a:lnTo>
                    <a:pt x="30" y="75"/>
                  </a:lnTo>
                  <a:lnTo>
                    <a:pt x="33" y="75"/>
                  </a:lnTo>
                  <a:lnTo>
                    <a:pt x="36" y="79"/>
                  </a:lnTo>
                  <a:lnTo>
                    <a:pt x="36" y="80"/>
                  </a:lnTo>
                  <a:lnTo>
                    <a:pt x="34" y="81"/>
                  </a:lnTo>
                  <a:lnTo>
                    <a:pt x="32" y="85"/>
                  </a:lnTo>
                  <a:lnTo>
                    <a:pt x="29" y="92"/>
                  </a:lnTo>
                  <a:lnTo>
                    <a:pt x="31" y="91"/>
                  </a:lnTo>
                  <a:lnTo>
                    <a:pt x="33" y="93"/>
                  </a:lnTo>
                  <a:lnTo>
                    <a:pt x="36" y="93"/>
                  </a:lnTo>
                  <a:lnTo>
                    <a:pt x="36" y="97"/>
                  </a:lnTo>
                  <a:lnTo>
                    <a:pt x="39" y="101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6" y="108"/>
                  </a:lnTo>
                  <a:lnTo>
                    <a:pt x="33" y="109"/>
                  </a:lnTo>
                  <a:lnTo>
                    <a:pt x="31" y="108"/>
                  </a:lnTo>
                  <a:lnTo>
                    <a:pt x="28" y="105"/>
                  </a:lnTo>
                  <a:lnTo>
                    <a:pt x="21" y="105"/>
                  </a:lnTo>
                  <a:lnTo>
                    <a:pt x="13" y="108"/>
                  </a:lnTo>
                  <a:lnTo>
                    <a:pt x="15" y="109"/>
                  </a:lnTo>
                  <a:lnTo>
                    <a:pt x="16" y="113"/>
                  </a:lnTo>
                  <a:lnTo>
                    <a:pt x="14" y="117"/>
                  </a:lnTo>
                  <a:lnTo>
                    <a:pt x="15" y="118"/>
                  </a:lnTo>
                  <a:lnTo>
                    <a:pt x="22" y="118"/>
                  </a:lnTo>
                  <a:lnTo>
                    <a:pt x="25" y="119"/>
                  </a:lnTo>
                  <a:lnTo>
                    <a:pt x="25" y="122"/>
                  </a:lnTo>
                  <a:lnTo>
                    <a:pt x="25" y="123"/>
                  </a:lnTo>
                  <a:lnTo>
                    <a:pt x="26" y="123"/>
                  </a:lnTo>
                  <a:lnTo>
                    <a:pt x="27" y="125"/>
                  </a:lnTo>
                  <a:lnTo>
                    <a:pt x="23" y="128"/>
                  </a:lnTo>
                  <a:lnTo>
                    <a:pt x="22" y="139"/>
                  </a:lnTo>
                  <a:lnTo>
                    <a:pt x="18" y="145"/>
                  </a:lnTo>
                  <a:lnTo>
                    <a:pt x="17" y="148"/>
                  </a:lnTo>
                  <a:lnTo>
                    <a:pt x="6" y="148"/>
                  </a:lnTo>
                  <a:lnTo>
                    <a:pt x="3" y="149"/>
                  </a:lnTo>
                  <a:lnTo>
                    <a:pt x="6" y="161"/>
                  </a:lnTo>
                  <a:lnTo>
                    <a:pt x="8" y="161"/>
                  </a:lnTo>
                  <a:lnTo>
                    <a:pt x="10" y="165"/>
                  </a:lnTo>
                  <a:lnTo>
                    <a:pt x="10" y="167"/>
                  </a:lnTo>
                  <a:lnTo>
                    <a:pt x="13" y="169"/>
                  </a:lnTo>
                  <a:lnTo>
                    <a:pt x="9" y="184"/>
                  </a:lnTo>
                  <a:lnTo>
                    <a:pt x="2" y="190"/>
                  </a:lnTo>
                  <a:lnTo>
                    <a:pt x="0" y="195"/>
                  </a:lnTo>
                  <a:lnTo>
                    <a:pt x="0" y="197"/>
                  </a:lnTo>
                  <a:lnTo>
                    <a:pt x="2" y="197"/>
                  </a:lnTo>
                  <a:lnTo>
                    <a:pt x="2" y="199"/>
                  </a:lnTo>
                  <a:lnTo>
                    <a:pt x="6" y="198"/>
                  </a:lnTo>
                  <a:lnTo>
                    <a:pt x="6" y="200"/>
                  </a:lnTo>
                  <a:lnTo>
                    <a:pt x="8" y="201"/>
                  </a:lnTo>
                  <a:lnTo>
                    <a:pt x="12" y="201"/>
                  </a:lnTo>
                  <a:lnTo>
                    <a:pt x="17" y="205"/>
                  </a:lnTo>
                  <a:lnTo>
                    <a:pt x="26" y="205"/>
                  </a:lnTo>
                  <a:lnTo>
                    <a:pt x="28" y="206"/>
                  </a:lnTo>
                  <a:lnTo>
                    <a:pt x="32" y="211"/>
                  </a:lnTo>
                  <a:lnTo>
                    <a:pt x="32" y="214"/>
                  </a:lnTo>
                  <a:lnTo>
                    <a:pt x="34" y="215"/>
                  </a:lnTo>
                  <a:lnTo>
                    <a:pt x="37" y="223"/>
                  </a:lnTo>
                  <a:lnTo>
                    <a:pt x="42" y="223"/>
                  </a:lnTo>
                  <a:lnTo>
                    <a:pt x="46" y="227"/>
                  </a:lnTo>
                  <a:lnTo>
                    <a:pt x="52" y="226"/>
                  </a:lnTo>
                  <a:lnTo>
                    <a:pt x="52" y="231"/>
                  </a:lnTo>
                  <a:lnTo>
                    <a:pt x="54" y="235"/>
                  </a:lnTo>
                  <a:lnTo>
                    <a:pt x="55" y="240"/>
                  </a:lnTo>
                  <a:lnTo>
                    <a:pt x="53" y="246"/>
                  </a:lnTo>
                  <a:lnTo>
                    <a:pt x="55" y="250"/>
                  </a:lnTo>
                  <a:lnTo>
                    <a:pt x="55" y="251"/>
                  </a:lnTo>
                  <a:lnTo>
                    <a:pt x="50" y="251"/>
                  </a:lnTo>
                  <a:lnTo>
                    <a:pt x="49" y="254"/>
                  </a:lnTo>
                  <a:lnTo>
                    <a:pt x="49" y="260"/>
                  </a:lnTo>
                  <a:lnTo>
                    <a:pt x="47" y="260"/>
                  </a:lnTo>
                  <a:lnTo>
                    <a:pt x="46" y="262"/>
                  </a:lnTo>
                  <a:lnTo>
                    <a:pt x="47" y="267"/>
                  </a:lnTo>
                  <a:lnTo>
                    <a:pt x="46" y="271"/>
                  </a:lnTo>
                  <a:lnTo>
                    <a:pt x="46" y="2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1" name="Freeform 129"/>
            <p:cNvSpPr>
              <a:spLocks/>
            </p:cNvSpPr>
            <p:nvPr/>
          </p:nvSpPr>
          <p:spPr bwMode="auto">
            <a:xfrm>
              <a:off x="3253332" y="2677748"/>
              <a:ext cx="121861" cy="235631"/>
            </a:xfrm>
            <a:custGeom>
              <a:avLst/>
              <a:gdLst>
                <a:gd name="T0" fmla="*/ 12 w 100"/>
                <a:gd name="T1" fmla="*/ 29 h 235"/>
                <a:gd name="T2" fmla="*/ 11 w 100"/>
                <a:gd name="T3" fmla="*/ 29 h 235"/>
                <a:gd name="T4" fmla="*/ 8 w 100"/>
                <a:gd name="T5" fmla="*/ 26 h 235"/>
                <a:gd name="T6" fmla="*/ 6 w 100"/>
                <a:gd name="T7" fmla="*/ 10 h 235"/>
                <a:gd name="T8" fmla="*/ 5 w 100"/>
                <a:gd name="T9" fmla="*/ 9 h 235"/>
                <a:gd name="T10" fmla="*/ 5 w 100"/>
                <a:gd name="T11" fmla="*/ 5 h 235"/>
                <a:gd name="T12" fmla="*/ 2 w 100"/>
                <a:gd name="T13" fmla="*/ 3 h 235"/>
                <a:gd name="T14" fmla="*/ 1 w 100"/>
                <a:gd name="T15" fmla="*/ 3 h 235"/>
                <a:gd name="T16" fmla="*/ 1 w 100"/>
                <a:gd name="T17" fmla="*/ 2 h 235"/>
                <a:gd name="T18" fmla="*/ 1 w 100"/>
                <a:gd name="T19" fmla="*/ 2 h 235"/>
                <a:gd name="T20" fmla="*/ 1 w 100"/>
                <a:gd name="T21" fmla="*/ 1 h 235"/>
                <a:gd name="T22" fmla="*/ 1 w 100"/>
                <a:gd name="T23" fmla="*/ 1 h 235"/>
                <a:gd name="T24" fmla="*/ 1 w 100"/>
                <a:gd name="T25" fmla="*/ 1 h 235"/>
                <a:gd name="T26" fmla="*/ 1 w 100"/>
                <a:gd name="T27" fmla="*/ 1 h 235"/>
                <a:gd name="T28" fmla="*/ 0 w 100"/>
                <a:gd name="T29" fmla="*/ 1 h 235"/>
                <a:gd name="T30" fmla="*/ 0 w 100"/>
                <a:gd name="T31" fmla="*/ 0 h 235"/>
                <a:gd name="T32" fmla="*/ 1 w 100"/>
                <a:gd name="T33" fmla="*/ 1 h 235"/>
                <a:gd name="T34" fmla="*/ 5 w 100"/>
                <a:gd name="T35" fmla="*/ 1 h 235"/>
                <a:gd name="T36" fmla="*/ 6 w 100"/>
                <a:gd name="T37" fmla="*/ 1 h 235"/>
                <a:gd name="T38" fmla="*/ 6 w 100"/>
                <a:gd name="T39" fmla="*/ 1 h 235"/>
                <a:gd name="T40" fmla="*/ 7 w 100"/>
                <a:gd name="T41" fmla="*/ 1 h 235"/>
                <a:gd name="T42" fmla="*/ 8 w 100"/>
                <a:gd name="T43" fmla="*/ 1 h 235"/>
                <a:gd name="T44" fmla="*/ 9 w 100"/>
                <a:gd name="T45" fmla="*/ 1 h 235"/>
                <a:gd name="T46" fmla="*/ 8 w 100"/>
                <a:gd name="T47" fmla="*/ 1 h 235"/>
                <a:gd name="T48" fmla="*/ 8 w 100"/>
                <a:gd name="T49" fmla="*/ 2 h 235"/>
                <a:gd name="T50" fmla="*/ 8 w 100"/>
                <a:gd name="T51" fmla="*/ 3 h 235"/>
                <a:gd name="T52" fmla="*/ 8 w 100"/>
                <a:gd name="T53" fmla="*/ 3 h 235"/>
                <a:gd name="T54" fmla="*/ 8 w 100"/>
                <a:gd name="T55" fmla="*/ 4 h 235"/>
                <a:gd name="T56" fmla="*/ 8 w 100"/>
                <a:gd name="T57" fmla="*/ 5 h 235"/>
                <a:gd name="T58" fmla="*/ 10 w 100"/>
                <a:gd name="T59" fmla="*/ 5 h 235"/>
                <a:gd name="T60" fmla="*/ 10 w 100"/>
                <a:gd name="T61" fmla="*/ 5 h 235"/>
                <a:gd name="T62" fmla="*/ 10 w 100"/>
                <a:gd name="T63" fmla="*/ 5 h 235"/>
                <a:gd name="T64" fmla="*/ 12 w 100"/>
                <a:gd name="T65" fmla="*/ 7 h 235"/>
                <a:gd name="T66" fmla="*/ 16 w 100"/>
                <a:gd name="T67" fmla="*/ 27 h 235"/>
                <a:gd name="T68" fmla="*/ 17 w 100"/>
                <a:gd name="T69" fmla="*/ 28 h 235"/>
                <a:gd name="T70" fmla="*/ 17 w 100"/>
                <a:gd name="T71" fmla="*/ 28 h 235"/>
                <a:gd name="T72" fmla="*/ 12 w 100"/>
                <a:gd name="T73" fmla="*/ 29 h 2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0"/>
                <a:gd name="T112" fmla="*/ 0 h 235"/>
                <a:gd name="T113" fmla="*/ 100 w 100"/>
                <a:gd name="T114" fmla="*/ 235 h 2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0" h="235">
                  <a:moveTo>
                    <a:pt x="68" y="235"/>
                  </a:moveTo>
                  <a:lnTo>
                    <a:pt x="64" y="233"/>
                  </a:lnTo>
                  <a:lnTo>
                    <a:pt x="44" y="210"/>
                  </a:lnTo>
                  <a:lnTo>
                    <a:pt x="32" y="78"/>
                  </a:lnTo>
                  <a:lnTo>
                    <a:pt x="29" y="74"/>
                  </a:lnTo>
                  <a:lnTo>
                    <a:pt x="25" y="44"/>
                  </a:lnTo>
                  <a:lnTo>
                    <a:pt x="11" y="28"/>
                  </a:lnTo>
                  <a:lnTo>
                    <a:pt x="4" y="23"/>
                  </a:lnTo>
                  <a:lnTo>
                    <a:pt x="4" y="17"/>
                  </a:lnTo>
                  <a:lnTo>
                    <a:pt x="7" y="13"/>
                  </a:lnTo>
                  <a:lnTo>
                    <a:pt x="7" y="9"/>
                  </a:lnTo>
                  <a:lnTo>
                    <a:pt x="9" y="5"/>
                  </a:lnTo>
                  <a:lnTo>
                    <a:pt x="9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1"/>
                  </a:lnTo>
                  <a:lnTo>
                    <a:pt x="29" y="5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7"/>
                  </a:lnTo>
                  <a:lnTo>
                    <a:pt x="49" y="7"/>
                  </a:lnTo>
                  <a:lnTo>
                    <a:pt x="50" y="6"/>
                  </a:lnTo>
                  <a:lnTo>
                    <a:pt x="48" y="8"/>
                  </a:lnTo>
                  <a:lnTo>
                    <a:pt x="47" y="15"/>
                  </a:lnTo>
                  <a:lnTo>
                    <a:pt x="45" y="20"/>
                  </a:lnTo>
                  <a:lnTo>
                    <a:pt x="43" y="30"/>
                  </a:lnTo>
                  <a:lnTo>
                    <a:pt x="44" y="36"/>
                  </a:lnTo>
                  <a:lnTo>
                    <a:pt x="47" y="40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60" y="44"/>
                  </a:lnTo>
                  <a:lnTo>
                    <a:pt x="70" y="58"/>
                  </a:lnTo>
                  <a:lnTo>
                    <a:pt x="92" y="218"/>
                  </a:lnTo>
                  <a:lnTo>
                    <a:pt x="95" y="225"/>
                  </a:lnTo>
                  <a:lnTo>
                    <a:pt x="100" y="226"/>
                  </a:lnTo>
                  <a:lnTo>
                    <a:pt x="68" y="235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2" name="Freeform 130"/>
            <p:cNvSpPr>
              <a:spLocks/>
            </p:cNvSpPr>
            <p:nvPr/>
          </p:nvSpPr>
          <p:spPr bwMode="auto">
            <a:xfrm>
              <a:off x="5524009" y="2642496"/>
              <a:ext cx="558529" cy="621547"/>
            </a:xfrm>
            <a:custGeom>
              <a:avLst/>
              <a:gdLst>
                <a:gd name="T0" fmla="*/ 4 w 470"/>
                <a:gd name="T1" fmla="*/ 76 h 620"/>
                <a:gd name="T2" fmla="*/ 0 w 470"/>
                <a:gd name="T3" fmla="*/ 51 h 620"/>
                <a:gd name="T4" fmla="*/ 6 w 470"/>
                <a:gd name="T5" fmla="*/ 45 h 620"/>
                <a:gd name="T6" fmla="*/ 7 w 470"/>
                <a:gd name="T7" fmla="*/ 45 h 620"/>
                <a:gd name="T8" fmla="*/ 17 w 470"/>
                <a:gd name="T9" fmla="*/ 41 h 620"/>
                <a:gd name="T10" fmla="*/ 30 w 470"/>
                <a:gd name="T11" fmla="*/ 39 h 620"/>
                <a:gd name="T12" fmla="*/ 52 w 470"/>
                <a:gd name="T13" fmla="*/ 22 h 620"/>
                <a:gd name="T14" fmla="*/ 23 w 470"/>
                <a:gd name="T15" fmla="*/ 16 h 620"/>
                <a:gd name="T16" fmla="*/ 19 w 470"/>
                <a:gd name="T17" fmla="*/ 14 h 620"/>
                <a:gd name="T18" fmla="*/ 17 w 470"/>
                <a:gd name="T19" fmla="*/ 12 h 620"/>
                <a:gd name="T20" fmla="*/ 15 w 470"/>
                <a:gd name="T21" fmla="*/ 10 h 620"/>
                <a:gd name="T22" fmla="*/ 13 w 470"/>
                <a:gd name="T23" fmla="*/ 9 h 620"/>
                <a:gd name="T24" fmla="*/ 16 w 470"/>
                <a:gd name="T25" fmla="*/ 3 h 620"/>
                <a:gd name="T26" fmla="*/ 17 w 470"/>
                <a:gd name="T27" fmla="*/ 3 h 620"/>
                <a:gd name="T28" fmla="*/ 23 w 470"/>
                <a:gd name="T29" fmla="*/ 8 h 620"/>
                <a:gd name="T30" fmla="*/ 26 w 470"/>
                <a:gd name="T31" fmla="*/ 9 h 620"/>
                <a:gd name="T32" fmla="*/ 35 w 470"/>
                <a:gd name="T33" fmla="*/ 6 h 620"/>
                <a:gd name="T34" fmla="*/ 35 w 470"/>
                <a:gd name="T35" fmla="*/ 6 h 620"/>
                <a:gd name="T36" fmla="*/ 36 w 470"/>
                <a:gd name="T37" fmla="*/ 6 h 620"/>
                <a:gd name="T38" fmla="*/ 37 w 470"/>
                <a:gd name="T39" fmla="*/ 6 h 620"/>
                <a:gd name="T40" fmla="*/ 39 w 470"/>
                <a:gd name="T41" fmla="*/ 7 h 620"/>
                <a:gd name="T42" fmla="*/ 43 w 470"/>
                <a:gd name="T43" fmla="*/ 6 h 620"/>
                <a:gd name="T44" fmla="*/ 46 w 470"/>
                <a:gd name="T45" fmla="*/ 5 h 620"/>
                <a:gd name="T46" fmla="*/ 49 w 470"/>
                <a:gd name="T47" fmla="*/ 5 h 620"/>
                <a:gd name="T48" fmla="*/ 56 w 470"/>
                <a:gd name="T49" fmla="*/ 3 h 620"/>
                <a:gd name="T50" fmla="*/ 61 w 470"/>
                <a:gd name="T51" fmla="*/ 3 h 620"/>
                <a:gd name="T52" fmla="*/ 62 w 470"/>
                <a:gd name="T53" fmla="*/ 3 h 620"/>
                <a:gd name="T54" fmla="*/ 70 w 470"/>
                <a:gd name="T55" fmla="*/ 1 h 620"/>
                <a:gd name="T56" fmla="*/ 71 w 470"/>
                <a:gd name="T57" fmla="*/ 0 h 620"/>
                <a:gd name="T58" fmla="*/ 74 w 470"/>
                <a:gd name="T59" fmla="*/ 1 h 620"/>
                <a:gd name="T60" fmla="*/ 75 w 470"/>
                <a:gd name="T61" fmla="*/ 1 h 620"/>
                <a:gd name="T62" fmla="*/ 75 w 470"/>
                <a:gd name="T63" fmla="*/ 2 h 620"/>
                <a:gd name="T64" fmla="*/ 74 w 470"/>
                <a:gd name="T65" fmla="*/ 3 h 620"/>
                <a:gd name="T66" fmla="*/ 75 w 470"/>
                <a:gd name="T67" fmla="*/ 5 h 620"/>
                <a:gd name="T68" fmla="*/ 75 w 470"/>
                <a:gd name="T69" fmla="*/ 6 h 620"/>
                <a:gd name="T70" fmla="*/ 75 w 470"/>
                <a:gd name="T71" fmla="*/ 8 h 620"/>
                <a:gd name="T72" fmla="*/ 74 w 470"/>
                <a:gd name="T73" fmla="*/ 9 h 620"/>
                <a:gd name="T74" fmla="*/ 75 w 470"/>
                <a:gd name="T75" fmla="*/ 9 h 620"/>
                <a:gd name="T76" fmla="*/ 75 w 470"/>
                <a:gd name="T77" fmla="*/ 9 h 620"/>
                <a:gd name="T78" fmla="*/ 75 w 470"/>
                <a:gd name="T79" fmla="*/ 9 h 620"/>
                <a:gd name="T80" fmla="*/ 75 w 470"/>
                <a:gd name="T81" fmla="*/ 9 h 620"/>
                <a:gd name="T82" fmla="*/ 75 w 470"/>
                <a:gd name="T83" fmla="*/ 9 h 620"/>
                <a:gd name="T84" fmla="*/ 73 w 470"/>
                <a:gd name="T85" fmla="*/ 9 h 620"/>
                <a:gd name="T86" fmla="*/ 72 w 470"/>
                <a:gd name="T87" fmla="*/ 15 h 620"/>
                <a:gd name="T88" fmla="*/ 71 w 470"/>
                <a:gd name="T89" fmla="*/ 16 h 620"/>
                <a:gd name="T90" fmla="*/ 67 w 470"/>
                <a:gd name="T91" fmla="*/ 21 h 620"/>
                <a:gd name="T92" fmla="*/ 65 w 470"/>
                <a:gd name="T93" fmla="*/ 23 h 620"/>
                <a:gd name="T94" fmla="*/ 58 w 470"/>
                <a:gd name="T95" fmla="*/ 36 h 620"/>
                <a:gd name="T96" fmla="*/ 57 w 470"/>
                <a:gd name="T97" fmla="*/ 37 h 620"/>
                <a:gd name="T98" fmla="*/ 56 w 470"/>
                <a:gd name="T99" fmla="*/ 37 h 620"/>
                <a:gd name="T100" fmla="*/ 53 w 470"/>
                <a:gd name="T101" fmla="*/ 40 h 620"/>
                <a:gd name="T102" fmla="*/ 49 w 470"/>
                <a:gd name="T103" fmla="*/ 44 h 620"/>
                <a:gd name="T104" fmla="*/ 40 w 470"/>
                <a:gd name="T105" fmla="*/ 51 h 620"/>
                <a:gd name="T106" fmla="*/ 37 w 470"/>
                <a:gd name="T107" fmla="*/ 53 h 620"/>
                <a:gd name="T108" fmla="*/ 31 w 470"/>
                <a:gd name="T109" fmla="*/ 57 h 620"/>
                <a:gd name="T110" fmla="*/ 13 w 470"/>
                <a:gd name="T111" fmla="*/ 68 h 620"/>
                <a:gd name="T112" fmla="*/ 12 w 470"/>
                <a:gd name="T113" fmla="*/ 68 h 620"/>
                <a:gd name="T114" fmla="*/ 12 w 470"/>
                <a:gd name="T115" fmla="*/ 69 h 620"/>
                <a:gd name="T116" fmla="*/ 12 w 470"/>
                <a:gd name="T117" fmla="*/ 70 h 620"/>
                <a:gd name="T118" fmla="*/ 11 w 470"/>
                <a:gd name="T119" fmla="*/ 71 h 620"/>
                <a:gd name="T120" fmla="*/ 4 w 470"/>
                <a:gd name="T121" fmla="*/ 77 h 6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70"/>
                <a:gd name="T184" fmla="*/ 0 h 620"/>
                <a:gd name="T185" fmla="*/ 470 w 470"/>
                <a:gd name="T186" fmla="*/ 620 h 6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70" h="620">
                  <a:moveTo>
                    <a:pt x="25" y="620"/>
                  </a:moveTo>
                  <a:lnTo>
                    <a:pt x="25" y="616"/>
                  </a:lnTo>
                  <a:lnTo>
                    <a:pt x="0" y="585"/>
                  </a:lnTo>
                  <a:lnTo>
                    <a:pt x="0" y="417"/>
                  </a:lnTo>
                  <a:lnTo>
                    <a:pt x="3" y="415"/>
                  </a:lnTo>
                  <a:lnTo>
                    <a:pt x="40" y="370"/>
                  </a:lnTo>
                  <a:lnTo>
                    <a:pt x="41" y="366"/>
                  </a:lnTo>
                  <a:lnTo>
                    <a:pt x="43" y="362"/>
                  </a:lnTo>
                  <a:lnTo>
                    <a:pt x="85" y="347"/>
                  </a:lnTo>
                  <a:lnTo>
                    <a:pt x="107" y="329"/>
                  </a:lnTo>
                  <a:lnTo>
                    <a:pt x="130" y="318"/>
                  </a:lnTo>
                  <a:lnTo>
                    <a:pt x="185" y="317"/>
                  </a:lnTo>
                  <a:lnTo>
                    <a:pt x="320" y="179"/>
                  </a:lnTo>
                  <a:lnTo>
                    <a:pt x="321" y="177"/>
                  </a:lnTo>
                  <a:lnTo>
                    <a:pt x="277" y="179"/>
                  </a:lnTo>
                  <a:lnTo>
                    <a:pt x="139" y="130"/>
                  </a:lnTo>
                  <a:lnTo>
                    <a:pt x="133" y="123"/>
                  </a:lnTo>
                  <a:lnTo>
                    <a:pt x="117" y="111"/>
                  </a:lnTo>
                  <a:lnTo>
                    <a:pt x="111" y="103"/>
                  </a:lnTo>
                  <a:lnTo>
                    <a:pt x="106" y="98"/>
                  </a:lnTo>
                  <a:lnTo>
                    <a:pt x="104" y="93"/>
                  </a:lnTo>
                  <a:lnTo>
                    <a:pt x="94" y="84"/>
                  </a:lnTo>
                  <a:lnTo>
                    <a:pt x="93" y="80"/>
                  </a:lnTo>
                  <a:lnTo>
                    <a:pt x="86" y="74"/>
                  </a:lnTo>
                  <a:lnTo>
                    <a:pt x="82" y="54"/>
                  </a:lnTo>
                  <a:lnTo>
                    <a:pt x="100" y="21"/>
                  </a:lnTo>
                  <a:lnTo>
                    <a:pt x="103" y="20"/>
                  </a:lnTo>
                  <a:lnTo>
                    <a:pt x="105" y="23"/>
                  </a:lnTo>
                  <a:lnTo>
                    <a:pt x="109" y="26"/>
                  </a:lnTo>
                  <a:lnTo>
                    <a:pt x="140" y="62"/>
                  </a:lnTo>
                  <a:lnTo>
                    <a:pt x="156" y="71"/>
                  </a:lnTo>
                  <a:lnTo>
                    <a:pt x="161" y="69"/>
                  </a:lnTo>
                  <a:lnTo>
                    <a:pt x="180" y="70"/>
                  </a:lnTo>
                  <a:lnTo>
                    <a:pt x="212" y="53"/>
                  </a:lnTo>
                  <a:lnTo>
                    <a:pt x="214" y="50"/>
                  </a:lnTo>
                  <a:lnTo>
                    <a:pt x="216" y="49"/>
                  </a:lnTo>
                  <a:lnTo>
                    <a:pt x="218" y="49"/>
                  </a:lnTo>
                  <a:lnTo>
                    <a:pt x="222" y="51"/>
                  </a:lnTo>
                  <a:lnTo>
                    <a:pt x="225" y="51"/>
                  </a:lnTo>
                  <a:lnTo>
                    <a:pt x="227" y="52"/>
                  </a:lnTo>
                  <a:lnTo>
                    <a:pt x="237" y="52"/>
                  </a:lnTo>
                  <a:lnTo>
                    <a:pt x="244" y="57"/>
                  </a:lnTo>
                  <a:lnTo>
                    <a:pt x="260" y="54"/>
                  </a:lnTo>
                  <a:lnTo>
                    <a:pt x="269" y="47"/>
                  </a:lnTo>
                  <a:lnTo>
                    <a:pt x="277" y="45"/>
                  </a:lnTo>
                  <a:lnTo>
                    <a:pt x="281" y="40"/>
                  </a:lnTo>
                  <a:lnTo>
                    <a:pt x="295" y="36"/>
                  </a:lnTo>
                  <a:lnTo>
                    <a:pt x="305" y="39"/>
                  </a:lnTo>
                  <a:lnTo>
                    <a:pt x="333" y="36"/>
                  </a:lnTo>
                  <a:lnTo>
                    <a:pt x="343" y="29"/>
                  </a:lnTo>
                  <a:lnTo>
                    <a:pt x="359" y="31"/>
                  </a:lnTo>
                  <a:lnTo>
                    <a:pt x="377" y="25"/>
                  </a:lnTo>
                  <a:lnTo>
                    <a:pt x="382" y="25"/>
                  </a:lnTo>
                  <a:lnTo>
                    <a:pt x="386" y="21"/>
                  </a:lnTo>
                  <a:lnTo>
                    <a:pt x="414" y="17"/>
                  </a:lnTo>
                  <a:lnTo>
                    <a:pt x="430" y="10"/>
                  </a:lnTo>
                  <a:lnTo>
                    <a:pt x="434" y="2"/>
                  </a:lnTo>
                  <a:lnTo>
                    <a:pt x="440" y="0"/>
                  </a:lnTo>
                  <a:lnTo>
                    <a:pt x="448" y="0"/>
                  </a:lnTo>
                  <a:lnTo>
                    <a:pt x="456" y="6"/>
                  </a:lnTo>
                  <a:lnTo>
                    <a:pt x="464" y="6"/>
                  </a:lnTo>
                  <a:lnTo>
                    <a:pt x="466" y="7"/>
                  </a:lnTo>
                  <a:lnTo>
                    <a:pt x="464" y="12"/>
                  </a:lnTo>
                  <a:lnTo>
                    <a:pt x="465" y="17"/>
                  </a:lnTo>
                  <a:lnTo>
                    <a:pt x="459" y="23"/>
                  </a:lnTo>
                  <a:lnTo>
                    <a:pt x="458" y="28"/>
                  </a:lnTo>
                  <a:lnTo>
                    <a:pt x="459" y="36"/>
                  </a:lnTo>
                  <a:lnTo>
                    <a:pt x="463" y="40"/>
                  </a:lnTo>
                  <a:lnTo>
                    <a:pt x="461" y="44"/>
                  </a:lnTo>
                  <a:lnTo>
                    <a:pt x="462" y="49"/>
                  </a:lnTo>
                  <a:lnTo>
                    <a:pt x="461" y="56"/>
                  </a:lnTo>
                  <a:lnTo>
                    <a:pt x="462" y="64"/>
                  </a:lnTo>
                  <a:lnTo>
                    <a:pt x="461" y="66"/>
                  </a:lnTo>
                  <a:lnTo>
                    <a:pt x="455" y="71"/>
                  </a:lnTo>
                  <a:lnTo>
                    <a:pt x="455" y="72"/>
                  </a:lnTo>
                  <a:lnTo>
                    <a:pt x="461" y="71"/>
                  </a:lnTo>
                  <a:lnTo>
                    <a:pt x="462" y="69"/>
                  </a:lnTo>
                  <a:lnTo>
                    <a:pt x="463" y="69"/>
                  </a:lnTo>
                  <a:lnTo>
                    <a:pt x="465" y="71"/>
                  </a:lnTo>
                  <a:lnTo>
                    <a:pt x="469" y="72"/>
                  </a:lnTo>
                  <a:lnTo>
                    <a:pt x="470" y="75"/>
                  </a:lnTo>
                  <a:lnTo>
                    <a:pt x="468" y="76"/>
                  </a:lnTo>
                  <a:lnTo>
                    <a:pt x="467" y="76"/>
                  </a:lnTo>
                  <a:lnTo>
                    <a:pt x="462" y="74"/>
                  </a:lnTo>
                  <a:lnTo>
                    <a:pt x="455" y="74"/>
                  </a:lnTo>
                  <a:lnTo>
                    <a:pt x="451" y="76"/>
                  </a:lnTo>
                  <a:lnTo>
                    <a:pt x="450" y="77"/>
                  </a:lnTo>
                  <a:lnTo>
                    <a:pt x="445" y="118"/>
                  </a:lnTo>
                  <a:lnTo>
                    <a:pt x="443" y="122"/>
                  </a:lnTo>
                  <a:lnTo>
                    <a:pt x="442" y="131"/>
                  </a:lnTo>
                  <a:lnTo>
                    <a:pt x="434" y="138"/>
                  </a:lnTo>
                  <a:lnTo>
                    <a:pt x="415" y="171"/>
                  </a:lnTo>
                  <a:lnTo>
                    <a:pt x="406" y="179"/>
                  </a:lnTo>
                  <a:lnTo>
                    <a:pt x="402" y="189"/>
                  </a:lnTo>
                  <a:lnTo>
                    <a:pt x="401" y="199"/>
                  </a:lnTo>
                  <a:lnTo>
                    <a:pt x="359" y="288"/>
                  </a:lnTo>
                  <a:lnTo>
                    <a:pt x="353" y="294"/>
                  </a:lnTo>
                  <a:lnTo>
                    <a:pt x="350" y="296"/>
                  </a:lnTo>
                  <a:lnTo>
                    <a:pt x="348" y="299"/>
                  </a:lnTo>
                  <a:lnTo>
                    <a:pt x="346" y="300"/>
                  </a:lnTo>
                  <a:lnTo>
                    <a:pt x="330" y="317"/>
                  </a:lnTo>
                  <a:lnTo>
                    <a:pt x="325" y="325"/>
                  </a:lnTo>
                  <a:lnTo>
                    <a:pt x="325" y="327"/>
                  </a:lnTo>
                  <a:lnTo>
                    <a:pt x="303" y="361"/>
                  </a:lnTo>
                  <a:lnTo>
                    <a:pt x="304" y="362"/>
                  </a:lnTo>
                  <a:lnTo>
                    <a:pt x="248" y="412"/>
                  </a:lnTo>
                  <a:lnTo>
                    <a:pt x="248" y="415"/>
                  </a:lnTo>
                  <a:lnTo>
                    <a:pt x="232" y="435"/>
                  </a:lnTo>
                  <a:lnTo>
                    <a:pt x="209" y="453"/>
                  </a:lnTo>
                  <a:lnTo>
                    <a:pt x="193" y="459"/>
                  </a:lnTo>
                  <a:lnTo>
                    <a:pt x="187" y="460"/>
                  </a:lnTo>
                  <a:lnTo>
                    <a:pt x="86" y="552"/>
                  </a:lnTo>
                  <a:lnTo>
                    <a:pt x="76" y="554"/>
                  </a:lnTo>
                  <a:lnTo>
                    <a:pt x="73" y="553"/>
                  </a:lnTo>
                  <a:lnTo>
                    <a:pt x="71" y="556"/>
                  </a:lnTo>
                  <a:lnTo>
                    <a:pt x="73" y="557"/>
                  </a:lnTo>
                  <a:lnTo>
                    <a:pt x="74" y="559"/>
                  </a:lnTo>
                  <a:lnTo>
                    <a:pt x="73" y="562"/>
                  </a:lnTo>
                  <a:lnTo>
                    <a:pt x="71" y="563"/>
                  </a:lnTo>
                  <a:lnTo>
                    <a:pt x="68" y="571"/>
                  </a:lnTo>
                  <a:lnTo>
                    <a:pt x="27" y="618"/>
                  </a:lnTo>
                  <a:lnTo>
                    <a:pt x="25" y="62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3" name="Freeform 131"/>
            <p:cNvSpPr>
              <a:spLocks/>
            </p:cNvSpPr>
            <p:nvPr/>
          </p:nvSpPr>
          <p:spPr bwMode="auto">
            <a:xfrm>
              <a:off x="5524009" y="2642496"/>
              <a:ext cx="558529" cy="621547"/>
            </a:xfrm>
            <a:custGeom>
              <a:avLst/>
              <a:gdLst>
                <a:gd name="T0" fmla="*/ 4 w 470"/>
                <a:gd name="T1" fmla="*/ 76 h 620"/>
                <a:gd name="T2" fmla="*/ 0 w 470"/>
                <a:gd name="T3" fmla="*/ 51 h 620"/>
                <a:gd name="T4" fmla="*/ 6 w 470"/>
                <a:gd name="T5" fmla="*/ 45 h 620"/>
                <a:gd name="T6" fmla="*/ 7 w 470"/>
                <a:gd name="T7" fmla="*/ 45 h 620"/>
                <a:gd name="T8" fmla="*/ 17 w 470"/>
                <a:gd name="T9" fmla="*/ 41 h 620"/>
                <a:gd name="T10" fmla="*/ 30 w 470"/>
                <a:gd name="T11" fmla="*/ 39 h 620"/>
                <a:gd name="T12" fmla="*/ 52 w 470"/>
                <a:gd name="T13" fmla="*/ 22 h 620"/>
                <a:gd name="T14" fmla="*/ 23 w 470"/>
                <a:gd name="T15" fmla="*/ 16 h 620"/>
                <a:gd name="T16" fmla="*/ 19 w 470"/>
                <a:gd name="T17" fmla="*/ 14 h 620"/>
                <a:gd name="T18" fmla="*/ 17 w 470"/>
                <a:gd name="T19" fmla="*/ 12 h 620"/>
                <a:gd name="T20" fmla="*/ 15 w 470"/>
                <a:gd name="T21" fmla="*/ 10 h 620"/>
                <a:gd name="T22" fmla="*/ 13 w 470"/>
                <a:gd name="T23" fmla="*/ 9 h 620"/>
                <a:gd name="T24" fmla="*/ 16 w 470"/>
                <a:gd name="T25" fmla="*/ 3 h 620"/>
                <a:gd name="T26" fmla="*/ 17 w 470"/>
                <a:gd name="T27" fmla="*/ 3 h 620"/>
                <a:gd name="T28" fmla="*/ 23 w 470"/>
                <a:gd name="T29" fmla="*/ 8 h 620"/>
                <a:gd name="T30" fmla="*/ 26 w 470"/>
                <a:gd name="T31" fmla="*/ 9 h 620"/>
                <a:gd name="T32" fmla="*/ 35 w 470"/>
                <a:gd name="T33" fmla="*/ 6 h 620"/>
                <a:gd name="T34" fmla="*/ 35 w 470"/>
                <a:gd name="T35" fmla="*/ 6 h 620"/>
                <a:gd name="T36" fmla="*/ 36 w 470"/>
                <a:gd name="T37" fmla="*/ 6 h 620"/>
                <a:gd name="T38" fmla="*/ 37 w 470"/>
                <a:gd name="T39" fmla="*/ 6 h 620"/>
                <a:gd name="T40" fmla="*/ 39 w 470"/>
                <a:gd name="T41" fmla="*/ 7 h 620"/>
                <a:gd name="T42" fmla="*/ 43 w 470"/>
                <a:gd name="T43" fmla="*/ 6 h 620"/>
                <a:gd name="T44" fmla="*/ 46 w 470"/>
                <a:gd name="T45" fmla="*/ 5 h 620"/>
                <a:gd name="T46" fmla="*/ 49 w 470"/>
                <a:gd name="T47" fmla="*/ 5 h 620"/>
                <a:gd name="T48" fmla="*/ 56 w 470"/>
                <a:gd name="T49" fmla="*/ 3 h 620"/>
                <a:gd name="T50" fmla="*/ 61 w 470"/>
                <a:gd name="T51" fmla="*/ 3 h 620"/>
                <a:gd name="T52" fmla="*/ 62 w 470"/>
                <a:gd name="T53" fmla="*/ 3 h 620"/>
                <a:gd name="T54" fmla="*/ 70 w 470"/>
                <a:gd name="T55" fmla="*/ 1 h 620"/>
                <a:gd name="T56" fmla="*/ 71 w 470"/>
                <a:gd name="T57" fmla="*/ 0 h 620"/>
                <a:gd name="T58" fmla="*/ 74 w 470"/>
                <a:gd name="T59" fmla="*/ 1 h 620"/>
                <a:gd name="T60" fmla="*/ 75 w 470"/>
                <a:gd name="T61" fmla="*/ 1 h 620"/>
                <a:gd name="T62" fmla="*/ 75 w 470"/>
                <a:gd name="T63" fmla="*/ 2 h 620"/>
                <a:gd name="T64" fmla="*/ 74 w 470"/>
                <a:gd name="T65" fmla="*/ 3 h 620"/>
                <a:gd name="T66" fmla="*/ 75 w 470"/>
                <a:gd name="T67" fmla="*/ 5 h 620"/>
                <a:gd name="T68" fmla="*/ 75 w 470"/>
                <a:gd name="T69" fmla="*/ 6 h 620"/>
                <a:gd name="T70" fmla="*/ 75 w 470"/>
                <a:gd name="T71" fmla="*/ 8 h 620"/>
                <a:gd name="T72" fmla="*/ 74 w 470"/>
                <a:gd name="T73" fmla="*/ 9 h 620"/>
                <a:gd name="T74" fmla="*/ 75 w 470"/>
                <a:gd name="T75" fmla="*/ 9 h 620"/>
                <a:gd name="T76" fmla="*/ 75 w 470"/>
                <a:gd name="T77" fmla="*/ 9 h 620"/>
                <a:gd name="T78" fmla="*/ 75 w 470"/>
                <a:gd name="T79" fmla="*/ 9 h 620"/>
                <a:gd name="T80" fmla="*/ 75 w 470"/>
                <a:gd name="T81" fmla="*/ 9 h 620"/>
                <a:gd name="T82" fmla="*/ 75 w 470"/>
                <a:gd name="T83" fmla="*/ 9 h 620"/>
                <a:gd name="T84" fmla="*/ 73 w 470"/>
                <a:gd name="T85" fmla="*/ 9 h 620"/>
                <a:gd name="T86" fmla="*/ 72 w 470"/>
                <a:gd name="T87" fmla="*/ 15 h 620"/>
                <a:gd name="T88" fmla="*/ 71 w 470"/>
                <a:gd name="T89" fmla="*/ 16 h 620"/>
                <a:gd name="T90" fmla="*/ 67 w 470"/>
                <a:gd name="T91" fmla="*/ 21 h 620"/>
                <a:gd name="T92" fmla="*/ 65 w 470"/>
                <a:gd name="T93" fmla="*/ 23 h 620"/>
                <a:gd name="T94" fmla="*/ 58 w 470"/>
                <a:gd name="T95" fmla="*/ 36 h 620"/>
                <a:gd name="T96" fmla="*/ 57 w 470"/>
                <a:gd name="T97" fmla="*/ 37 h 620"/>
                <a:gd name="T98" fmla="*/ 56 w 470"/>
                <a:gd name="T99" fmla="*/ 37 h 620"/>
                <a:gd name="T100" fmla="*/ 53 w 470"/>
                <a:gd name="T101" fmla="*/ 40 h 620"/>
                <a:gd name="T102" fmla="*/ 49 w 470"/>
                <a:gd name="T103" fmla="*/ 44 h 620"/>
                <a:gd name="T104" fmla="*/ 40 w 470"/>
                <a:gd name="T105" fmla="*/ 51 h 620"/>
                <a:gd name="T106" fmla="*/ 37 w 470"/>
                <a:gd name="T107" fmla="*/ 53 h 620"/>
                <a:gd name="T108" fmla="*/ 31 w 470"/>
                <a:gd name="T109" fmla="*/ 57 h 620"/>
                <a:gd name="T110" fmla="*/ 13 w 470"/>
                <a:gd name="T111" fmla="*/ 68 h 620"/>
                <a:gd name="T112" fmla="*/ 12 w 470"/>
                <a:gd name="T113" fmla="*/ 68 h 620"/>
                <a:gd name="T114" fmla="*/ 12 w 470"/>
                <a:gd name="T115" fmla="*/ 69 h 620"/>
                <a:gd name="T116" fmla="*/ 12 w 470"/>
                <a:gd name="T117" fmla="*/ 70 h 620"/>
                <a:gd name="T118" fmla="*/ 11 w 470"/>
                <a:gd name="T119" fmla="*/ 71 h 620"/>
                <a:gd name="T120" fmla="*/ 4 w 470"/>
                <a:gd name="T121" fmla="*/ 77 h 62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70"/>
                <a:gd name="T184" fmla="*/ 0 h 620"/>
                <a:gd name="T185" fmla="*/ 470 w 470"/>
                <a:gd name="T186" fmla="*/ 620 h 62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70" h="620">
                  <a:moveTo>
                    <a:pt x="25" y="620"/>
                  </a:moveTo>
                  <a:lnTo>
                    <a:pt x="25" y="616"/>
                  </a:lnTo>
                  <a:lnTo>
                    <a:pt x="0" y="585"/>
                  </a:lnTo>
                  <a:lnTo>
                    <a:pt x="0" y="417"/>
                  </a:lnTo>
                  <a:lnTo>
                    <a:pt x="3" y="415"/>
                  </a:lnTo>
                  <a:lnTo>
                    <a:pt x="40" y="370"/>
                  </a:lnTo>
                  <a:lnTo>
                    <a:pt x="41" y="366"/>
                  </a:lnTo>
                  <a:lnTo>
                    <a:pt x="43" y="362"/>
                  </a:lnTo>
                  <a:lnTo>
                    <a:pt x="85" y="347"/>
                  </a:lnTo>
                  <a:lnTo>
                    <a:pt x="107" y="329"/>
                  </a:lnTo>
                  <a:lnTo>
                    <a:pt x="130" y="318"/>
                  </a:lnTo>
                  <a:lnTo>
                    <a:pt x="185" y="317"/>
                  </a:lnTo>
                  <a:lnTo>
                    <a:pt x="320" y="179"/>
                  </a:lnTo>
                  <a:lnTo>
                    <a:pt x="321" y="177"/>
                  </a:lnTo>
                  <a:lnTo>
                    <a:pt x="277" y="179"/>
                  </a:lnTo>
                  <a:lnTo>
                    <a:pt x="139" y="130"/>
                  </a:lnTo>
                  <a:lnTo>
                    <a:pt x="133" y="123"/>
                  </a:lnTo>
                  <a:lnTo>
                    <a:pt x="117" y="111"/>
                  </a:lnTo>
                  <a:lnTo>
                    <a:pt x="111" y="103"/>
                  </a:lnTo>
                  <a:lnTo>
                    <a:pt x="106" y="98"/>
                  </a:lnTo>
                  <a:lnTo>
                    <a:pt x="104" y="93"/>
                  </a:lnTo>
                  <a:lnTo>
                    <a:pt x="94" y="84"/>
                  </a:lnTo>
                  <a:lnTo>
                    <a:pt x="93" y="80"/>
                  </a:lnTo>
                  <a:lnTo>
                    <a:pt x="86" y="74"/>
                  </a:lnTo>
                  <a:lnTo>
                    <a:pt x="82" y="54"/>
                  </a:lnTo>
                  <a:lnTo>
                    <a:pt x="100" y="21"/>
                  </a:lnTo>
                  <a:lnTo>
                    <a:pt x="103" y="20"/>
                  </a:lnTo>
                  <a:lnTo>
                    <a:pt x="105" y="23"/>
                  </a:lnTo>
                  <a:lnTo>
                    <a:pt x="109" y="26"/>
                  </a:lnTo>
                  <a:lnTo>
                    <a:pt x="140" y="62"/>
                  </a:lnTo>
                  <a:lnTo>
                    <a:pt x="156" y="71"/>
                  </a:lnTo>
                  <a:lnTo>
                    <a:pt x="161" y="69"/>
                  </a:lnTo>
                  <a:lnTo>
                    <a:pt x="180" y="70"/>
                  </a:lnTo>
                  <a:lnTo>
                    <a:pt x="212" y="53"/>
                  </a:lnTo>
                  <a:lnTo>
                    <a:pt x="214" y="50"/>
                  </a:lnTo>
                  <a:lnTo>
                    <a:pt x="216" y="49"/>
                  </a:lnTo>
                  <a:lnTo>
                    <a:pt x="218" y="49"/>
                  </a:lnTo>
                  <a:lnTo>
                    <a:pt x="222" y="51"/>
                  </a:lnTo>
                  <a:lnTo>
                    <a:pt x="225" y="51"/>
                  </a:lnTo>
                  <a:lnTo>
                    <a:pt x="227" y="52"/>
                  </a:lnTo>
                  <a:lnTo>
                    <a:pt x="237" y="52"/>
                  </a:lnTo>
                  <a:lnTo>
                    <a:pt x="244" y="57"/>
                  </a:lnTo>
                  <a:lnTo>
                    <a:pt x="260" y="54"/>
                  </a:lnTo>
                  <a:lnTo>
                    <a:pt x="269" y="47"/>
                  </a:lnTo>
                  <a:lnTo>
                    <a:pt x="277" y="45"/>
                  </a:lnTo>
                  <a:lnTo>
                    <a:pt x="281" y="40"/>
                  </a:lnTo>
                  <a:lnTo>
                    <a:pt x="295" y="36"/>
                  </a:lnTo>
                  <a:lnTo>
                    <a:pt x="305" y="39"/>
                  </a:lnTo>
                  <a:lnTo>
                    <a:pt x="333" y="36"/>
                  </a:lnTo>
                  <a:lnTo>
                    <a:pt x="343" y="29"/>
                  </a:lnTo>
                  <a:lnTo>
                    <a:pt x="359" y="31"/>
                  </a:lnTo>
                  <a:lnTo>
                    <a:pt x="377" y="25"/>
                  </a:lnTo>
                  <a:lnTo>
                    <a:pt x="382" y="25"/>
                  </a:lnTo>
                  <a:lnTo>
                    <a:pt x="386" y="21"/>
                  </a:lnTo>
                  <a:lnTo>
                    <a:pt x="414" y="17"/>
                  </a:lnTo>
                  <a:lnTo>
                    <a:pt x="430" y="10"/>
                  </a:lnTo>
                  <a:lnTo>
                    <a:pt x="434" y="2"/>
                  </a:lnTo>
                  <a:lnTo>
                    <a:pt x="440" y="0"/>
                  </a:lnTo>
                  <a:lnTo>
                    <a:pt x="448" y="0"/>
                  </a:lnTo>
                  <a:lnTo>
                    <a:pt x="456" y="6"/>
                  </a:lnTo>
                  <a:lnTo>
                    <a:pt x="464" y="6"/>
                  </a:lnTo>
                  <a:lnTo>
                    <a:pt x="466" y="7"/>
                  </a:lnTo>
                  <a:lnTo>
                    <a:pt x="464" y="12"/>
                  </a:lnTo>
                  <a:lnTo>
                    <a:pt x="465" y="17"/>
                  </a:lnTo>
                  <a:lnTo>
                    <a:pt x="459" y="23"/>
                  </a:lnTo>
                  <a:lnTo>
                    <a:pt x="458" y="28"/>
                  </a:lnTo>
                  <a:lnTo>
                    <a:pt x="459" y="36"/>
                  </a:lnTo>
                  <a:lnTo>
                    <a:pt x="463" y="40"/>
                  </a:lnTo>
                  <a:lnTo>
                    <a:pt x="461" y="44"/>
                  </a:lnTo>
                  <a:lnTo>
                    <a:pt x="462" y="49"/>
                  </a:lnTo>
                  <a:lnTo>
                    <a:pt x="461" y="56"/>
                  </a:lnTo>
                  <a:lnTo>
                    <a:pt x="462" y="64"/>
                  </a:lnTo>
                  <a:lnTo>
                    <a:pt x="461" y="66"/>
                  </a:lnTo>
                  <a:lnTo>
                    <a:pt x="455" y="71"/>
                  </a:lnTo>
                  <a:lnTo>
                    <a:pt x="455" y="72"/>
                  </a:lnTo>
                  <a:lnTo>
                    <a:pt x="461" y="71"/>
                  </a:lnTo>
                  <a:lnTo>
                    <a:pt x="462" y="69"/>
                  </a:lnTo>
                  <a:lnTo>
                    <a:pt x="463" y="69"/>
                  </a:lnTo>
                  <a:lnTo>
                    <a:pt x="465" y="71"/>
                  </a:lnTo>
                  <a:lnTo>
                    <a:pt x="469" y="72"/>
                  </a:lnTo>
                  <a:lnTo>
                    <a:pt x="470" y="75"/>
                  </a:lnTo>
                  <a:lnTo>
                    <a:pt x="468" y="76"/>
                  </a:lnTo>
                  <a:lnTo>
                    <a:pt x="467" y="76"/>
                  </a:lnTo>
                  <a:lnTo>
                    <a:pt x="462" y="74"/>
                  </a:lnTo>
                  <a:lnTo>
                    <a:pt x="455" y="74"/>
                  </a:lnTo>
                  <a:lnTo>
                    <a:pt x="451" y="76"/>
                  </a:lnTo>
                  <a:lnTo>
                    <a:pt x="450" y="77"/>
                  </a:lnTo>
                  <a:lnTo>
                    <a:pt x="445" y="118"/>
                  </a:lnTo>
                  <a:lnTo>
                    <a:pt x="443" y="122"/>
                  </a:lnTo>
                  <a:lnTo>
                    <a:pt x="442" y="131"/>
                  </a:lnTo>
                  <a:lnTo>
                    <a:pt x="434" y="138"/>
                  </a:lnTo>
                  <a:lnTo>
                    <a:pt x="415" y="171"/>
                  </a:lnTo>
                  <a:lnTo>
                    <a:pt x="406" y="179"/>
                  </a:lnTo>
                  <a:lnTo>
                    <a:pt x="402" y="189"/>
                  </a:lnTo>
                  <a:lnTo>
                    <a:pt x="401" y="199"/>
                  </a:lnTo>
                  <a:lnTo>
                    <a:pt x="359" y="288"/>
                  </a:lnTo>
                  <a:lnTo>
                    <a:pt x="353" y="294"/>
                  </a:lnTo>
                  <a:lnTo>
                    <a:pt x="350" y="296"/>
                  </a:lnTo>
                  <a:lnTo>
                    <a:pt x="348" y="299"/>
                  </a:lnTo>
                  <a:lnTo>
                    <a:pt x="346" y="300"/>
                  </a:lnTo>
                  <a:lnTo>
                    <a:pt x="330" y="317"/>
                  </a:lnTo>
                  <a:lnTo>
                    <a:pt x="325" y="325"/>
                  </a:lnTo>
                  <a:lnTo>
                    <a:pt x="325" y="327"/>
                  </a:lnTo>
                  <a:lnTo>
                    <a:pt x="303" y="361"/>
                  </a:lnTo>
                  <a:lnTo>
                    <a:pt x="304" y="362"/>
                  </a:lnTo>
                  <a:lnTo>
                    <a:pt x="248" y="412"/>
                  </a:lnTo>
                  <a:lnTo>
                    <a:pt x="248" y="415"/>
                  </a:lnTo>
                  <a:lnTo>
                    <a:pt x="232" y="435"/>
                  </a:lnTo>
                  <a:lnTo>
                    <a:pt x="209" y="453"/>
                  </a:lnTo>
                  <a:lnTo>
                    <a:pt x="193" y="459"/>
                  </a:lnTo>
                  <a:lnTo>
                    <a:pt x="187" y="460"/>
                  </a:lnTo>
                  <a:lnTo>
                    <a:pt x="86" y="552"/>
                  </a:lnTo>
                  <a:lnTo>
                    <a:pt x="76" y="554"/>
                  </a:lnTo>
                  <a:lnTo>
                    <a:pt x="73" y="553"/>
                  </a:lnTo>
                  <a:lnTo>
                    <a:pt x="71" y="556"/>
                  </a:lnTo>
                  <a:lnTo>
                    <a:pt x="73" y="557"/>
                  </a:lnTo>
                  <a:lnTo>
                    <a:pt x="74" y="559"/>
                  </a:lnTo>
                  <a:lnTo>
                    <a:pt x="73" y="562"/>
                  </a:lnTo>
                  <a:lnTo>
                    <a:pt x="71" y="563"/>
                  </a:lnTo>
                  <a:lnTo>
                    <a:pt x="68" y="571"/>
                  </a:lnTo>
                  <a:lnTo>
                    <a:pt x="27" y="618"/>
                  </a:lnTo>
                  <a:lnTo>
                    <a:pt x="25" y="62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4" name="Freeform 132"/>
            <p:cNvSpPr>
              <a:spLocks/>
            </p:cNvSpPr>
            <p:nvPr/>
          </p:nvSpPr>
          <p:spPr bwMode="auto">
            <a:xfrm>
              <a:off x="4646609" y="3905997"/>
              <a:ext cx="430576" cy="337676"/>
            </a:xfrm>
            <a:custGeom>
              <a:avLst/>
              <a:gdLst>
                <a:gd name="T0" fmla="*/ 28 w 359"/>
                <a:gd name="T1" fmla="*/ 6 h 340"/>
                <a:gd name="T2" fmla="*/ 28 w 359"/>
                <a:gd name="T3" fmla="*/ 7 h 340"/>
                <a:gd name="T4" fmla="*/ 27 w 359"/>
                <a:gd name="T5" fmla="*/ 7 h 340"/>
                <a:gd name="T6" fmla="*/ 25 w 359"/>
                <a:gd name="T7" fmla="*/ 7 h 340"/>
                <a:gd name="T8" fmla="*/ 24 w 359"/>
                <a:gd name="T9" fmla="*/ 7 h 340"/>
                <a:gd name="T10" fmla="*/ 24 w 359"/>
                <a:gd name="T11" fmla="*/ 7 h 340"/>
                <a:gd name="T12" fmla="*/ 23 w 359"/>
                <a:gd name="T13" fmla="*/ 7 h 340"/>
                <a:gd name="T14" fmla="*/ 22 w 359"/>
                <a:gd name="T15" fmla="*/ 7 h 340"/>
                <a:gd name="T16" fmla="*/ 22 w 359"/>
                <a:gd name="T17" fmla="*/ 9 h 340"/>
                <a:gd name="T18" fmla="*/ 22 w 359"/>
                <a:gd name="T19" fmla="*/ 9 h 340"/>
                <a:gd name="T20" fmla="*/ 20 w 359"/>
                <a:gd name="T21" fmla="*/ 9 h 340"/>
                <a:gd name="T22" fmla="*/ 19 w 359"/>
                <a:gd name="T23" fmla="*/ 10 h 340"/>
                <a:gd name="T24" fmla="*/ 18 w 359"/>
                <a:gd name="T25" fmla="*/ 10 h 340"/>
                <a:gd name="T26" fmla="*/ 17 w 359"/>
                <a:gd name="T27" fmla="*/ 11 h 340"/>
                <a:gd name="T28" fmla="*/ 17 w 359"/>
                <a:gd name="T29" fmla="*/ 11 h 340"/>
                <a:gd name="T30" fmla="*/ 14 w 359"/>
                <a:gd name="T31" fmla="*/ 13 h 340"/>
                <a:gd name="T32" fmla="*/ 13 w 359"/>
                <a:gd name="T33" fmla="*/ 14 h 340"/>
                <a:gd name="T34" fmla="*/ 11 w 359"/>
                <a:gd name="T35" fmla="*/ 14 h 340"/>
                <a:gd name="T36" fmla="*/ 11 w 359"/>
                <a:gd name="T37" fmla="*/ 13 h 340"/>
                <a:gd name="T38" fmla="*/ 8 w 359"/>
                <a:gd name="T39" fmla="*/ 13 h 340"/>
                <a:gd name="T40" fmla="*/ 6 w 359"/>
                <a:gd name="T41" fmla="*/ 13 h 340"/>
                <a:gd name="T42" fmla="*/ 1 w 359"/>
                <a:gd name="T43" fmla="*/ 13 h 340"/>
                <a:gd name="T44" fmla="*/ 0 w 359"/>
                <a:gd name="T45" fmla="*/ 13 h 340"/>
                <a:gd name="T46" fmla="*/ 2 w 359"/>
                <a:gd name="T47" fmla="*/ 17 h 340"/>
                <a:gd name="T48" fmla="*/ 4 w 359"/>
                <a:gd name="T49" fmla="*/ 18 h 340"/>
                <a:gd name="T50" fmla="*/ 13 w 359"/>
                <a:gd name="T51" fmla="*/ 25 h 340"/>
                <a:gd name="T52" fmla="*/ 17 w 359"/>
                <a:gd name="T53" fmla="*/ 27 h 340"/>
                <a:gd name="T54" fmla="*/ 19 w 359"/>
                <a:gd name="T55" fmla="*/ 29 h 340"/>
                <a:gd name="T56" fmla="*/ 21 w 359"/>
                <a:gd name="T57" fmla="*/ 34 h 340"/>
                <a:gd name="T58" fmla="*/ 27 w 359"/>
                <a:gd name="T59" fmla="*/ 35 h 340"/>
                <a:gd name="T60" fmla="*/ 34 w 359"/>
                <a:gd name="T61" fmla="*/ 37 h 340"/>
                <a:gd name="T62" fmla="*/ 43 w 359"/>
                <a:gd name="T63" fmla="*/ 38 h 340"/>
                <a:gd name="T64" fmla="*/ 48 w 359"/>
                <a:gd name="T65" fmla="*/ 40 h 340"/>
                <a:gd name="T66" fmla="*/ 49 w 359"/>
                <a:gd name="T67" fmla="*/ 40 h 340"/>
                <a:gd name="T68" fmla="*/ 49 w 359"/>
                <a:gd name="T69" fmla="*/ 39 h 340"/>
                <a:gd name="T70" fmla="*/ 51 w 359"/>
                <a:gd name="T71" fmla="*/ 37 h 340"/>
                <a:gd name="T72" fmla="*/ 59 w 359"/>
                <a:gd name="T73" fmla="*/ 25 h 340"/>
                <a:gd name="T74" fmla="*/ 59 w 359"/>
                <a:gd name="T75" fmla="*/ 18 h 340"/>
                <a:gd name="T76" fmla="*/ 58 w 359"/>
                <a:gd name="T77" fmla="*/ 6 h 340"/>
                <a:gd name="T78" fmla="*/ 45 w 359"/>
                <a:gd name="T79" fmla="*/ 2 h 340"/>
                <a:gd name="T80" fmla="*/ 40 w 359"/>
                <a:gd name="T81" fmla="*/ 1 h 340"/>
                <a:gd name="T82" fmla="*/ 38 w 359"/>
                <a:gd name="T83" fmla="*/ 1 h 340"/>
                <a:gd name="T84" fmla="*/ 36 w 359"/>
                <a:gd name="T85" fmla="*/ 1 h 340"/>
                <a:gd name="T86" fmla="*/ 34 w 359"/>
                <a:gd name="T87" fmla="*/ 0 h 340"/>
                <a:gd name="T88" fmla="*/ 31 w 359"/>
                <a:gd name="T89" fmla="*/ 1 h 340"/>
                <a:gd name="T90" fmla="*/ 28 w 359"/>
                <a:gd name="T91" fmla="*/ 2 h 340"/>
                <a:gd name="T92" fmla="*/ 27 w 359"/>
                <a:gd name="T93" fmla="*/ 5 h 3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59"/>
                <a:gd name="T142" fmla="*/ 0 h 340"/>
                <a:gd name="T143" fmla="*/ 359 w 359"/>
                <a:gd name="T144" fmla="*/ 340 h 3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59" h="340">
                  <a:moveTo>
                    <a:pt x="160" y="46"/>
                  </a:moveTo>
                  <a:lnTo>
                    <a:pt x="169" y="52"/>
                  </a:lnTo>
                  <a:lnTo>
                    <a:pt x="170" y="55"/>
                  </a:lnTo>
                  <a:lnTo>
                    <a:pt x="166" y="57"/>
                  </a:lnTo>
                  <a:lnTo>
                    <a:pt x="163" y="60"/>
                  </a:lnTo>
                  <a:lnTo>
                    <a:pt x="161" y="60"/>
                  </a:lnTo>
                  <a:lnTo>
                    <a:pt x="154" y="57"/>
                  </a:lnTo>
                  <a:lnTo>
                    <a:pt x="150" y="57"/>
                  </a:lnTo>
                  <a:lnTo>
                    <a:pt x="148" y="58"/>
                  </a:lnTo>
                  <a:lnTo>
                    <a:pt x="146" y="61"/>
                  </a:lnTo>
                  <a:lnTo>
                    <a:pt x="143" y="61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38" y="62"/>
                  </a:lnTo>
                  <a:lnTo>
                    <a:pt x="133" y="64"/>
                  </a:lnTo>
                  <a:lnTo>
                    <a:pt x="131" y="66"/>
                  </a:lnTo>
                  <a:lnTo>
                    <a:pt x="130" y="68"/>
                  </a:lnTo>
                  <a:lnTo>
                    <a:pt x="131" y="70"/>
                  </a:lnTo>
                  <a:lnTo>
                    <a:pt x="130" y="72"/>
                  </a:lnTo>
                  <a:lnTo>
                    <a:pt x="129" y="72"/>
                  </a:lnTo>
                  <a:lnTo>
                    <a:pt x="127" y="71"/>
                  </a:lnTo>
                  <a:lnTo>
                    <a:pt x="120" y="74"/>
                  </a:lnTo>
                  <a:lnTo>
                    <a:pt x="117" y="76"/>
                  </a:lnTo>
                  <a:lnTo>
                    <a:pt x="117" y="80"/>
                  </a:lnTo>
                  <a:lnTo>
                    <a:pt x="112" y="81"/>
                  </a:lnTo>
                  <a:lnTo>
                    <a:pt x="109" y="85"/>
                  </a:lnTo>
                  <a:lnTo>
                    <a:pt x="106" y="90"/>
                  </a:lnTo>
                  <a:lnTo>
                    <a:pt x="102" y="93"/>
                  </a:lnTo>
                  <a:lnTo>
                    <a:pt x="101" y="95"/>
                  </a:lnTo>
                  <a:lnTo>
                    <a:pt x="97" y="97"/>
                  </a:lnTo>
                  <a:lnTo>
                    <a:pt x="93" y="104"/>
                  </a:lnTo>
                  <a:lnTo>
                    <a:pt x="86" y="108"/>
                  </a:lnTo>
                  <a:lnTo>
                    <a:pt x="82" y="107"/>
                  </a:lnTo>
                  <a:lnTo>
                    <a:pt x="77" y="115"/>
                  </a:lnTo>
                  <a:lnTo>
                    <a:pt x="73" y="114"/>
                  </a:lnTo>
                  <a:lnTo>
                    <a:pt x="67" y="117"/>
                  </a:lnTo>
                  <a:lnTo>
                    <a:pt x="64" y="116"/>
                  </a:lnTo>
                  <a:lnTo>
                    <a:pt x="62" y="112"/>
                  </a:lnTo>
                  <a:lnTo>
                    <a:pt x="58" y="110"/>
                  </a:lnTo>
                  <a:lnTo>
                    <a:pt x="51" y="111"/>
                  </a:lnTo>
                  <a:lnTo>
                    <a:pt x="47" y="110"/>
                  </a:lnTo>
                  <a:lnTo>
                    <a:pt x="34" y="113"/>
                  </a:lnTo>
                  <a:lnTo>
                    <a:pt x="21" y="107"/>
                  </a:lnTo>
                  <a:lnTo>
                    <a:pt x="6" y="110"/>
                  </a:lnTo>
                  <a:lnTo>
                    <a:pt x="3" y="108"/>
                  </a:lnTo>
                  <a:lnTo>
                    <a:pt x="0" y="105"/>
                  </a:lnTo>
                  <a:lnTo>
                    <a:pt x="1" y="113"/>
                  </a:lnTo>
                  <a:lnTo>
                    <a:pt x="14" y="136"/>
                  </a:lnTo>
                  <a:lnTo>
                    <a:pt x="22" y="145"/>
                  </a:lnTo>
                  <a:lnTo>
                    <a:pt x="23" y="154"/>
                  </a:lnTo>
                  <a:lnTo>
                    <a:pt x="65" y="208"/>
                  </a:lnTo>
                  <a:lnTo>
                    <a:pt x="79" y="211"/>
                  </a:lnTo>
                  <a:lnTo>
                    <a:pt x="90" y="218"/>
                  </a:lnTo>
                  <a:lnTo>
                    <a:pt x="98" y="229"/>
                  </a:lnTo>
                  <a:lnTo>
                    <a:pt x="108" y="233"/>
                  </a:lnTo>
                  <a:lnTo>
                    <a:pt x="116" y="242"/>
                  </a:lnTo>
                  <a:lnTo>
                    <a:pt x="120" y="276"/>
                  </a:lnTo>
                  <a:lnTo>
                    <a:pt x="126" y="286"/>
                  </a:lnTo>
                  <a:lnTo>
                    <a:pt x="140" y="298"/>
                  </a:lnTo>
                  <a:lnTo>
                    <a:pt x="162" y="299"/>
                  </a:lnTo>
                  <a:lnTo>
                    <a:pt x="191" y="315"/>
                  </a:lnTo>
                  <a:lnTo>
                    <a:pt x="200" y="311"/>
                  </a:lnTo>
                  <a:lnTo>
                    <a:pt x="227" y="319"/>
                  </a:lnTo>
                  <a:lnTo>
                    <a:pt x="258" y="320"/>
                  </a:lnTo>
                  <a:lnTo>
                    <a:pt x="275" y="325"/>
                  </a:lnTo>
                  <a:lnTo>
                    <a:pt x="288" y="338"/>
                  </a:lnTo>
                  <a:lnTo>
                    <a:pt x="292" y="339"/>
                  </a:lnTo>
                  <a:lnTo>
                    <a:pt x="293" y="340"/>
                  </a:lnTo>
                  <a:lnTo>
                    <a:pt x="294" y="339"/>
                  </a:lnTo>
                  <a:lnTo>
                    <a:pt x="294" y="326"/>
                  </a:lnTo>
                  <a:lnTo>
                    <a:pt x="296" y="316"/>
                  </a:lnTo>
                  <a:lnTo>
                    <a:pt x="301" y="308"/>
                  </a:lnTo>
                  <a:lnTo>
                    <a:pt x="318" y="296"/>
                  </a:lnTo>
                  <a:lnTo>
                    <a:pt x="353" y="211"/>
                  </a:lnTo>
                  <a:lnTo>
                    <a:pt x="345" y="163"/>
                  </a:lnTo>
                  <a:lnTo>
                    <a:pt x="354" y="148"/>
                  </a:lnTo>
                  <a:lnTo>
                    <a:pt x="359" y="89"/>
                  </a:lnTo>
                  <a:lnTo>
                    <a:pt x="351" y="51"/>
                  </a:lnTo>
                  <a:lnTo>
                    <a:pt x="343" y="43"/>
                  </a:lnTo>
                  <a:lnTo>
                    <a:pt x="269" y="17"/>
                  </a:lnTo>
                  <a:lnTo>
                    <a:pt x="235" y="18"/>
                  </a:lnTo>
                  <a:lnTo>
                    <a:pt x="235" y="1"/>
                  </a:lnTo>
                  <a:lnTo>
                    <a:pt x="234" y="2"/>
                  </a:lnTo>
                  <a:lnTo>
                    <a:pt x="228" y="2"/>
                  </a:lnTo>
                  <a:lnTo>
                    <a:pt x="221" y="4"/>
                  </a:lnTo>
                  <a:lnTo>
                    <a:pt x="215" y="3"/>
                  </a:lnTo>
                  <a:lnTo>
                    <a:pt x="211" y="1"/>
                  </a:lnTo>
                  <a:lnTo>
                    <a:pt x="207" y="0"/>
                  </a:lnTo>
                  <a:lnTo>
                    <a:pt x="198" y="5"/>
                  </a:lnTo>
                  <a:lnTo>
                    <a:pt x="184" y="7"/>
                  </a:lnTo>
                  <a:lnTo>
                    <a:pt x="173" y="16"/>
                  </a:lnTo>
                  <a:lnTo>
                    <a:pt x="167" y="17"/>
                  </a:lnTo>
                  <a:lnTo>
                    <a:pt x="163" y="19"/>
                  </a:lnTo>
                  <a:lnTo>
                    <a:pt x="160" y="4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5" name="Freeform 133"/>
            <p:cNvSpPr>
              <a:spLocks/>
            </p:cNvSpPr>
            <p:nvPr/>
          </p:nvSpPr>
          <p:spPr bwMode="auto">
            <a:xfrm>
              <a:off x="4646609" y="3905997"/>
              <a:ext cx="430576" cy="337676"/>
            </a:xfrm>
            <a:custGeom>
              <a:avLst/>
              <a:gdLst>
                <a:gd name="T0" fmla="*/ 28 w 359"/>
                <a:gd name="T1" fmla="*/ 6 h 340"/>
                <a:gd name="T2" fmla="*/ 28 w 359"/>
                <a:gd name="T3" fmla="*/ 7 h 340"/>
                <a:gd name="T4" fmla="*/ 27 w 359"/>
                <a:gd name="T5" fmla="*/ 7 h 340"/>
                <a:gd name="T6" fmla="*/ 25 w 359"/>
                <a:gd name="T7" fmla="*/ 7 h 340"/>
                <a:gd name="T8" fmla="*/ 24 w 359"/>
                <a:gd name="T9" fmla="*/ 7 h 340"/>
                <a:gd name="T10" fmla="*/ 24 w 359"/>
                <a:gd name="T11" fmla="*/ 7 h 340"/>
                <a:gd name="T12" fmla="*/ 23 w 359"/>
                <a:gd name="T13" fmla="*/ 7 h 340"/>
                <a:gd name="T14" fmla="*/ 22 w 359"/>
                <a:gd name="T15" fmla="*/ 7 h 340"/>
                <a:gd name="T16" fmla="*/ 22 w 359"/>
                <a:gd name="T17" fmla="*/ 9 h 340"/>
                <a:gd name="T18" fmla="*/ 22 w 359"/>
                <a:gd name="T19" fmla="*/ 9 h 340"/>
                <a:gd name="T20" fmla="*/ 20 w 359"/>
                <a:gd name="T21" fmla="*/ 9 h 340"/>
                <a:gd name="T22" fmla="*/ 19 w 359"/>
                <a:gd name="T23" fmla="*/ 10 h 340"/>
                <a:gd name="T24" fmla="*/ 18 w 359"/>
                <a:gd name="T25" fmla="*/ 10 h 340"/>
                <a:gd name="T26" fmla="*/ 17 w 359"/>
                <a:gd name="T27" fmla="*/ 11 h 340"/>
                <a:gd name="T28" fmla="*/ 17 w 359"/>
                <a:gd name="T29" fmla="*/ 11 h 340"/>
                <a:gd name="T30" fmla="*/ 14 w 359"/>
                <a:gd name="T31" fmla="*/ 13 h 340"/>
                <a:gd name="T32" fmla="*/ 13 w 359"/>
                <a:gd name="T33" fmla="*/ 14 h 340"/>
                <a:gd name="T34" fmla="*/ 11 w 359"/>
                <a:gd name="T35" fmla="*/ 14 h 340"/>
                <a:gd name="T36" fmla="*/ 11 w 359"/>
                <a:gd name="T37" fmla="*/ 13 h 340"/>
                <a:gd name="T38" fmla="*/ 8 w 359"/>
                <a:gd name="T39" fmla="*/ 13 h 340"/>
                <a:gd name="T40" fmla="*/ 6 w 359"/>
                <a:gd name="T41" fmla="*/ 13 h 340"/>
                <a:gd name="T42" fmla="*/ 1 w 359"/>
                <a:gd name="T43" fmla="*/ 13 h 340"/>
                <a:gd name="T44" fmla="*/ 0 w 359"/>
                <a:gd name="T45" fmla="*/ 13 h 340"/>
                <a:gd name="T46" fmla="*/ 2 w 359"/>
                <a:gd name="T47" fmla="*/ 17 h 340"/>
                <a:gd name="T48" fmla="*/ 4 w 359"/>
                <a:gd name="T49" fmla="*/ 18 h 340"/>
                <a:gd name="T50" fmla="*/ 13 w 359"/>
                <a:gd name="T51" fmla="*/ 25 h 340"/>
                <a:gd name="T52" fmla="*/ 17 w 359"/>
                <a:gd name="T53" fmla="*/ 27 h 340"/>
                <a:gd name="T54" fmla="*/ 19 w 359"/>
                <a:gd name="T55" fmla="*/ 29 h 340"/>
                <a:gd name="T56" fmla="*/ 21 w 359"/>
                <a:gd name="T57" fmla="*/ 34 h 340"/>
                <a:gd name="T58" fmla="*/ 27 w 359"/>
                <a:gd name="T59" fmla="*/ 35 h 340"/>
                <a:gd name="T60" fmla="*/ 34 w 359"/>
                <a:gd name="T61" fmla="*/ 37 h 340"/>
                <a:gd name="T62" fmla="*/ 43 w 359"/>
                <a:gd name="T63" fmla="*/ 38 h 340"/>
                <a:gd name="T64" fmla="*/ 48 w 359"/>
                <a:gd name="T65" fmla="*/ 40 h 340"/>
                <a:gd name="T66" fmla="*/ 49 w 359"/>
                <a:gd name="T67" fmla="*/ 40 h 340"/>
                <a:gd name="T68" fmla="*/ 49 w 359"/>
                <a:gd name="T69" fmla="*/ 39 h 340"/>
                <a:gd name="T70" fmla="*/ 51 w 359"/>
                <a:gd name="T71" fmla="*/ 37 h 340"/>
                <a:gd name="T72" fmla="*/ 59 w 359"/>
                <a:gd name="T73" fmla="*/ 25 h 340"/>
                <a:gd name="T74" fmla="*/ 59 w 359"/>
                <a:gd name="T75" fmla="*/ 18 h 340"/>
                <a:gd name="T76" fmla="*/ 58 w 359"/>
                <a:gd name="T77" fmla="*/ 6 h 340"/>
                <a:gd name="T78" fmla="*/ 45 w 359"/>
                <a:gd name="T79" fmla="*/ 2 h 340"/>
                <a:gd name="T80" fmla="*/ 40 w 359"/>
                <a:gd name="T81" fmla="*/ 1 h 340"/>
                <a:gd name="T82" fmla="*/ 38 w 359"/>
                <a:gd name="T83" fmla="*/ 1 h 340"/>
                <a:gd name="T84" fmla="*/ 36 w 359"/>
                <a:gd name="T85" fmla="*/ 1 h 340"/>
                <a:gd name="T86" fmla="*/ 34 w 359"/>
                <a:gd name="T87" fmla="*/ 0 h 340"/>
                <a:gd name="T88" fmla="*/ 31 w 359"/>
                <a:gd name="T89" fmla="*/ 1 h 340"/>
                <a:gd name="T90" fmla="*/ 28 w 359"/>
                <a:gd name="T91" fmla="*/ 2 h 340"/>
                <a:gd name="T92" fmla="*/ 27 w 359"/>
                <a:gd name="T93" fmla="*/ 5 h 3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59"/>
                <a:gd name="T142" fmla="*/ 0 h 340"/>
                <a:gd name="T143" fmla="*/ 359 w 359"/>
                <a:gd name="T144" fmla="*/ 340 h 3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59" h="340">
                  <a:moveTo>
                    <a:pt x="160" y="46"/>
                  </a:moveTo>
                  <a:lnTo>
                    <a:pt x="169" y="52"/>
                  </a:lnTo>
                  <a:lnTo>
                    <a:pt x="170" y="55"/>
                  </a:lnTo>
                  <a:lnTo>
                    <a:pt x="166" y="57"/>
                  </a:lnTo>
                  <a:lnTo>
                    <a:pt x="163" y="60"/>
                  </a:lnTo>
                  <a:lnTo>
                    <a:pt x="161" y="60"/>
                  </a:lnTo>
                  <a:lnTo>
                    <a:pt x="154" y="57"/>
                  </a:lnTo>
                  <a:lnTo>
                    <a:pt x="150" y="57"/>
                  </a:lnTo>
                  <a:lnTo>
                    <a:pt x="148" y="58"/>
                  </a:lnTo>
                  <a:lnTo>
                    <a:pt x="146" y="61"/>
                  </a:lnTo>
                  <a:lnTo>
                    <a:pt x="143" y="61"/>
                  </a:lnTo>
                  <a:lnTo>
                    <a:pt x="142" y="60"/>
                  </a:lnTo>
                  <a:lnTo>
                    <a:pt x="140" y="60"/>
                  </a:lnTo>
                  <a:lnTo>
                    <a:pt x="138" y="62"/>
                  </a:lnTo>
                  <a:lnTo>
                    <a:pt x="133" y="64"/>
                  </a:lnTo>
                  <a:lnTo>
                    <a:pt x="131" y="66"/>
                  </a:lnTo>
                  <a:lnTo>
                    <a:pt x="130" y="68"/>
                  </a:lnTo>
                  <a:lnTo>
                    <a:pt x="131" y="70"/>
                  </a:lnTo>
                  <a:lnTo>
                    <a:pt x="130" y="72"/>
                  </a:lnTo>
                  <a:lnTo>
                    <a:pt x="129" y="72"/>
                  </a:lnTo>
                  <a:lnTo>
                    <a:pt x="127" y="71"/>
                  </a:lnTo>
                  <a:lnTo>
                    <a:pt x="120" y="74"/>
                  </a:lnTo>
                  <a:lnTo>
                    <a:pt x="117" y="76"/>
                  </a:lnTo>
                  <a:lnTo>
                    <a:pt x="117" y="80"/>
                  </a:lnTo>
                  <a:lnTo>
                    <a:pt x="112" y="81"/>
                  </a:lnTo>
                  <a:lnTo>
                    <a:pt x="109" y="85"/>
                  </a:lnTo>
                  <a:lnTo>
                    <a:pt x="106" y="90"/>
                  </a:lnTo>
                  <a:lnTo>
                    <a:pt x="102" y="93"/>
                  </a:lnTo>
                  <a:lnTo>
                    <a:pt x="101" y="95"/>
                  </a:lnTo>
                  <a:lnTo>
                    <a:pt x="97" y="97"/>
                  </a:lnTo>
                  <a:lnTo>
                    <a:pt x="93" y="104"/>
                  </a:lnTo>
                  <a:lnTo>
                    <a:pt x="86" y="108"/>
                  </a:lnTo>
                  <a:lnTo>
                    <a:pt x="82" y="107"/>
                  </a:lnTo>
                  <a:lnTo>
                    <a:pt x="77" y="115"/>
                  </a:lnTo>
                  <a:lnTo>
                    <a:pt x="73" y="114"/>
                  </a:lnTo>
                  <a:lnTo>
                    <a:pt x="67" y="117"/>
                  </a:lnTo>
                  <a:lnTo>
                    <a:pt x="64" y="116"/>
                  </a:lnTo>
                  <a:lnTo>
                    <a:pt x="62" y="112"/>
                  </a:lnTo>
                  <a:lnTo>
                    <a:pt x="58" y="110"/>
                  </a:lnTo>
                  <a:lnTo>
                    <a:pt x="51" y="111"/>
                  </a:lnTo>
                  <a:lnTo>
                    <a:pt x="47" y="110"/>
                  </a:lnTo>
                  <a:lnTo>
                    <a:pt x="34" y="113"/>
                  </a:lnTo>
                  <a:lnTo>
                    <a:pt x="21" y="107"/>
                  </a:lnTo>
                  <a:lnTo>
                    <a:pt x="6" y="110"/>
                  </a:lnTo>
                  <a:lnTo>
                    <a:pt x="3" y="108"/>
                  </a:lnTo>
                  <a:lnTo>
                    <a:pt x="0" y="105"/>
                  </a:lnTo>
                  <a:lnTo>
                    <a:pt x="1" y="113"/>
                  </a:lnTo>
                  <a:lnTo>
                    <a:pt x="14" y="136"/>
                  </a:lnTo>
                  <a:lnTo>
                    <a:pt x="22" y="145"/>
                  </a:lnTo>
                  <a:lnTo>
                    <a:pt x="23" y="154"/>
                  </a:lnTo>
                  <a:lnTo>
                    <a:pt x="65" y="208"/>
                  </a:lnTo>
                  <a:lnTo>
                    <a:pt x="79" y="211"/>
                  </a:lnTo>
                  <a:lnTo>
                    <a:pt x="90" y="218"/>
                  </a:lnTo>
                  <a:lnTo>
                    <a:pt x="98" y="229"/>
                  </a:lnTo>
                  <a:lnTo>
                    <a:pt x="108" y="233"/>
                  </a:lnTo>
                  <a:lnTo>
                    <a:pt x="116" y="242"/>
                  </a:lnTo>
                  <a:lnTo>
                    <a:pt x="120" y="276"/>
                  </a:lnTo>
                  <a:lnTo>
                    <a:pt x="126" y="286"/>
                  </a:lnTo>
                  <a:lnTo>
                    <a:pt x="140" y="298"/>
                  </a:lnTo>
                  <a:lnTo>
                    <a:pt x="162" y="299"/>
                  </a:lnTo>
                  <a:lnTo>
                    <a:pt x="191" y="315"/>
                  </a:lnTo>
                  <a:lnTo>
                    <a:pt x="200" y="311"/>
                  </a:lnTo>
                  <a:lnTo>
                    <a:pt x="227" y="319"/>
                  </a:lnTo>
                  <a:lnTo>
                    <a:pt x="258" y="320"/>
                  </a:lnTo>
                  <a:lnTo>
                    <a:pt x="275" y="325"/>
                  </a:lnTo>
                  <a:lnTo>
                    <a:pt x="288" y="338"/>
                  </a:lnTo>
                  <a:lnTo>
                    <a:pt x="292" y="339"/>
                  </a:lnTo>
                  <a:lnTo>
                    <a:pt x="293" y="340"/>
                  </a:lnTo>
                  <a:lnTo>
                    <a:pt x="294" y="339"/>
                  </a:lnTo>
                  <a:lnTo>
                    <a:pt x="294" y="326"/>
                  </a:lnTo>
                  <a:lnTo>
                    <a:pt x="296" y="316"/>
                  </a:lnTo>
                  <a:lnTo>
                    <a:pt x="301" y="308"/>
                  </a:lnTo>
                  <a:lnTo>
                    <a:pt x="318" y="296"/>
                  </a:lnTo>
                  <a:lnTo>
                    <a:pt x="353" y="211"/>
                  </a:lnTo>
                  <a:lnTo>
                    <a:pt x="345" y="163"/>
                  </a:lnTo>
                  <a:lnTo>
                    <a:pt x="354" y="148"/>
                  </a:lnTo>
                  <a:lnTo>
                    <a:pt x="359" y="89"/>
                  </a:lnTo>
                  <a:lnTo>
                    <a:pt x="351" y="51"/>
                  </a:lnTo>
                  <a:lnTo>
                    <a:pt x="343" y="43"/>
                  </a:lnTo>
                  <a:lnTo>
                    <a:pt x="269" y="17"/>
                  </a:lnTo>
                  <a:lnTo>
                    <a:pt x="235" y="18"/>
                  </a:lnTo>
                  <a:lnTo>
                    <a:pt x="235" y="1"/>
                  </a:lnTo>
                  <a:lnTo>
                    <a:pt x="234" y="2"/>
                  </a:lnTo>
                  <a:lnTo>
                    <a:pt x="228" y="2"/>
                  </a:lnTo>
                  <a:lnTo>
                    <a:pt x="221" y="4"/>
                  </a:lnTo>
                  <a:lnTo>
                    <a:pt x="215" y="3"/>
                  </a:lnTo>
                  <a:lnTo>
                    <a:pt x="211" y="1"/>
                  </a:lnTo>
                  <a:lnTo>
                    <a:pt x="207" y="0"/>
                  </a:lnTo>
                  <a:lnTo>
                    <a:pt x="198" y="5"/>
                  </a:lnTo>
                  <a:lnTo>
                    <a:pt x="184" y="7"/>
                  </a:lnTo>
                  <a:lnTo>
                    <a:pt x="173" y="16"/>
                  </a:lnTo>
                  <a:lnTo>
                    <a:pt x="167" y="17"/>
                  </a:lnTo>
                  <a:lnTo>
                    <a:pt x="163" y="19"/>
                  </a:lnTo>
                  <a:lnTo>
                    <a:pt x="160" y="4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6" name="Freeform 134"/>
            <p:cNvSpPr>
              <a:spLocks/>
            </p:cNvSpPr>
            <p:nvPr/>
          </p:nvSpPr>
          <p:spPr bwMode="auto">
            <a:xfrm>
              <a:off x="4467880" y="2111863"/>
              <a:ext cx="911926" cy="912838"/>
            </a:xfrm>
            <a:custGeom>
              <a:avLst/>
              <a:gdLst>
                <a:gd name="T0" fmla="*/ 9 w 759"/>
                <a:gd name="T1" fmla="*/ 43 h 917"/>
                <a:gd name="T2" fmla="*/ 3 w 759"/>
                <a:gd name="T3" fmla="*/ 50 h 917"/>
                <a:gd name="T4" fmla="*/ 3 w 759"/>
                <a:gd name="T5" fmla="*/ 53 h 917"/>
                <a:gd name="T6" fmla="*/ 1 w 759"/>
                <a:gd name="T7" fmla="*/ 56 h 917"/>
                <a:gd name="T8" fmla="*/ 1 w 759"/>
                <a:gd name="T9" fmla="*/ 60 h 917"/>
                <a:gd name="T10" fmla="*/ 6 w 759"/>
                <a:gd name="T11" fmla="*/ 66 h 917"/>
                <a:gd name="T12" fmla="*/ 7 w 759"/>
                <a:gd name="T13" fmla="*/ 67 h 917"/>
                <a:gd name="T14" fmla="*/ 12 w 759"/>
                <a:gd name="T15" fmla="*/ 75 h 917"/>
                <a:gd name="T16" fmla="*/ 12 w 759"/>
                <a:gd name="T17" fmla="*/ 81 h 917"/>
                <a:gd name="T18" fmla="*/ 18 w 759"/>
                <a:gd name="T19" fmla="*/ 84 h 917"/>
                <a:gd name="T20" fmla="*/ 25 w 759"/>
                <a:gd name="T21" fmla="*/ 86 h 917"/>
                <a:gd name="T22" fmla="*/ 26 w 759"/>
                <a:gd name="T23" fmla="*/ 89 h 917"/>
                <a:gd name="T24" fmla="*/ 34 w 759"/>
                <a:gd name="T25" fmla="*/ 92 h 917"/>
                <a:gd name="T26" fmla="*/ 37 w 759"/>
                <a:gd name="T27" fmla="*/ 97 h 917"/>
                <a:gd name="T28" fmla="*/ 43 w 759"/>
                <a:gd name="T29" fmla="*/ 100 h 917"/>
                <a:gd name="T30" fmla="*/ 47 w 759"/>
                <a:gd name="T31" fmla="*/ 104 h 917"/>
                <a:gd name="T32" fmla="*/ 53 w 759"/>
                <a:gd name="T33" fmla="*/ 106 h 917"/>
                <a:gd name="T34" fmla="*/ 59 w 759"/>
                <a:gd name="T35" fmla="*/ 106 h 917"/>
                <a:gd name="T36" fmla="*/ 70 w 759"/>
                <a:gd name="T37" fmla="*/ 110 h 917"/>
                <a:gd name="T38" fmla="*/ 75 w 759"/>
                <a:gd name="T39" fmla="*/ 109 h 917"/>
                <a:gd name="T40" fmla="*/ 79 w 759"/>
                <a:gd name="T41" fmla="*/ 110 h 917"/>
                <a:gd name="T42" fmla="*/ 93 w 759"/>
                <a:gd name="T43" fmla="*/ 107 h 917"/>
                <a:gd name="T44" fmla="*/ 98 w 759"/>
                <a:gd name="T45" fmla="*/ 105 h 917"/>
                <a:gd name="T46" fmla="*/ 107 w 759"/>
                <a:gd name="T47" fmla="*/ 100 h 917"/>
                <a:gd name="T48" fmla="*/ 99 w 759"/>
                <a:gd name="T49" fmla="*/ 93 h 917"/>
                <a:gd name="T50" fmla="*/ 94 w 759"/>
                <a:gd name="T51" fmla="*/ 90 h 917"/>
                <a:gd name="T52" fmla="*/ 91 w 759"/>
                <a:gd name="T53" fmla="*/ 88 h 917"/>
                <a:gd name="T54" fmla="*/ 87 w 759"/>
                <a:gd name="T55" fmla="*/ 87 h 917"/>
                <a:gd name="T56" fmla="*/ 88 w 759"/>
                <a:gd name="T57" fmla="*/ 85 h 917"/>
                <a:gd name="T58" fmla="*/ 92 w 759"/>
                <a:gd name="T59" fmla="*/ 84 h 917"/>
                <a:gd name="T60" fmla="*/ 95 w 759"/>
                <a:gd name="T61" fmla="*/ 72 h 917"/>
                <a:gd name="T62" fmla="*/ 98 w 759"/>
                <a:gd name="T63" fmla="*/ 70 h 917"/>
                <a:gd name="T64" fmla="*/ 102 w 759"/>
                <a:gd name="T65" fmla="*/ 65 h 917"/>
                <a:gd name="T66" fmla="*/ 111 w 759"/>
                <a:gd name="T67" fmla="*/ 58 h 917"/>
                <a:gd name="T68" fmla="*/ 117 w 759"/>
                <a:gd name="T69" fmla="*/ 35 h 917"/>
                <a:gd name="T70" fmla="*/ 121 w 759"/>
                <a:gd name="T71" fmla="*/ 33 h 917"/>
                <a:gd name="T72" fmla="*/ 128 w 759"/>
                <a:gd name="T73" fmla="*/ 28 h 917"/>
                <a:gd name="T74" fmla="*/ 126 w 759"/>
                <a:gd name="T75" fmla="*/ 28 h 917"/>
                <a:gd name="T76" fmla="*/ 120 w 759"/>
                <a:gd name="T77" fmla="*/ 25 h 917"/>
                <a:gd name="T78" fmla="*/ 119 w 759"/>
                <a:gd name="T79" fmla="*/ 12 h 917"/>
                <a:gd name="T80" fmla="*/ 115 w 759"/>
                <a:gd name="T81" fmla="*/ 6 h 917"/>
                <a:gd name="T82" fmla="*/ 111 w 759"/>
                <a:gd name="T83" fmla="*/ 3 h 917"/>
                <a:gd name="T84" fmla="*/ 102 w 759"/>
                <a:gd name="T85" fmla="*/ 2 h 917"/>
                <a:gd name="T86" fmla="*/ 95 w 759"/>
                <a:gd name="T87" fmla="*/ 5 h 917"/>
                <a:gd name="T88" fmla="*/ 88 w 759"/>
                <a:gd name="T89" fmla="*/ 6 h 917"/>
                <a:gd name="T90" fmla="*/ 74 w 759"/>
                <a:gd name="T91" fmla="*/ 5 h 917"/>
                <a:gd name="T92" fmla="*/ 72 w 759"/>
                <a:gd name="T93" fmla="*/ 6 h 917"/>
                <a:gd name="T94" fmla="*/ 17 w 759"/>
                <a:gd name="T95" fmla="*/ 18 h 9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59"/>
                <a:gd name="T145" fmla="*/ 0 h 917"/>
                <a:gd name="T146" fmla="*/ 759 w 759"/>
                <a:gd name="T147" fmla="*/ 917 h 91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59" h="917">
                  <a:moveTo>
                    <a:pt x="98" y="176"/>
                  </a:moveTo>
                  <a:lnTo>
                    <a:pt x="98" y="353"/>
                  </a:lnTo>
                  <a:lnTo>
                    <a:pt x="51" y="356"/>
                  </a:lnTo>
                  <a:lnTo>
                    <a:pt x="50" y="358"/>
                  </a:lnTo>
                  <a:lnTo>
                    <a:pt x="47" y="375"/>
                  </a:lnTo>
                  <a:lnTo>
                    <a:pt x="20" y="413"/>
                  </a:lnTo>
                  <a:lnTo>
                    <a:pt x="21" y="431"/>
                  </a:lnTo>
                  <a:lnTo>
                    <a:pt x="20" y="435"/>
                  </a:lnTo>
                  <a:lnTo>
                    <a:pt x="19" y="436"/>
                  </a:lnTo>
                  <a:lnTo>
                    <a:pt x="13" y="439"/>
                  </a:lnTo>
                  <a:lnTo>
                    <a:pt x="10" y="443"/>
                  </a:lnTo>
                  <a:lnTo>
                    <a:pt x="8" y="464"/>
                  </a:lnTo>
                  <a:lnTo>
                    <a:pt x="1" y="480"/>
                  </a:lnTo>
                  <a:lnTo>
                    <a:pt x="0" y="498"/>
                  </a:lnTo>
                  <a:lnTo>
                    <a:pt x="3" y="498"/>
                  </a:lnTo>
                  <a:lnTo>
                    <a:pt x="21" y="493"/>
                  </a:lnTo>
                  <a:lnTo>
                    <a:pt x="20" y="506"/>
                  </a:lnTo>
                  <a:lnTo>
                    <a:pt x="34" y="548"/>
                  </a:lnTo>
                  <a:lnTo>
                    <a:pt x="35" y="549"/>
                  </a:lnTo>
                  <a:lnTo>
                    <a:pt x="40" y="553"/>
                  </a:lnTo>
                  <a:lnTo>
                    <a:pt x="43" y="556"/>
                  </a:lnTo>
                  <a:lnTo>
                    <a:pt x="46" y="571"/>
                  </a:lnTo>
                  <a:lnTo>
                    <a:pt x="38" y="574"/>
                  </a:lnTo>
                  <a:lnTo>
                    <a:pt x="74" y="620"/>
                  </a:lnTo>
                  <a:lnTo>
                    <a:pt x="79" y="634"/>
                  </a:lnTo>
                  <a:lnTo>
                    <a:pt x="72" y="662"/>
                  </a:lnTo>
                  <a:lnTo>
                    <a:pt x="73" y="673"/>
                  </a:lnTo>
                  <a:lnTo>
                    <a:pt x="83" y="681"/>
                  </a:lnTo>
                  <a:lnTo>
                    <a:pt x="102" y="684"/>
                  </a:lnTo>
                  <a:lnTo>
                    <a:pt x="107" y="697"/>
                  </a:lnTo>
                  <a:lnTo>
                    <a:pt x="117" y="702"/>
                  </a:lnTo>
                  <a:lnTo>
                    <a:pt x="135" y="702"/>
                  </a:lnTo>
                  <a:lnTo>
                    <a:pt x="150" y="713"/>
                  </a:lnTo>
                  <a:lnTo>
                    <a:pt x="152" y="716"/>
                  </a:lnTo>
                  <a:lnTo>
                    <a:pt x="150" y="726"/>
                  </a:lnTo>
                  <a:lnTo>
                    <a:pt x="155" y="735"/>
                  </a:lnTo>
                  <a:lnTo>
                    <a:pt x="186" y="755"/>
                  </a:lnTo>
                  <a:lnTo>
                    <a:pt x="192" y="763"/>
                  </a:lnTo>
                  <a:lnTo>
                    <a:pt x="201" y="768"/>
                  </a:lnTo>
                  <a:lnTo>
                    <a:pt x="209" y="786"/>
                  </a:lnTo>
                  <a:lnTo>
                    <a:pt x="215" y="794"/>
                  </a:lnTo>
                  <a:lnTo>
                    <a:pt x="216" y="803"/>
                  </a:lnTo>
                  <a:lnTo>
                    <a:pt x="224" y="805"/>
                  </a:lnTo>
                  <a:lnTo>
                    <a:pt x="249" y="821"/>
                  </a:lnTo>
                  <a:lnTo>
                    <a:pt x="254" y="829"/>
                  </a:lnTo>
                  <a:lnTo>
                    <a:pt x="255" y="838"/>
                  </a:lnTo>
                  <a:lnTo>
                    <a:pt x="265" y="854"/>
                  </a:lnTo>
                  <a:lnTo>
                    <a:pt x="276" y="861"/>
                  </a:lnTo>
                  <a:lnTo>
                    <a:pt x="285" y="876"/>
                  </a:lnTo>
                  <a:lnTo>
                    <a:pt x="304" y="884"/>
                  </a:lnTo>
                  <a:lnTo>
                    <a:pt x="310" y="882"/>
                  </a:lnTo>
                  <a:lnTo>
                    <a:pt x="315" y="874"/>
                  </a:lnTo>
                  <a:lnTo>
                    <a:pt x="337" y="879"/>
                  </a:lnTo>
                  <a:lnTo>
                    <a:pt x="346" y="878"/>
                  </a:lnTo>
                  <a:lnTo>
                    <a:pt x="357" y="869"/>
                  </a:lnTo>
                  <a:lnTo>
                    <a:pt x="410" y="916"/>
                  </a:lnTo>
                  <a:lnTo>
                    <a:pt x="415" y="915"/>
                  </a:lnTo>
                  <a:lnTo>
                    <a:pt x="421" y="910"/>
                  </a:lnTo>
                  <a:lnTo>
                    <a:pt x="433" y="910"/>
                  </a:lnTo>
                  <a:lnTo>
                    <a:pt x="442" y="913"/>
                  </a:lnTo>
                  <a:lnTo>
                    <a:pt x="450" y="910"/>
                  </a:lnTo>
                  <a:lnTo>
                    <a:pt x="460" y="910"/>
                  </a:lnTo>
                  <a:lnTo>
                    <a:pt x="466" y="917"/>
                  </a:lnTo>
                  <a:lnTo>
                    <a:pt x="532" y="908"/>
                  </a:lnTo>
                  <a:lnTo>
                    <a:pt x="553" y="894"/>
                  </a:lnTo>
                  <a:lnTo>
                    <a:pt x="553" y="892"/>
                  </a:lnTo>
                  <a:lnTo>
                    <a:pt x="553" y="895"/>
                  </a:lnTo>
                  <a:lnTo>
                    <a:pt x="567" y="877"/>
                  </a:lnTo>
                  <a:lnTo>
                    <a:pt x="577" y="872"/>
                  </a:lnTo>
                  <a:lnTo>
                    <a:pt x="640" y="871"/>
                  </a:lnTo>
                  <a:lnTo>
                    <a:pt x="641" y="838"/>
                  </a:lnTo>
                  <a:lnTo>
                    <a:pt x="635" y="834"/>
                  </a:lnTo>
                  <a:lnTo>
                    <a:pt x="616" y="830"/>
                  </a:lnTo>
                  <a:lnTo>
                    <a:pt x="608" y="825"/>
                  </a:lnTo>
                  <a:lnTo>
                    <a:pt x="588" y="777"/>
                  </a:lnTo>
                  <a:lnTo>
                    <a:pt x="564" y="759"/>
                  </a:lnTo>
                  <a:lnTo>
                    <a:pt x="558" y="752"/>
                  </a:lnTo>
                  <a:lnTo>
                    <a:pt x="556" y="743"/>
                  </a:lnTo>
                  <a:lnTo>
                    <a:pt x="550" y="735"/>
                  </a:lnTo>
                  <a:lnTo>
                    <a:pt x="543" y="731"/>
                  </a:lnTo>
                  <a:lnTo>
                    <a:pt x="534" y="729"/>
                  </a:lnTo>
                  <a:lnTo>
                    <a:pt x="526" y="729"/>
                  </a:lnTo>
                  <a:lnTo>
                    <a:pt x="520" y="725"/>
                  </a:lnTo>
                  <a:lnTo>
                    <a:pt x="514" y="724"/>
                  </a:lnTo>
                  <a:lnTo>
                    <a:pt x="510" y="721"/>
                  </a:lnTo>
                  <a:lnTo>
                    <a:pt x="513" y="713"/>
                  </a:lnTo>
                  <a:lnTo>
                    <a:pt x="518" y="710"/>
                  </a:lnTo>
                  <a:lnTo>
                    <a:pt x="518" y="697"/>
                  </a:lnTo>
                  <a:lnTo>
                    <a:pt x="526" y="695"/>
                  </a:lnTo>
                  <a:lnTo>
                    <a:pt x="546" y="697"/>
                  </a:lnTo>
                  <a:lnTo>
                    <a:pt x="554" y="693"/>
                  </a:lnTo>
                  <a:lnTo>
                    <a:pt x="562" y="688"/>
                  </a:lnTo>
                  <a:lnTo>
                    <a:pt x="566" y="600"/>
                  </a:lnTo>
                  <a:lnTo>
                    <a:pt x="569" y="602"/>
                  </a:lnTo>
                  <a:lnTo>
                    <a:pt x="577" y="585"/>
                  </a:lnTo>
                  <a:lnTo>
                    <a:pt x="583" y="581"/>
                  </a:lnTo>
                  <a:lnTo>
                    <a:pt x="594" y="581"/>
                  </a:lnTo>
                  <a:lnTo>
                    <a:pt x="597" y="577"/>
                  </a:lnTo>
                  <a:lnTo>
                    <a:pt x="605" y="543"/>
                  </a:lnTo>
                  <a:lnTo>
                    <a:pt x="642" y="495"/>
                  </a:lnTo>
                  <a:lnTo>
                    <a:pt x="649" y="492"/>
                  </a:lnTo>
                  <a:lnTo>
                    <a:pt x="655" y="486"/>
                  </a:lnTo>
                  <a:lnTo>
                    <a:pt x="670" y="424"/>
                  </a:lnTo>
                  <a:lnTo>
                    <a:pt x="668" y="394"/>
                  </a:lnTo>
                  <a:lnTo>
                    <a:pt x="694" y="291"/>
                  </a:lnTo>
                  <a:lnTo>
                    <a:pt x="705" y="290"/>
                  </a:lnTo>
                  <a:lnTo>
                    <a:pt x="712" y="285"/>
                  </a:lnTo>
                  <a:lnTo>
                    <a:pt x="716" y="279"/>
                  </a:lnTo>
                  <a:lnTo>
                    <a:pt x="751" y="264"/>
                  </a:lnTo>
                  <a:lnTo>
                    <a:pt x="759" y="244"/>
                  </a:lnTo>
                  <a:lnTo>
                    <a:pt x="757" y="235"/>
                  </a:lnTo>
                  <a:lnTo>
                    <a:pt x="752" y="235"/>
                  </a:lnTo>
                  <a:lnTo>
                    <a:pt x="749" y="233"/>
                  </a:lnTo>
                  <a:lnTo>
                    <a:pt x="745" y="234"/>
                  </a:lnTo>
                  <a:lnTo>
                    <a:pt x="741" y="225"/>
                  </a:lnTo>
                  <a:lnTo>
                    <a:pt x="736" y="220"/>
                  </a:lnTo>
                  <a:lnTo>
                    <a:pt x="713" y="211"/>
                  </a:lnTo>
                  <a:lnTo>
                    <a:pt x="708" y="203"/>
                  </a:lnTo>
                  <a:lnTo>
                    <a:pt x="699" y="97"/>
                  </a:lnTo>
                  <a:lnTo>
                    <a:pt x="702" y="98"/>
                  </a:lnTo>
                  <a:lnTo>
                    <a:pt x="700" y="92"/>
                  </a:lnTo>
                  <a:lnTo>
                    <a:pt x="687" y="78"/>
                  </a:lnTo>
                  <a:lnTo>
                    <a:pt x="684" y="54"/>
                  </a:lnTo>
                  <a:lnTo>
                    <a:pt x="675" y="40"/>
                  </a:lnTo>
                  <a:lnTo>
                    <a:pt x="668" y="36"/>
                  </a:lnTo>
                  <a:lnTo>
                    <a:pt x="659" y="25"/>
                  </a:lnTo>
                  <a:lnTo>
                    <a:pt x="637" y="15"/>
                  </a:lnTo>
                  <a:lnTo>
                    <a:pt x="627" y="0"/>
                  </a:lnTo>
                  <a:lnTo>
                    <a:pt x="608" y="16"/>
                  </a:lnTo>
                  <a:lnTo>
                    <a:pt x="597" y="11"/>
                  </a:lnTo>
                  <a:lnTo>
                    <a:pt x="586" y="37"/>
                  </a:lnTo>
                  <a:lnTo>
                    <a:pt x="562" y="43"/>
                  </a:lnTo>
                  <a:lnTo>
                    <a:pt x="555" y="64"/>
                  </a:lnTo>
                  <a:lnTo>
                    <a:pt x="534" y="65"/>
                  </a:lnTo>
                  <a:lnTo>
                    <a:pt x="517" y="55"/>
                  </a:lnTo>
                  <a:lnTo>
                    <a:pt x="437" y="54"/>
                  </a:lnTo>
                  <a:lnTo>
                    <a:pt x="441" y="45"/>
                  </a:lnTo>
                  <a:lnTo>
                    <a:pt x="439" y="45"/>
                  </a:lnTo>
                  <a:lnTo>
                    <a:pt x="437" y="43"/>
                  </a:lnTo>
                  <a:lnTo>
                    <a:pt x="435" y="43"/>
                  </a:lnTo>
                  <a:lnTo>
                    <a:pt x="427" y="54"/>
                  </a:lnTo>
                  <a:lnTo>
                    <a:pt x="144" y="54"/>
                  </a:lnTo>
                  <a:lnTo>
                    <a:pt x="144" y="147"/>
                  </a:lnTo>
                  <a:lnTo>
                    <a:pt x="98" y="148"/>
                  </a:lnTo>
                  <a:lnTo>
                    <a:pt x="98" y="17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7" name="Freeform 135"/>
            <p:cNvSpPr>
              <a:spLocks/>
            </p:cNvSpPr>
            <p:nvPr/>
          </p:nvSpPr>
          <p:spPr bwMode="auto">
            <a:xfrm>
              <a:off x="4467880" y="2111863"/>
              <a:ext cx="911926" cy="912838"/>
            </a:xfrm>
            <a:custGeom>
              <a:avLst/>
              <a:gdLst>
                <a:gd name="T0" fmla="*/ 9 w 759"/>
                <a:gd name="T1" fmla="*/ 43 h 917"/>
                <a:gd name="T2" fmla="*/ 3 w 759"/>
                <a:gd name="T3" fmla="*/ 50 h 917"/>
                <a:gd name="T4" fmla="*/ 3 w 759"/>
                <a:gd name="T5" fmla="*/ 53 h 917"/>
                <a:gd name="T6" fmla="*/ 1 w 759"/>
                <a:gd name="T7" fmla="*/ 56 h 917"/>
                <a:gd name="T8" fmla="*/ 1 w 759"/>
                <a:gd name="T9" fmla="*/ 60 h 917"/>
                <a:gd name="T10" fmla="*/ 6 w 759"/>
                <a:gd name="T11" fmla="*/ 66 h 917"/>
                <a:gd name="T12" fmla="*/ 7 w 759"/>
                <a:gd name="T13" fmla="*/ 67 h 917"/>
                <a:gd name="T14" fmla="*/ 12 w 759"/>
                <a:gd name="T15" fmla="*/ 75 h 917"/>
                <a:gd name="T16" fmla="*/ 12 w 759"/>
                <a:gd name="T17" fmla="*/ 81 h 917"/>
                <a:gd name="T18" fmla="*/ 18 w 759"/>
                <a:gd name="T19" fmla="*/ 84 h 917"/>
                <a:gd name="T20" fmla="*/ 25 w 759"/>
                <a:gd name="T21" fmla="*/ 86 h 917"/>
                <a:gd name="T22" fmla="*/ 26 w 759"/>
                <a:gd name="T23" fmla="*/ 89 h 917"/>
                <a:gd name="T24" fmla="*/ 34 w 759"/>
                <a:gd name="T25" fmla="*/ 92 h 917"/>
                <a:gd name="T26" fmla="*/ 37 w 759"/>
                <a:gd name="T27" fmla="*/ 97 h 917"/>
                <a:gd name="T28" fmla="*/ 43 w 759"/>
                <a:gd name="T29" fmla="*/ 100 h 917"/>
                <a:gd name="T30" fmla="*/ 47 w 759"/>
                <a:gd name="T31" fmla="*/ 104 h 917"/>
                <a:gd name="T32" fmla="*/ 53 w 759"/>
                <a:gd name="T33" fmla="*/ 106 h 917"/>
                <a:gd name="T34" fmla="*/ 59 w 759"/>
                <a:gd name="T35" fmla="*/ 106 h 917"/>
                <a:gd name="T36" fmla="*/ 70 w 759"/>
                <a:gd name="T37" fmla="*/ 110 h 917"/>
                <a:gd name="T38" fmla="*/ 75 w 759"/>
                <a:gd name="T39" fmla="*/ 109 h 917"/>
                <a:gd name="T40" fmla="*/ 79 w 759"/>
                <a:gd name="T41" fmla="*/ 110 h 917"/>
                <a:gd name="T42" fmla="*/ 93 w 759"/>
                <a:gd name="T43" fmla="*/ 107 h 917"/>
                <a:gd name="T44" fmla="*/ 98 w 759"/>
                <a:gd name="T45" fmla="*/ 105 h 917"/>
                <a:gd name="T46" fmla="*/ 107 w 759"/>
                <a:gd name="T47" fmla="*/ 100 h 917"/>
                <a:gd name="T48" fmla="*/ 99 w 759"/>
                <a:gd name="T49" fmla="*/ 93 h 917"/>
                <a:gd name="T50" fmla="*/ 94 w 759"/>
                <a:gd name="T51" fmla="*/ 90 h 917"/>
                <a:gd name="T52" fmla="*/ 91 w 759"/>
                <a:gd name="T53" fmla="*/ 88 h 917"/>
                <a:gd name="T54" fmla="*/ 87 w 759"/>
                <a:gd name="T55" fmla="*/ 87 h 917"/>
                <a:gd name="T56" fmla="*/ 88 w 759"/>
                <a:gd name="T57" fmla="*/ 85 h 917"/>
                <a:gd name="T58" fmla="*/ 92 w 759"/>
                <a:gd name="T59" fmla="*/ 84 h 917"/>
                <a:gd name="T60" fmla="*/ 95 w 759"/>
                <a:gd name="T61" fmla="*/ 72 h 917"/>
                <a:gd name="T62" fmla="*/ 98 w 759"/>
                <a:gd name="T63" fmla="*/ 70 h 917"/>
                <a:gd name="T64" fmla="*/ 102 w 759"/>
                <a:gd name="T65" fmla="*/ 65 h 917"/>
                <a:gd name="T66" fmla="*/ 111 w 759"/>
                <a:gd name="T67" fmla="*/ 58 h 917"/>
                <a:gd name="T68" fmla="*/ 117 w 759"/>
                <a:gd name="T69" fmla="*/ 35 h 917"/>
                <a:gd name="T70" fmla="*/ 121 w 759"/>
                <a:gd name="T71" fmla="*/ 33 h 917"/>
                <a:gd name="T72" fmla="*/ 128 w 759"/>
                <a:gd name="T73" fmla="*/ 28 h 917"/>
                <a:gd name="T74" fmla="*/ 126 w 759"/>
                <a:gd name="T75" fmla="*/ 28 h 917"/>
                <a:gd name="T76" fmla="*/ 120 w 759"/>
                <a:gd name="T77" fmla="*/ 25 h 917"/>
                <a:gd name="T78" fmla="*/ 119 w 759"/>
                <a:gd name="T79" fmla="*/ 12 h 917"/>
                <a:gd name="T80" fmla="*/ 115 w 759"/>
                <a:gd name="T81" fmla="*/ 6 h 917"/>
                <a:gd name="T82" fmla="*/ 111 w 759"/>
                <a:gd name="T83" fmla="*/ 3 h 917"/>
                <a:gd name="T84" fmla="*/ 102 w 759"/>
                <a:gd name="T85" fmla="*/ 2 h 917"/>
                <a:gd name="T86" fmla="*/ 95 w 759"/>
                <a:gd name="T87" fmla="*/ 5 h 917"/>
                <a:gd name="T88" fmla="*/ 88 w 759"/>
                <a:gd name="T89" fmla="*/ 6 h 917"/>
                <a:gd name="T90" fmla="*/ 74 w 759"/>
                <a:gd name="T91" fmla="*/ 5 h 917"/>
                <a:gd name="T92" fmla="*/ 72 w 759"/>
                <a:gd name="T93" fmla="*/ 6 h 917"/>
                <a:gd name="T94" fmla="*/ 24 w 759"/>
                <a:gd name="T95" fmla="*/ 18 h 91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59"/>
                <a:gd name="T145" fmla="*/ 0 h 917"/>
                <a:gd name="T146" fmla="*/ 759 w 759"/>
                <a:gd name="T147" fmla="*/ 917 h 91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59" h="917">
                  <a:moveTo>
                    <a:pt x="98" y="176"/>
                  </a:moveTo>
                  <a:lnTo>
                    <a:pt x="98" y="353"/>
                  </a:lnTo>
                  <a:lnTo>
                    <a:pt x="51" y="356"/>
                  </a:lnTo>
                  <a:lnTo>
                    <a:pt x="50" y="358"/>
                  </a:lnTo>
                  <a:lnTo>
                    <a:pt x="47" y="375"/>
                  </a:lnTo>
                  <a:lnTo>
                    <a:pt x="20" y="413"/>
                  </a:lnTo>
                  <a:lnTo>
                    <a:pt x="21" y="431"/>
                  </a:lnTo>
                  <a:lnTo>
                    <a:pt x="20" y="435"/>
                  </a:lnTo>
                  <a:lnTo>
                    <a:pt x="19" y="436"/>
                  </a:lnTo>
                  <a:lnTo>
                    <a:pt x="13" y="439"/>
                  </a:lnTo>
                  <a:lnTo>
                    <a:pt x="10" y="443"/>
                  </a:lnTo>
                  <a:lnTo>
                    <a:pt x="8" y="464"/>
                  </a:lnTo>
                  <a:lnTo>
                    <a:pt x="1" y="480"/>
                  </a:lnTo>
                  <a:lnTo>
                    <a:pt x="0" y="498"/>
                  </a:lnTo>
                  <a:lnTo>
                    <a:pt x="3" y="498"/>
                  </a:lnTo>
                  <a:lnTo>
                    <a:pt x="21" y="493"/>
                  </a:lnTo>
                  <a:lnTo>
                    <a:pt x="20" y="506"/>
                  </a:lnTo>
                  <a:lnTo>
                    <a:pt x="34" y="548"/>
                  </a:lnTo>
                  <a:lnTo>
                    <a:pt x="35" y="549"/>
                  </a:lnTo>
                  <a:lnTo>
                    <a:pt x="40" y="553"/>
                  </a:lnTo>
                  <a:lnTo>
                    <a:pt x="43" y="556"/>
                  </a:lnTo>
                  <a:lnTo>
                    <a:pt x="46" y="571"/>
                  </a:lnTo>
                  <a:lnTo>
                    <a:pt x="38" y="574"/>
                  </a:lnTo>
                  <a:lnTo>
                    <a:pt x="74" y="620"/>
                  </a:lnTo>
                  <a:lnTo>
                    <a:pt x="79" y="634"/>
                  </a:lnTo>
                  <a:lnTo>
                    <a:pt x="72" y="662"/>
                  </a:lnTo>
                  <a:lnTo>
                    <a:pt x="73" y="673"/>
                  </a:lnTo>
                  <a:lnTo>
                    <a:pt x="83" y="681"/>
                  </a:lnTo>
                  <a:lnTo>
                    <a:pt x="102" y="684"/>
                  </a:lnTo>
                  <a:lnTo>
                    <a:pt x="107" y="697"/>
                  </a:lnTo>
                  <a:lnTo>
                    <a:pt x="117" y="702"/>
                  </a:lnTo>
                  <a:lnTo>
                    <a:pt x="135" y="702"/>
                  </a:lnTo>
                  <a:lnTo>
                    <a:pt x="150" y="713"/>
                  </a:lnTo>
                  <a:lnTo>
                    <a:pt x="152" y="716"/>
                  </a:lnTo>
                  <a:lnTo>
                    <a:pt x="150" y="726"/>
                  </a:lnTo>
                  <a:lnTo>
                    <a:pt x="155" y="735"/>
                  </a:lnTo>
                  <a:lnTo>
                    <a:pt x="186" y="755"/>
                  </a:lnTo>
                  <a:lnTo>
                    <a:pt x="192" y="763"/>
                  </a:lnTo>
                  <a:lnTo>
                    <a:pt x="201" y="768"/>
                  </a:lnTo>
                  <a:lnTo>
                    <a:pt x="209" y="786"/>
                  </a:lnTo>
                  <a:lnTo>
                    <a:pt x="215" y="794"/>
                  </a:lnTo>
                  <a:lnTo>
                    <a:pt x="216" y="803"/>
                  </a:lnTo>
                  <a:lnTo>
                    <a:pt x="224" y="805"/>
                  </a:lnTo>
                  <a:lnTo>
                    <a:pt x="249" y="821"/>
                  </a:lnTo>
                  <a:lnTo>
                    <a:pt x="254" y="829"/>
                  </a:lnTo>
                  <a:lnTo>
                    <a:pt x="255" y="838"/>
                  </a:lnTo>
                  <a:lnTo>
                    <a:pt x="265" y="854"/>
                  </a:lnTo>
                  <a:lnTo>
                    <a:pt x="276" y="861"/>
                  </a:lnTo>
                  <a:lnTo>
                    <a:pt x="285" y="876"/>
                  </a:lnTo>
                  <a:lnTo>
                    <a:pt x="304" y="884"/>
                  </a:lnTo>
                  <a:lnTo>
                    <a:pt x="310" y="882"/>
                  </a:lnTo>
                  <a:lnTo>
                    <a:pt x="315" y="874"/>
                  </a:lnTo>
                  <a:lnTo>
                    <a:pt x="337" y="879"/>
                  </a:lnTo>
                  <a:lnTo>
                    <a:pt x="346" y="878"/>
                  </a:lnTo>
                  <a:lnTo>
                    <a:pt x="357" y="869"/>
                  </a:lnTo>
                  <a:lnTo>
                    <a:pt x="410" y="916"/>
                  </a:lnTo>
                  <a:lnTo>
                    <a:pt x="415" y="915"/>
                  </a:lnTo>
                  <a:lnTo>
                    <a:pt x="421" y="910"/>
                  </a:lnTo>
                  <a:lnTo>
                    <a:pt x="433" y="910"/>
                  </a:lnTo>
                  <a:lnTo>
                    <a:pt x="442" y="913"/>
                  </a:lnTo>
                  <a:lnTo>
                    <a:pt x="450" y="910"/>
                  </a:lnTo>
                  <a:lnTo>
                    <a:pt x="460" y="910"/>
                  </a:lnTo>
                  <a:lnTo>
                    <a:pt x="466" y="917"/>
                  </a:lnTo>
                  <a:lnTo>
                    <a:pt x="532" y="908"/>
                  </a:lnTo>
                  <a:lnTo>
                    <a:pt x="553" y="894"/>
                  </a:lnTo>
                  <a:lnTo>
                    <a:pt x="553" y="892"/>
                  </a:lnTo>
                  <a:lnTo>
                    <a:pt x="553" y="895"/>
                  </a:lnTo>
                  <a:lnTo>
                    <a:pt x="567" y="877"/>
                  </a:lnTo>
                  <a:lnTo>
                    <a:pt x="577" y="872"/>
                  </a:lnTo>
                  <a:lnTo>
                    <a:pt x="640" y="871"/>
                  </a:lnTo>
                  <a:lnTo>
                    <a:pt x="641" y="838"/>
                  </a:lnTo>
                  <a:lnTo>
                    <a:pt x="635" y="834"/>
                  </a:lnTo>
                  <a:lnTo>
                    <a:pt x="616" y="830"/>
                  </a:lnTo>
                  <a:lnTo>
                    <a:pt x="608" y="825"/>
                  </a:lnTo>
                  <a:lnTo>
                    <a:pt x="588" y="777"/>
                  </a:lnTo>
                  <a:lnTo>
                    <a:pt x="564" y="759"/>
                  </a:lnTo>
                  <a:lnTo>
                    <a:pt x="558" y="752"/>
                  </a:lnTo>
                  <a:lnTo>
                    <a:pt x="556" y="743"/>
                  </a:lnTo>
                  <a:lnTo>
                    <a:pt x="550" y="735"/>
                  </a:lnTo>
                  <a:lnTo>
                    <a:pt x="543" y="731"/>
                  </a:lnTo>
                  <a:lnTo>
                    <a:pt x="534" y="729"/>
                  </a:lnTo>
                  <a:lnTo>
                    <a:pt x="526" y="729"/>
                  </a:lnTo>
                  <a:lnTo>
                    <a:pt x="520" y="725"/>
                  </a:lnTo>
                  <a:lnTo>
                    <a:pt x="514" y="724"/>
                  </a:lnTo>
                  <a:lnTo>
                    <a:pt x="510" y="721"/>
                  </a:lnTo>
                  <a:lnTo>
                    <a:pt x="513" y="713"/>
                  </a:lnTo>
                  <a:lnTo>
                    <a:pt x="518" y="710"/>
                  </a:lnTo>
                  <a:lnTo>
                    <a:pt x="518" y="697"/>
                  </a:lnTo>
                  <a:lnTo>
                    <a:pt x="526" y="695"/>
                  </a:lnTo>
                  <a:lnTo>
                    <a:pt x="546" y="697"/>
                  </a:lnTo>
                  <a:lnTo>
                    <a:pt x="554" y="693"/>
                  </a:lnTo>
                  <a:lnTo>
                    <a:pt x="562" y="688"/>
                  </a:lnTo>
                  <a:lnTo>
                    <a:pt x="566" y="600"/>
                  </a:lnTo>
                  <a:lnTo>
                    <a:pt x="569" y="602"/>
                  </a:lnTo>
                  <a:lnTo>
                    <a:pt x="577" y="585"/>
                  </a:lnTo>
                  <a:lnTo>
                    <a:pt x="583" y="581"/>
                  </a:lnTo>
                  <a:lnTo>
                    <a:pt x="594" y="581"/>
                  </a:lnTo>
                  <a:lnTo>
                    <a:pt x="597" y="577"/>
                  </a:lnTo>
                  <a:lnTo>
                    <a:pt x="605" y="543"/>
                  </a:lnTo>
                  <a:lnTo>
                    <a:pt x="642" y="495"/>
                  </a:lnTo>
                  <a:lnTo>
                    <a:pt x="649" y="492"/>
                  </a:lnTo>
                  <a:lnTo>
                    <a:pt x="655" y="486"/>
                  </a:lnTo>
                  <a:lnTo>
                    <a:pt x="670" y="424"/>
                  </a:lnTo>
                  <a:lnTo>
                    <a:pt x="668" y="394"/>
                  </a:lnTo>
                  <a:lnTo>
                    <a:pt x="694" y="291"/>
                  </a:lnTo>
                  <a:lnTo>
                    <a:pt x="705" y="290"/>
                  </a:lnTo>
                  <a:lnTo>
                    <a:pt x="712" y="285"/>
                  </a:lnTo>
                  <a:lnTo>
                    <a:pt x="716" y="279"/>
                  </a:lnTo>
                  <a:lnTo>
                    <a:pt x="751" y="264"/>
                  </a:lnTo>
                  <a:lnTo>
                    <a:pt x="759" y="244"/>
                  </a:lnTo>
                  <a:lnTo>
                    <a:pt x="757" y="235"/>
                  </a:lnTo>
                  <a:lnTo>
                    <a:pt x="752" y="235"/>
                  </a:lnTo>
                  <a:lnTo>
                    <a:pt x="749" y="233"/>
                  </a:lnTo>
                  <a:lnTo>
                    <a:pt x="745" y="234"/>
                  </a:lnTo>
                  <a:lnTo>
                    <a:pt x="741" y="225"/>
                  </a:lnTo>
                  <a:lnTo>
                    <a:pt x="736" y="220"/>
                  </a:lnTo>
                  <a:lnTo>
                    <a:pt x="713" y="211"/>
                  </a:lnTo>
                  <a:lnTo>
                    <a:pt x="708" y="203"/>
                  </a:lnTo>
                  <a:lnTo>
                    <a:pt x="699" y="97"/>
                  </a:lnTo>
                  <a:lnTo>
                    <a:pt x="702" y="98"/>
                  </a:lnTo>
                  <a:lnTo>
                    <a:pt x="700" y="92"/>
                  </a:lnTo>
                  <a:lnTo>
                    <a:pt x="687" y="78"/>
                  </a:lnTo>
                  <a:lnTo>
                    <a:pt x="684" y="54"/>
                  </a:lnTo>
                  <a:lnTo>
                    <a:pt x="675" y="40"/>
                  </a:lnTo>
                  <a:lnTo>
                    <a:pt x="668" y="36"/>
                  </a:lnTo>
                  <a:lnTo>
                    <a:pt x="659" y="25"/>
                  </a:lnTo>
                  <a:lnTo>
                    <a:pt x="637" y="15"/>
                  </a:lnTo>
                  <a:lnTo>
                    <a:pt x="627" y="0"/>
                  </a:lnTo>
                  <a:lnTo>
                    <a:pt x="608" y="16"/>
                  </a:lnTo>
                  <a:lnTo>
                    <a:pt x="597" y="11"/>
                  </a:lnTo>
                  <a:lnTo>
                    <a:pt x="586" y="37"/>
                  </a:lnTo>
                  <a:lnTo>
                    <a:pt x="562" y="43"/>
                  </a:lnTo>
                  <a:lnTo>
                    <a:pt x="555" y="64"/>
                  </a:lnTo>
                  <a:lnTo>
                    <a:pt x="534" y="65"/>
                  </a:lnTo>
                  <a:lnTo>
                    <a:pt x="517" y="55"/>
                  </a:lnTo>
                  <a:lnTo>
                    <a:pt x="437" y="54"/>
                  </a:lnTo>
                  <a:lnTo>
                    <a:pt x="441" y="45"/>
                  </a:lnTo>
                  <a:lnTo>
                    <a:pt x="439" y="45"/>
                  </a:lnTo>
                  <a:lnTo>
                    <a:pt x="437" y="43"/>
                  </a:lnTo>
                  <a:lnTo>
                    <a:pt x="435" y="43"/>
                  </a:lnTo>
                  <a:lnTo>
                    <a:pt x="427" y="54"/>
                  </a:lnTo>
                  <a:lnTo>
                    <a:pt x="144" y="54"/>
                  </a:lnTo>
                  <a:lnTo>
                    <a:pt x="144" y="147"/>
                  </a:lnTo>
                  <a:lnTo>
                    <a:pt x="98" y="148"/>
                  </a:lnTo>
                  <a:lnTo>
                    <a:pt x="98" y="17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8" name="Freeform 136"/>
            <p:cNvSpPr>
              <a:spLocks/>
            </p:cNvSpPr>
            <p:nvPr/>
          </p:nvSpPr>
          <p:spPr bwMode="auto">
            <a:xfrm>
              <a:off x="3267549" y="2085888"/>
              <a:ext cx="877399" cy="565885"/>
            </a:xfrm>
            <a:custGeom>
              <a:avLst/>
              <a:gdLst>
                <a:gd name="T0" fmla="*/ 31 w 730"/>
                <a:gd name="T1" fmla="*/ 44 h 567"/>
                <a:gd name="T2" fmla="*/ 30 w 730"/>
                <a:gd name="T3" fmla="*/ 45 h 567"/>
                <a:gd name="T4" fmla="*/ 29 w 730"/>
                <a:gd name="T5" fmla="*/ 46 h 567"/>
                <a:gd name="T6" fmla="*/ 26 w 730"/>
                <a:gd name="T7" fmla="*/ 48 h 567"/>
                <a:gd name="T8" fmla="*/ 22 w 730"/>
                <a:gd name="T9" fmla="*/ 48 h 567"/>
                <a:gd name="T10" fmla="*/ 22 w 730"/>
                <a:gd name="T11" fmla="*/ 48 h 567"/>
                <a:gd name="T12" fmla="*/ 6 w 730"/>
                <a:gd name="T13" fmla="*/ 50 h 567"/>
                <a:gd name="T14" fmla="*/ 1 w 730"/>
                <a:gd name="T15" fmla="*/ 51 h 567"/>
                <a:gd name="T16" fmla="*/ 0 w 730"/>
                <a:gd name="T17" fmla="*/ 53 h 567"/>
                <a:gd name="T18" fmla="*/ 1 w 730"/>
                <a:gd name="T19" fmla="*/ 54 h 567"/>
                <a:gd name="T20" fmla="*/ 2 w 730"/>
                <a:gd name="T21" fmla="*/ 55 h 567"/>
                <a:gd name="T22" fmla="*/ 10 w 730"/>
                <a:gd name="T23" fmla="*/ 63 h 567"/>
                <a:gd name="T24" fmla="*/ 13 w 730"/>
                <a:gd name="T25" fmla="*/ 64 h 567"/>
                <a:gd name="T26" fmla="*/ 14 w 730"/>
                <a:gd name="T27" fmla="*/ 63 h 567"/>
                <a:gd name="T28" fmla="*/ 16 w 730"/>
                <a:gd name="T29" fmla="*/ 63 h 567"/>
                <a:gd name="T30" fmla="*/ 17 w 730"/>
                <a:gd name="T31" fmla="*/ 65 h 567"/>
                <a:gd name="T32" fmla="*/ 15 w 730"/>
                <a:gd name="T33" fmla="*/ 65 h 567"/>
                <a:gd name="T34" fmla="*/ 15 w 730"/>
                <a:gd name="T35" fmla="*/ 66 h 567"/>
                <a:gd name="T36" fmla="*/ 19 w 730"/>
                <a:gd name="T37" fmla="*/ 67 h 567"/>
                <a:gd name="T38" fmla="*/ 18 w 730"/>
                <a:gd name="T39" fmla="*/ 66 h 567"/>
                <a:gd name="T40" fmla="*/ 22 w 730"/>
                <a:gd name="T41" fmla="*/ 65 h 567"/>
                <a:gd name="T42" fmla="*/ 27 w 730"/>
                <a:gd name="T43" fmla="*/ 65 h 567"/>
                <a:gd name="T44" fmla="*/ 28 w 730"/>
                <a:gd name="T45" fmla="*/ 63 h 567"/>
                <a:gd name="T46" fmla="*/ 30 w 730"/>
                <a:gd name="T47" fmla="*/ 62 h 567"/>
                <a:gd name="T48" fmla="*/ 34 w 730"/>
                <a:gd name="T49" fmla="*/ 58 h 567"/>
                <a:gd name="T50" fmla="*/ 49 w 730"/>
                <a:gd name="T51" fmla="*/ 59 h 567"/>
                <a:gd name="T52" fmla="*/ 54 w 730"/>
                <a:gd name="T53" fmla="*/ 62 h 567"/>
                <a:gd name="T54" fmla="*/ 56 w 730"/>
                <a:gd name="T55" fmla="*/ 61 h 567"/>
                <a:gd name="T56" fmla="*/ 60 w 730"/>
                <a:gd name="T57" fmla="*/ 60 h 567"/>
                <a:gd name="T58" fmla="*/ 72 w 730"/>
                <a:gd name="T59" fmla="*/ 63 h 567"/>
                <a:gd name="T60" fmla="*/ 79 w 730"/>
                <a:gd name="T61" fmla="*/ 60 h 567"/>
                <a:gd name="T62" fmla="*/ 94 w 730"/>
                <a:gd name="T63" fmla="*/ 60 h 567"/>
                <a:gd name="T64" fmla="*/ 96 w 730"/>
                <a:gd name="T65" fmla="*/ 60 h 567"/>
                <a:gd name="T66" fmla="*/ 98 w 730"/>
                <a:gd name="T67" fmla="*/ 59 h 567"/>
                <a:gd name="T68" fmla="*/ 99 w 730"/>
                <a:gd name="T69" fmla="*/ 59 h 567"/>
                <a:gd name="T70" fmla="*/ 101 w 730"/>
                <a:gd name="T71" fmla="*/ 57 h 567"/>
                <a:gd name="T72" fmla="*/ 101 w 730"/>
                <a:gd name="T73" fmla="*/ 57 h 567"/>
                <a:gd name="T74" fmla="*/ 100 w 730"/>
                <a:gd name="T75" fmla="*/ 56 h 567"/>
                <a:gd name="T76" fmla="*/ 101 w 730"/>
                <a:gd name="T77" fmla="*/ 54 h 567"/>
                <a:gd name="T78" fmla="*/ 102 w 730"/>
                <a:gd name="T79" fmla="*/ 54 h 567"/>
                <a:gd name="T80" fmla="*/ 103 w 730"/>
                <a:gd name="T81" fmla="*/ 53 h 567"/>
                <a:gd name="T82" fmla="*/ 105 w 730"/>
                <a:gd name="T83" fmla="*/ 52 h 567"/>
                <a:gd name="T84" fmla="*/ 105 w 730"/>
                <a:gd name="T85" fmla="*/ 51 h 567"/>
                <a:gd name="T86" fmla="*/ 118 w 730"/>
                <a:gd name="T87" fmla="*/ 39 h 567"/>
                <a:gd name="T88" fmla="*/ 123 w 730"/>
                <a:gd name="T89" fmla="*/ 18 h 567"/>
                <a:gd name="T90" fmla="*/ 118 w 730"/>
                <a:gd name="T91" fmla="*/ 16 h 567"/>
                <a:gd name="T92" fmla="*/ 117 w 730"/>
                <a:gd name="T93" fmla="*/ 13 h 567"/>
                <a:gd name="T94" fmla="*/ 115 w 730"/>
                <a:gd name="T95" fmla="*/ 3 h 567"/>
                <a:gd name="T96" fmla="*/ 112 w 730"/>
                <a:gd name="T97" fmla="*/ 2 h 567"/>
                <a:gd name="T98" fmla="*/ 109 w 730"/>
                <a:gd name="T99" fmla="*/ 1 h 567"/>
                <a:gd name="T100" fmla="*/ 91 w 730"/>
                <a:gd name="T101" fmla="*/ 0 h 567"/>
                <a:gd name="T102" fmla="*/ 31 w 730"/>
                <a:gd name="T103" fmla="*/ 26 h 567"/>
                <a:gd name="T104" fmla="*/ 31 w 730"/>
                <a:gd name="T105" fmla="*/ 26 h 56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567"/>
                <a:gd name="T161" fmla="*/ 730 w 730"/>
                <a:gd name="T162" fmla="*/ 567 h 56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567">
                  <a:moveTo>
                    <a:pt x="187" y="227"/>
                  </a:moveTo>
                  <a:lnTo>
                    <a:pt x="187" y="364"/>
                  </a:lnTo>
                  <a:lnTo>
                    <a:pt x="183" y="365"/>
                  </a:lnTo>
                  <a:lnTo>
                    <a:pt x="175" y="369"/>
                  </a:lnTo>
                  <a:lnTo>
                    <a:pt x="172" y="374"/>
                  </a:lnTo>
                  <a:lnTo>
                    <a:pt x="170" y="380"/>
                  </a:lnTo>
                  <a:lnTo>
                    <a:pt x="160" y="386"/>
                  </a:lnTo>
                  <a:lnTo>
                    <a:pt x="156" y="392"/>
                  </a:lnTo>
                  <a:lnTo>
                    <a:pt x="155" y="397"/>
                  </a:lnTo>
                  <a:lnTo>
                    <a:pt x="134" y="394"/>
                  </a:lnTo>
                  <a:lnTo>
                    <a:pt x="134" y="397"/>
                  </a:lnTo>
                  <a:lnTo>
                    <a:pt x="130" y="396"/>
                  </a:lnTo>
                  <a:lnTo>
                    <a:pt x="57" y="397"/>
                  </a:lnTo>
                  <a:lnTo>
                    <a:pt x="35" y="413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3" y="427"/>
                  </a:lnTo>
                  <a:lnTo>
                    <a:pt x="0" y="435"/>
                  </a:lnTo>
                  <a:lnTo>
                    <a:pt x="1" y="438"/>
                  </a:lnTo>
                  <a:lnTo>
                    <a:pt x="9" y="444"/>
                  </a:lnTo>
                  <a:lnTo>
                    <a:pt x="10" y="446"/>
                  </a:lnTo>
                  <a:lnTo>
                    <a:pt x="10" y="453"/>
                  </a:lnTo>
                  <a:lnTo>
                    <a:pt x="13" y="460"/>
                  </a:lnTo>
                  <a:lnTo>
                    <a:pt x="60" y="520"/>
                  </a:lnTo>
                  <a:lnTo>
                    <a:pt x="74" y="526"/>
                  </a:lnTo>
                  <a:lnTo>
                    <a:pt x="78" y="526"/>
                  </a:lnTo>
                  <a:lnTo>
                    <a:pt x="82" y="524"/>
                  </a:lnTo>
                  <a:lnTo>
                    <a:pt x="86" y="520"/>
                  </a:lnTo>
                  <a:lnTo>
                    <a:pt x="89" y="520"/>
                  </a:lnTo>
                  <a:lnTo>
                    <a:pt x="94" y="522"/>
                  </a:lnTo>
                  <a:lnTo>
                    <a:pt x="100" y="533"/>
                  </a:lnTo>
                  <a:lnTo>
                    <a:pt x="99" y="535"/>
                  </a:lnTo>
                  <a:lnTo>
                    <a:pt x="95" y="534"/>
                  </a:lnTo>
                  <a:lnTo>
                    <a:pt x="92" y="536"/>
                  </a:lnTo>
                  <a:lnTo>
                    <a:pt x="91" y="538"/>
                  </a:lnTo>
                  <a:lnTo>
                    <a:pt x="92" y="541"/>
                  </a:lnTo>
                  <a:lnTo>
                    <a:pt x="106" y="557"/>
                  </a:lnTo>
                  <a:lnTo>
                    <a:pt x="113" y="553"/>
                  </a:lnTo>
                  <a:lnTo>
                    <a:pt x="106" y="545"/>
                  </a:lnTo>
                  <a:lnTo>
                    <a:pt x="106" y="541"/>
                  </a:lnTo>
                  <a:lnTo>
                    <a:pt x="120" y="539"/>
                  </a:lnTo>
                  <a:lnTo>
                    <a:pt x="127" y="535"/>
                  </a:lnTo>
                  <a:lnTo>
                    <a:pt x="162" y="567"/>
                  </a:lnTo>
                  <a:lnTo>
                    <a:pt x="161" y="532"/>
                  </a:lnTo>
                  <a:lnTo>
                    <a:pt x="163" y="528"/>
                  </a:lnTo>
                  <a:lnTo>
                    <a:pt x="166" y="525"/>
                  </a:lnTo>
                  <a:lnTo>
                    <a:pt x="172" y="522"/>
                  </a:lnTo>
                  <a:lnTo>
                    <a:pt x="178" y="516"/>
                  </a:lnTo>
                  <a:lnTo>
                    <a:pt x="187" y="487"/>
                  </a:lnTo>
                  <a:lnTo>
                    <a:pt x="200" y="476"/>
                  </a:lnTo>
                  <a:lnTo>
                    <a:pt x="256" y="470"/>
                  </a:lnTo>
                  <a:lnTo>
                    <a:pt x="287" y="485"/>
                  </a:lnTo>
                  <a:lnTo>
                    <a:pt x="312" y="507"/>
                  </a:lnTo>
                  <a:lnTo>
                    <a:pt x="316" y="509"/>
                  </a:lnTo>
                  <a:lnTo>
                    <a:pt x="322" y="509"/>
                  </a:lnTo>
                  <a:lnTo>
                    <a:pt x="328" y="501"/>
                  </a:lnTo>
                  <a:lnTo>
                    <a:pt x="349" y="492"/>
                  </a:lnTo>
                  <a:lnTo>
                    <a:pt x="360" y="492"/>
                  </a:lnTo>
                  <a:lnTo>
                    <a:pt x="393" y="511"/>
                  </a:lnTo>
                  <a:lnTo>
                    <a:pt x="423" y="517"/>
                  </a:lnTo>
                  <a:lnTo>
                    <a:pt x="434" y="515"/>
                  </a:lnTo>
                  <a:lnTo>
                    <a:pt x="468" y="492"/>
                  </a:lnTo>
                  <a:lnTo>
                    <a:pt x="530" y="489"/>
                  </a:lnTo>
                  <a:lnTo>
                    <a:pt x="553" y="499"/>
                  </a:lnTo>
                  <a:lnTo>
                    <a:pt x="562" y="498"/>
                  </a:lnTo>
                  <a:lnTo>
                    <a:pt x="568" y="495"/>
                  </a:lnTo>
                  <a:lnTo>
                    <a:pt x="575" y="488"/>
                  </a:lnTo>
                  <a:lnTo>
                    <a:pt x="576" y="485"/>
                  </a:lnTo>
                  <a:lnTo>
                    <a:pt x="581" y="482"/>
                  </a:lnTo>
                  <a:lnTo>
                    <a:pt x="586" y="481"/>
                  </a:lnTo>
                  <a:lnTo>
                    <a:pt x="592" y="481"/>
                  </a:lnTo>
                  <a:lnTo>
                    <a:pt x="597" y="471"/>
                  </a:lnTo>
                  <a:lnTo>
                    <a:pt x="599" y="471"/>
                  </a:lnTo>
                  <a:lnTo>
                    <a:pt x="600" y="469"/>
                  </a:lnTo>
                  <a:lnTo>
                    <a:pt x="596" y="465"/>
                  </a:lnTo>
                  <a:lnTo>
                    <a:pt x="594" y="460"/>
                  </a:lnTo>
                  <a:lnTo>
                    <a:pt x="594" y="456"/>
                  </a:lnTo>
                  <a:lnTo>
                    <a:pt x="597" y="449"/>
                  </a:lnTo>
                  <a:lnTo>
                    <a:pt x="603" y="446"/>
                  </a:lnTo>
                  <a:lnTo>
                    <a:pt x="606" y="445"/>
                  </a:lnTo>
                  <a:lnTo>
                    <a:pt x="610" y="443"/>
                  </a:lnTo>
                  <a:lnTo>
                    <a:pt x="609" y="434"/>
                  </a:lnTo>
                  <a:lnTo>
                    <a:pt x="612" y="430"/>
                  </a:lnTo>
                  <a:lnTo>
                    <a:pt x="619" y="429"/>
                  </a:lnTo>
                  <a:lnTo>
                    <a:pt x="618" y="420"/>
                  </a:lnTo>
                  <a:lnTo>
                    <a:pt x="623" y="418"/>
                  </a:lnTo>
                  <a:lnTo>
                    <a:pt x="623" y="409"/>
                  </a:lnTo>
                  <a:lnTo>
                    <a:pt x="701" y="322"/>
                  </a:lnTo>
                  <a:lnTo>
                    <a:pt x="717" y="174"/>
                  </a:lnTo>
                  <a:lnTo>
                    <a:pt x="730" y="153"/>
                  </a:lnTo>
                  <a:lnTo>
                    <a:pt x="705" y="139"/>
                  </a:lnTo>
                  <a:lnTo>
                    <a:pt x="697" y="128"/>
                  </a:lnTo>
                  <a:lnTo>
                    <a:pt x="691" y="113"/>
                  </a:lnTo>
                  <a:lnTo>
                    <a:pt x="691" y="110"/>
                  </a:lnTo>
                  <a:lnTo>
                    <a:pt x="684" y="97"/>
                  </a:lnTo>
                  <a:lnTo>
                    <a:pt x="684" y="26"/>
                  </a:lnTo>
                  <a:lnTo>
                    <a:pt x="670" y="30"/>
                  </a:lnTo>
                  <a:lnTo>
                    <a:pt x="662" y="19"/>
                  </a:lnTo>
                  <a:lnTo>
                    <a:pt x="650" y="13"/>
                  </a:lnTo>
                  <a:lnTo>
                    <a:pt x="646" y="9"/>
                  </a:lnTo>
                  <a:lnTo>
                    <a:pt x="642" y="6"/>
                  </a:lnTo>
                  <a:lnTo>
                    <a:pt x="538" y="0"/>
                  </a:lnTo>
                  <a:lnTo>
                    <a:pt x="257" y="198"/>
                  </a:lnTo>
                  <a:lnTo>
                    <a:pt x="186" y="215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7" y="227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29" name="Freeform 137"/>
            <p:cNvSpPr>
              <a:spLocks/>
            </p:cNvSpPr>
            <p:nvPr/>
          </p:nvSpPr>
          <p:spPr bwMode="auto">
            <a:xfrm>
              <a:off x="3267549" y="2085888"/>
              <a:ext cx="877399" cy="565885"/>
            </a:xfrm>
            <a:custGeom>
              <a:avLst/>
              <a:gdLst>
                <a:gd name="T0" fmla="*/ 31 w 730"/>
                <a:gd name="T1" fmla="*/ 44 h 567"/>
                <a:gd name="T2" fmla="*/ 30 w 730"/>
                <a:gd name="T3" fmla="*/ 45 h 567"/>
                <a:gd name="T4" fmla="*/ 29 w 730"/>
                <a:gd name="T5" fmla="*/ 46 h 567"/>
                <a:gd name="T6" fmla="*/ 26 w 730"/>
                <a:gd name="T7" fmla="*/ 48 h 567"/>
                <a:gd name="T8" fmla="*/ 22 w 730"/>
                <a:gd name="T9" fmla="*/ 48 h 567"/>
                <a:gd name="T10" fmla="*/ 22 w 730"/>
                <a:gd name="T11" fmla="*/ 48 h 567"/>
                <a:gd name="T12" fmla="*/ 6 w 730"/>
                <a:gd name="T13" fmla="*/ 50 h 567"/>
                <a:gd name="T14" fmla="*/ 1 w 730"/>
                <a:gd name="T15" fmla="*/ 51 h 567"/>
                <a:gd name="T16" fmla="*/ 0 w 730"/>
                <a:gd name="T17" fmla="*/ 53 h 567"/>
                <a:gd name="T18" fmla="*/ 1 w 730"/>
                <a:gd name="T19" fmla="*/ 54 h 567"/>
                <a:gd name="T20" fmla="*/ 2 w 730"/>
                <a:gd name="T21" fmla="*/ 55 h 567"/>
                <a:gd name="T22" fmla="*/ 10 w 730"/>
                <a:gd name="T23" fmla="*/ 63 h 567"/>
                <a:gd name="T24" fmla="*/ 13 w 730"/>
                <a:gd name="T25" fmla="*/ 64 h 567"/>
                <a:gd name="T26" fmla="*/ 14 w 730"/>
                <a:gd name="T27" fmla="*/ 63 h 567"/>
                <a:gd name="T28" fmla="*/ 16 w 730"/>
                <a:gd name="T29" fmla="*/ 63 h 567"/>
                <a:gd name="T30" fmla="*/ 17 w 730"/>
                <a:gd name="T31" fmla="*/ 65 h 567"/>
                <a:gd name="T32" fmla="*/ 15 w 730"/>
                <a:gd name="T33" fmla="*/ 65 h 567"/>
                <a:gd name="T34" fmla="*/ 15 w 730"/>
                <a:gd name="T35" fmla="*/ 66 h 567"/>
                <a:gd name="T36" fmla="*/ 19 w 730"/>
                <a:gd name="T37" fmla="*/ 67 h 567"/>
                <a:gd name="T38" fmla="*/ 18 w 730"/>
                <a:gd name="T39" fmla="*/ 66 h 567"/>
                <a:gd name="T40" fmla="*/ 22 w 730"/>
                <a:gd name="T41" fmla="*/ 65 h 567"/>
                <a:gd name="T42" fmla="*/ 27 w 730"/>
                <a:gd name="T43" fmla="*/ 65 h 567"/>
                <a:gd name="T44" fmla="*/ 28 w 730"/>
                <a:gd name="T45" fmla="*/ 63 h 567"/>
                <a:gd name="T46" fmla="*/ 30 w 730"/>
                <a:gd name="T47" fmla="*/ 62 h 567"/>
                <a:gd name="T48" fmla="*/ 34 w 730"/>
                <a:gd name="T49" fmla="*/ 58 h 567"/>
                <a:gd name="T50" fmla="*/ 49 w 730"/>
                <a:gd name="T51" fmla="*/ 59 h 567"/>
                <a:gd name="T52" fmla="*/ 54 w 730"/>
                <a:gd name="T53" fmla="*/ 62 h 567"/>
                <a:gd name="T54" fmla="*/ 56 w 730"/>
                <a:gd name="T55" fmla="*/ 61 h 567"/>
                <a:gd name="T56" fmla="*/ 60 w 730"/>
                <a:gd name="T57" fmla="*/ 60 h 567"/>
                <a:gd name="T58" fmla="*/ 72 w 730"/>
                <a:gd name="T59" fmla="*/ 63 h 567"/>
                <a:gd name="T60" fmla="*/ 79 w 730"/>
                <a:gd name="T61" fmla="*/ 60 h 567"/>
                <a:gd name="T62" fmla="*/ 94 w 730"/>
                <a:gd name="T63" fmla="*/ 60 h 567"/>
                <a:gd name="T64" fmla="*/ 96 w 730"/>
                <a:gd name="T65" fmla="*/ 60 h 567"/>
                <a:gd name="T66" fmla="*/ 98 w 730"/>
                <a:gd name="T67" fmla="*/ 59 h 567"/>
                <a:gd name="T68" fmla="*/ 99 w 730"/>
                <a:gd name="T69" fmla="*/ 59 h 567"/>
                <a:gd name="T70" fmla="*/ 101 w 730"/>
                <a:gd name="T71" fmla="*/ 57 h 567"/>
                <a:gd name="T72" fmla="*/ 101 w 730"/>
                <a:gd name="T73" fmla="*/ 57 h 567"/>
                <a:gd name="T74" fmla="*/ 100 w 730"/>
                <a:gd name="T75" fmla="*/ 56 h 567"/>
                <a:gd name="T76" fmla="*/ 101 w 730"/>
                <a:gd name="T77" fmla="*/ 54 h 567"/>
                <a:gd name="T78" fmla="*/ 102 w 730"/>
                <a:gd name="T79" fmla="*/ 54 h 567"/>
                <a:gd name="T80" fmla="*/ 103 w 730"/>
                <a:gd name="T81" fmla="*/ 53 h 567"/>
                <a:gd name="T82" fmla="*/ 105 w 730"/>
                <a:gd name="T83" fmla="*/ 52 h 567"/>
                <a:gd name="T84" fmla="*/ 105 w 730"/>
                <a:gd name="T85" fmla="*/ 51 h 567"/>
                <a:gd name="T86" fmla="*/ 118 w 730"/>
                <a:gd name="T87" fmla="*/ 39 h 567"/>
                <a:gd name="T88" fmla="*/ 123 w 730"/>
                <a:gd name="T89" fmla="*/ 18 h 567"/>
                <a:gd name="T90" fmla="*/ 118 w 730"/>
                <a:gd name="T91" fmla="*/ 16 h 567"/>
                <a:gd name="T92" fmla="*/ 117 w 730"/>
                <a:gd name="T93" fmla="*/ 13 h 567"/>
                <a:gd name="T94" fmla="*/ 115 w 730"/>
                <a:gd name="T95" fmla="*/ 3 h 567"/>
                <a:gd name="T96" fmla="*/ 112 w 730"/>
                <a:gd name="T97" fmla="*/ 2 h 567"/>
                <a:gd name="T98" fmla="*/ 109 w 730"/>
                <a:gd name="T99" fmla="*/ 1 h 567"/>
                <a:gd name="T100" fmla="*/ 91 w 730"/>
                <a:gd name="T101" fmla="*/ 0 h 567"/>
                <a:gd name="T102" fmla="*/ 31 w 730"/>
                <a:gd name="T103" fmla="*/ 26 h 567"/>
                <a:gd name="T104" fmla="*/ 31 w 730"/>
                <a:gd name="T105" fmla="*/ 26 h 56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730"/>
                <a:gd name="T160" fmla="*/ 0 h 567"/>
                <a:gd name="T161" fmla="*/ 730 w 730"/>
                <a:gd name="T162" fmla="*/ 567 h 56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730" h="567">
                  <a:moveTo>
                    <a:pt x="187" y="227"/>
                  </a:moveTo>
                  <a:lnTo>
                    <a:pt x="187" y="364"/>
                  </a:lnTo>
                  <a:lnTo>
                    <a:pt x="183" y="365"/>
                  </a:lnTo>
                  <a:lnTo>
                    <a:pt x="175" y="369"/>
                  </a:lnTo>
                  <a:lnTo>
                    <a:pt x="172" y="374"/>
                  </a:lnTo>
                  <a:lnTo>
                    <a:pt x="170" y="380"/>
                  </a:lnTo>
                  <a:lnTo>
                    <a:pt x="160" y="386"/>
                  </a:lnTo>
                  <a:lnTo>
                    <a:pt x="156" y="392"/>
                  </a:lnTo>
                  <a:lnTo>
                    <a:pt x="155" y="397"/>
                  </a:lnTo>
                  <a:lnTo>
                    <a:pt x="134" y="394"/>
                  </a:lnTo>
                  <a:lnTo>
                    <a:pt x="134" y="397"/>
                  </a:lnTo>
                  <a:lnTo>
                    <a:pt x="130" y="396"/>
                  </a:lnTo>
                  <a:lnTo>
                    <a:pt x="57" y="397"/>
                  </a:lnTo>
                  <a:lnTo>
                    <a:pt x="35" y="413"/>
                  </a:lnTo>
                  <a:lnTo>
                    <a:pt x="5" y="413"/>
                  </a:lnTo>
                  <a:lnTo>
                    <a:pt x="3" y="417"/>
                  </a:lnTo>
                  <a:lnTo>
                    <a:pt x="3" y="427"/>
                  </a:lnTo>
                  <a:lnTo>
                    <a:pt x="0" y="435"/>
                  </a:lnTo>
                  <a:lnTo>
                    <a:pt x="1" y="438"/>
                  </a:lnTo>
                  <a:lnTo>
                    <a:pt x="9" y="444"/>
                  </a:lnTo>
                  <a:lnTo>
                    <a:pt x="10" y="446"/>
                  </a:lnTo>
                  <a:lnTo>
                    <a:pt x="10" y="453"/>
                  </a:lnTo>
                  <a:lnTo>
                    <a:pt x="13" y="460"/>
                  </a:lnTo>
                  <a:lnTo>
                    <a:pt x="60" y="520"/>
                  </a:lnTo>
                  <a:lnTo>
                    <a:pt x="74" y="526"/>
                  </a:lnTo>
                  <a:lnTo>
                    <a:pt x="78" y="526"/>
                  </a:lnTo>
                  <a:lnTo>
                    <a:pt x="82" y="524"/>
                  </a:lnTo>
                  <a:lnTo>
                    <a:pt x="86" y="520"/>
                  </a:lnTo>
                  <a:lnTo>
                    <a:pt x="89" y="520"/>
                  </a:lnTo>
                  <a:lnTo>
                    <a:pt x="94" y="522"/>
                  </a:lnTo>
                  <a:lnTo>
                    <a:pt x="100" y="533"/>
                  </a:lnTo>
                  <a:lnTo>
                    <a:pt x="99" y="535"/>
                  </a:lnTo>
                  <a:lnTo>
                    <a:pt x="95" y="534"/>
                  </a:lnTo>
                  <a:lnTo>
                    <a:pt x="92" y="536"/>
                  </a:lnTo>
                  <a:lnTo>
                    <a:pt x="91" y="538"/>
                  </a:lnTo>
                  <a:lnTo>
                    <a:pt x="92" y="541"/>
                  </a:lnTo>
                  <a:lnTo>
                    <a:pt x="106" y="557"/>
                  </a:lnTo>
                  <a:lnTo>
                    <a:pt x="113" y="553"/>
                  </a:lnTo>
                  <a:lnTo>
                    <a:pt x="106" y="545"/>
                  </a:lnTo>
                  <a:lnTo>
                    <a:pt x="106" y="541"/>
                  </a:lnTo>
                  <a:lnTo>
                    <a:pt x="120" y="539"/>
                  </a:lnTo>
                  <a:lnTo>
                    <a:pt x="127" y="535"/>
                  </a:lnTo>
                  <a:lnTo>
                    <a:pt x="162" y="567"/>
                  </a:lnTo>
                  <a:lnTo>
                    <a:pt x="161" y="532"/>
                  </a:lnTo>
                  <a:lnTo>
                    <a:pt x="163" y="528"/>
                  </a:lnTo>
                  <a:lnTo>
                    <a:pt x="166" y="525"/>
                  </a:lnTo>
                  <a:lnTo>
                    <a:pt x="172" y="522"/>
                  </a:lnTo>
                  <a:lnTo>
                    <a:pt x="178" y="516"/>
                  </a:lnTo>
                  <a:lnTo>
                    <a:pt x="187" y="487"/>
                  </a:lnTo>
                  <a:lnTo>
                    <a:pt x="200" y="476"/>
                  </a:lnTo>
                  <a:lnTo>
                    <a:pt x="256" y="470"/>
                  </a:lnTo>
                  <a:lnTo>
                    <a:pt x="287" y="485"/>
                  </a:lnTo>
                  <a:lnTo>
                    <a:pt x="312" y="507"/>
                  </a:lnTo>
                  <a:lnTo>
                    <a:pt x="316" y="509"/>
                  </a:lnTo>
                  <a:lnTo>
                    <a:pt x="322" y="509"/>
                  </a:lnTo>
                  <a:lnTo>
                    <a:pt x="328" y="501"/>
                  </a:lnTo>
                  <a:lnTo>
                    <a:pt x="349" y="492"/>
                  </a:lnTo>
                  <a:lnTo>
                    <a:pt x="360" y="492"/>
                  </a:lnTo>
                  <a:lnTo>
                    <a:pt x="393" y="511"/>
                  </a:lnTo>
                  <a:lnTo>
                    <a:pt x="423" y="517"/>
                  </a:lnTo>
                  <a:lnTo>
                    <a:pt x="434" y="515"/>
                  </a:lnTo>
                  <a:lnTo>
                    <a:pt x="468" y="492"/>
                  </a:lnTo>
                  <a:lnTo>
                    <a:pt x="530" y="489"/>
                  </a:lnTo>
                  <a:lnTo>
                    <a:pt x="553" y="499"/>
                  </a:lnTo>
                  <a:lnTo>
                    <a:pt x="562" y="498"/>
                  </a:lnTo>
                  <a:lnTo>
                    <a:pt x="568" y="495"/>
                  </a:lnTo>
                  <a:lnTo>
                    <a:pt x="575" y="488"/>
                  </a:lnTo>
                  <a:lnTo>
                    <a:pt x="576" y="485"/>
                  </a:lnTo>
                  <a:lnTo>
                    <a:pt x="581" y="482"/>
                  </a:lnTo>
                  <a:lnTo>
                    <a:pt x="586" y="481"/>
                  </a:lnTo>
                  <a:lnTo>
                    <a:pt x="592" y="481"/>
                  </a:lnTo>
                  <a:lnTo>
                    <a:pt x="597" y="471"/>
                  </a:lnTo>
                  <a:lnTo>
                    <a:pt x="599" y="471"/>
                  </a:lnTo>
                  <a:lnTo>
                    <a:pt x="600" y="469"/>
                  </a:lnTo>
                  <a:lnTo>
                    <a:pt x="596" y="465"/>
                  </a:lnTo>
                  <a:lnTo>
                    <a:pt x="594" y="460"/>
                  </a:lnTo>
                  <a:lnTo>
                    <a:pt x="594" y="456"/>
                  </a:lnTo>
                  <a:lnTo>
                    <a:pt x="597" y="449"/>
                  </a:lnTo>
                  <a:lnTo>
                    <a:pt x="603" y="446"/>
                  </a:lnTo>
                  <a:lnTo>
                    <a:pt x="606" y="445"/>
                  </a:lnTo>
                  <a:lnTo>
                    <a:pt x="610" y="443"/>
                  </a:lnTo>
                  <a:lnTo>
                    <a:pt x="609" y="434"/>
                  </a:lnTo>
                  <a:lnTo>
                    <a:pt x="612" y="430"/>
                  </a:lnTo>
                  <a:lnTo>
                    <a:pt x="619" y="429"/>
                  </a:lnTo>
                  <a:lnTo>
                    <a:pt x="618" y="420"/>
                  </a:lnTo>
                  <a:lnTo>
                    <a:pt x="623" y="418"/>
                  </a:lnTo>
                  <a:lnTo>
                    <a:pt x="623" y="409"/>
                  </a:lnTo>
                  <a:lnTo>
                    <a:pt x="701" y="322"/>
                  </a:lnTo>
                  <a:lnTo>
                    <a:pt x="717" y="174"/>
                  </a:lnTo>
                  <a:lnTo>
                    <a:pt x="730" y="153"/>
                  </a:lnTo>
                  <a:lnTo>
                    <a:pt x="705" y="139"/>
                  </a:lnTo>
                  <a:lnTo>
                    <a:pt x="697" y="128"/>
                  </a:lnTo>
                  <a:lnTo>
                    <a:pt x="691" y="113"/>
                  </a:lnTo>
                  <a:lnTo>
                    <a:pt x="691" y="110"/>
                  </a:lnTo>
                  <a:lnTo>
                    <a:pt x="684" y="97"/>
                  </a:lnTo>
                  <a:lnTo>
                    <a:pt x="684" y="26"/>
                  </a:lnTo>
                  <a:lnTo>
                    <a:pt x="670" y="30"/>
                  </a:lnTo>
                  <a:lnTo>
                    <a:pt x="662" y="19"/>
                  </a:lnTo>
                  <a:lnTo>
                    <a:pt x="650" y="13"/>
                  </a:lnTo>
                  <a:lnTo>
                    <a:pt x="646" y="9"/>
                  </a:lnTo>
                  <a:lnTo>
                    <a:pt x="642" y="6"/>
                  </a:lnTo>
                  <a:lnTo>
                    <a:pt x="538" y="0"/>
                  </a:lnTo>
                  <a:lnTo>
                    <a:pt x="257" y="198"/>
                  </a:lnTo>
                  <a:lnTo>
                    <a:pt x="186" y="215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7" y="22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0" name="Freeform 138"/>
            <p:cNvSpPr>
              <a:spLocks/>
            </p:cNvSpPr>
            <p:nvPr/>
          </p:nvSpPr>
          <p:spPr bwMode="auto">
            <a:xfrm>
              <a:off x="4057614" y="1434656"/>
              <a:ext cx="8124" cy="9277"/>
            </a:xfrm>
            <a:custGeom>
              <a:avLst/>
              <a:gdLst>
                <a:gd name="T0" fmla="*/ 0 w 10"/>
                <a:gd name="T1" fmla="*/ 1 h 9"/>
                <a:gd name="T2" fmla="*/ 0 w 10"/>
                <a:gd name="T3" fmla="*/ 0 h 9"/>
                <a:gd name="T4" fmla="*/ 0 w 10"/>
                <a:gd name="T5" fmla="*/ 1 h 9"/>
                <a:gd name="T6" fmla="*/ 0 w 10"/>
                <a:gd name="T7" fmla="*/ 1 h 9"/>
                <a:gd name="T8" fmla="*/ 0 w 10"/>
                <a:gd name="T9" fmla="*/ 1 h 9"/>
                <a:gd name="T10" fmla="*/ 0 w 10"/>
                <a:gd name="T11" fmla="*/ 1 h 9"/>
                <a:gd name="T12" fmla="*/ 0 w 10"/>
                <a:gd name="T13" fmla="*/ 1 h 9"/>
                <a:gd name="T14" fmla="*/ 0 w 10"/>
                <a:gd name="T15" fmla="*/ 1 h 9"/>
                <a:gd name="T16" fmla="*/ 0 w 10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9"/>
                <a:gd name="T29" fmla="*/ 10 w 10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9">
                  <a:moveTo>
                    <a:pt x="0" y="2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8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5" y="8"/>
                  </a:lnTo>
                  <a:lnTo>
                    <a:pt x="0" y="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1" name="Freeform 139"/>
            <p:cNvSpPr>
              <a:spLocks/>
            </p:cNvSpPr>
            <p:nvPr/>
          </p:nvSpPr>
          <p:spPr bwMode="auto">
            <a:xfrm>
              <a:off x="4057614" y="1434656"/>
              <a:ext cx="8124" cy="9277"/>
            </a:xfrm>
            <a:custGeom>
              <a:avLst/>
              <a:gdLst>
                <a:gd name="T0" fmla="*/ 0 w 10"/>
                <a:gd name="T1" fmla="*/ 1 h 9"/>
                <a:gd name="T2" fmla="*/ 0 w 10"/>
                <a:gd name="T3" fmla="*/ 0 h 9"/>
                <a:gd name="T4" fmla="*/ 0 w 10"/>
                <a:gd name="T5" fmla="*/ 1 h 9"/>
                <a:gd name="T6" fmla="*/ 0 w 10"/>
                <a:gd name="T7" fmla="*/ 1 h 9"/>
                <a:gd name="T8" fmla="*/ 0 w 10"/>
                <a:gd name="T9" fmla="*/ 1 h 9"/>
                <a:gd name="T10" fmla="*/ 0 w 10"/>
                <a:gd name="T11" fmla="*/ 1 h 9"/>
                <a:gd name="T12" fmla="*/ 0 w 10"/>
                <a:gd name="T13" fmla="*/ 1 h 9"/>
                <a:gd name="T14" fmla="*/ 0 w 10"/>
                <a:gd name="T15" fmla="*/ 1 h 9"/>
                <a:gd name="T16" fmla="*/ 0 w 10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9"/>
                <a:gd name="T29" fmla="*/ 10 w 10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9">
                  <a:moveTo>
                    <a:pt x="0" y="2"/>
                  </a:moveTo>
                  <a:lnTo>
                    <a:pt x="0" y="0"/>
                  </a:lnTo>
                  <a:lnTo>
                    <a:pt x="6" y="3"/>
                  </a:lnTo>
                  <a:lnTo>
                    <a:pt x="8" y="5"/>
                  </a:lnTo>
                  <a:lnTo>
                    <a:pt x="10" y="7"/>
                  </a:lnTo>
                  <a:lnTo>
                    <a:pt x="9" y="9"/>
                  </a:lnTo>
                  <a:lnTo>
                    <a:pt x="5" y="8"/>
                  </a:lnTo>
                  <a:lnTo>
                    <a:pt x="0" y="4"/>
                  </a:lnTo>
                  <a:lnTo>
                    <a:pt x="0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2" name="Freeform 140"/>
            <p:cNvSpPr>
              <a:spLocks/>
            </p:cNvSpPr>
            <p:nvPr/>
          </p:nvSpPr>
          <p:spPr bwMode="auto">
            <a:xfrm>
              <a:off x="6035825" y="1948591"/>
              <a:ext cx="8124" cy="16699"/>
            </a:xfrm>
            <a:custGeom>
              <a:avLst/>
              <a:gdLst>
                <a:gd name="T0" fmla="*/ 2 w 6"/>
                <a:gd name="T1" fmla="*/ 1 h 17"/>
                <a:gd name="T2" fmla="*/ 0 w 6"/>
                <a:gd name="T3" fmla="*/ 0 h 17"/>
                <a:gd name="T4" fmla="*/ 1 w 6"/>
                <a:gd name="T5" fmla="*/ 2 h 17"/>
                <a:gd name="T6" fmla="*/ 1 w 6"/>
                <a:gd name="T7" fmla="*/ 2 h 17"/>
                <a:gd name="T8" fmla="*/ 2 w 6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7"/>
                <a:gd name="T17" fmla="*/ 6 w 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7">
                  <a:moveTo>
                    <a:pt x="6" y="3"/>
                  </a:moveTo>
                  <a:lnTo>
                    <a:pt x="0" y="0"/>
                  </a:lnTo>
                  <a:lnTo>
                    <a:pt x="1" y="17"/>
                  </a:lnTo>
                  <a:lnTo>
                    <a:pt x="5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3" name="Freeform 141"/>
            <p:cNvSpPr>
              <a:spLocks/>
            </p:cNvSpPr>
            <p:nvPr/>
          </p:nvSpPr>
          <p:spPr bwMode="auto">
            <a:xfrm>
              <a:off x="6035825" y="1948591"/>
              <a:ext cx="8124" cy="16699"/>
            </a:xfrm>
            <a:custGeom>
              <a:avLst/>
              <a:gdLst>
                <a:gd name="T0" fmla="*/ 2 w 6"/>
                <a:gd name="T1" fmla="*/ 1 h 17"/>
                <a:gd name="T2" fmla="*/ 0 w 6"/>
                <a:gd name="T3" fmla="*/ 0 h 17"/>
                <a:gd name="T4" fmla="*/ 1 w 6"/>
                <a:gd name="T5" fmla="*/ 2 h 17"/>
                <a:gd name="T6" fmla="*/ 1 w 6"/>
                <a:gd name="T7" fmla="*/ 2 h 17"/>
                <a:gd name="T8" fmla="*/ 2 w 6"/>
                <a:gd name="T9" fmla="*/ 1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7"/>
                <a:gd name="T17" fmla="*/ 6 w 6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7">
                  <a:moveTo>
                    <a:pt x="6" y="3"/>
                  </a:moveTo>
                  <a:lnTo>
                    <a:pt x="0" y="0"/>
                  </a:lnTo>
                  <a:lnTo>
                    <a:pt x="1" y="17"/>
                  </a:lnTo>
                  <a:lnTo>
                    <a:pt x="5" y="15"/>
                  </a:lnTo>
                  <a:lnTo>
                    <a:pt x="6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4" name="Freeform 142"/>
            <p:cNvSpPr>
              <a:spLocks/>
            </p:cNvSpPr>
            <p:nvPr/>
          </p:nvSpPr>
          <p:spPr bwMode="auto">
            <a:xfrm>
              <a:off x="6291733" y="4162037"/>
              <a:ext cx="36558" cy="24119"/>
            </a:xfrm>
            <a:custGeom>
              <a:avLst/>
              <a:gdLst>
                <a:gd name="T0" fmla="*/ 1 w 30"/>
                <a:gd name="T1" fmla="*/ 1 h 25"/>
                <a:gd name="T2" fmla="*/ 0 w 30"/>
                <a:gd name="T3" fmla="*/ 1 h 25"/>
                <a:gd name="T4" fmla="*/ 4 w 30"/>
                <a:gd name="T5" fmla="*/ 0 h 25"/>
                <a:gd name="T6" fmla="*/ 5 w 30"/>
                <a:gd name="T7" fmla="*/ 1 h 25"/>
                <a:gd name="T8" fmla="*/ 6 w 30"/>
                <a:gd name="T9" fmla="*/ 1 h 25"/>
                <a:gd name="T10" fmla="*/ 5 w 30"/>
                <a:gd name="T11" fmla="*/ 3 h 25"/>
                <a:gd name="T12" fmla="*/ 4 w 30"/>
                <a:gd name="T13" fmla="*/ 3 h 25"/>
                <a:gd name="T14" fmla="*/ 2 w 30"/>
                <a:gd name="T15" fmla="*/ 2 h 25"/>
                <a:gd name="T16" fmla="*/ 1 w 30"/>
                <a:gd name="T17" fmla="*/ 2 h 25"/>
                <a:gd name="T18" fmla="*/ 1 w 30"/>
                <a:gd name="T19" fmla="*/ 1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5"/>
                <a:gd name="T32" fmla="*/ 30 w 30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5">
                  <a:moveTo>
                    <a:pt x="3" y="4"/>
                  </a:moveTo>
                  <a:lnTo>
                    <a:pt x="0" y="3"/>
                  </a:lnTo>
                  <a:lnTo>
                    <a:pt x="18" y="0"/>
                  </a:lnTo>
                  <a:lnTo>
                    <a:pt x="25" y="4"/>
                  </a:lnTo>
                  <a:lnTo>
                    <a:pt x="30" y="11"/>
                  </a:lnTo>
                  <a:lnTo>
                    <a:pt x="29" y="24"/>
                  </a:lnTo>
                  <a:lnTo>
                    <a:pt x="21" y="25"/>
                  </a:lnTo>
                  <a:lnTo>
                    <a:pt x="14" y="21"/>
                  </a:lnTo>
                  <a:lnTo>
                    <a:pt x="6" y="1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5" name="Freeform 143"/>
            <p:cNvSpPr>
              <a:spLocks/>
            </p:cNvSpPr>
            <p:nvPr/>
          </p:nvSpPr>
          <p:spPr bwMode="auto">
            <a:xfrm>
              <a:off x="6291733" y="4162037"/>
              <a:ext cx="36558" cy="24119"/>
            </a:xfrm>
            <a:custGeom>
              <a:avLst/>
              <a:gdLst>
                <a:gd name="T0" fmla="*/ 1 w 30"/>
                <a:gd name="T1" fmla="*/ 1 h 25"/>
                <a:gd name="T2" fmla="*/ 0 w 30"/>
                <a:gd name="T3" fmla="*/ 1 h 25"/>
                <a:gd name="T4" fmla="*/ 4 w 30"/>
                <a:gd name="T5" fmla="*/ 0 h 25"/>
                <a:gd name="T6" fmla="*/ 5 w 30"/>
                <a:gd name="T7" fmla="*/ 1 h 25"/>
                <a:gd name="T8" fmla="*/ 6 w 30"/>
                <a:gd name="T9" fmla="*/ 1 h 25"/>
                <a:gd name="T10" fmla="*/ 5 w 30"/>
                <a:gd name="T11" fmla="*/ 3 h 25"/>
                <a:gd name="T12" fmla="*/ 4 w 30"/>
                <a:gd name="T13" fmla="*/ 3 h 25"/>
                <a:gd name="T14" fmla="*/ 2 w 30"/>
                <a:gd name="T15" fmla="*/ 2 h 25"/>
                <a:gd name="T16" fmla="*/ 1 w 30"/>
                <a:gd name="T17" fmla="*/ 2 h 25"/>
                <a:gd name="T18" fmla="*/ 1 w 30"/>
                <a:gd name="T19" fmla="*/ 1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25"/>
                <a:gd name="T32" fmla="*/ 30 w 30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25">
                  <a:moveTo>
                    <a:pt x="3" y="4"/>
                  </a:moveTo>
                  <a:lnTo>
                    <a:pt x="0" y="3"/>
                  </a:lnTo>
                  <a:lnTo>
                    <a:pt x="18" y="0"/>
                  </a:lnTo>
                  <a:lnTo>
                    <a:pt x="25" y="4"/>
                  </a:lnTo>
                  <a:lnTo>
                    <a:pt x="30" y="11"/>
                  </a:lnTo>
                  <a:lnTo>
                    <a:pt x="29" y="24"/>
                  </a:lnTo>
                  <a:lnTo>
                    <a:pt x="21" y="25"/>
                  </a:lnTo>
                  <a:lnTo>
                    <a:pt x="14" y="21"/>
                  </a:lnTo>
                  <a:lnTo>
                    <a:pt x="6" y="12"/>
                  </a:lnTo>
                  <a:lnTo>
                    <a:pt x="3" y="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6" name="Freeform 144"/>
            <p:cNvSpPr>
              <a:spLocks/>
            </p:cNvSpPr>
            <p:nvPr/>
          </p:nvSpPr>
          <p:spPr bwMode="auto">
            <a:xfrm>
              <a:off x="3728589" y="2601678"/>
              <a:ext cx="422452" cy="512080"/>
            </a:xfrm>
            <a:custGeom>
              <a:avLst/>
              <a:gdLst>
                <a:gd name="T0" fmla="*/ 10 w 352"/>
                <a:gd name="T1" fmla="*/ 59 h 515"/>
                <a:gd name="T2" fmla="*/ 11 w 352"/>
                <a:gd name="T3" fmla="*/ 53 h 515"/>
                <a:gd name="T4" fmla="*/ 9 w 352"/>
                <a:gd name="T5" fmla="*/ 51 h 515"/>
                <a:gd name="T6" fmla="*/ 9 w 352"/>
                <a:gd name="T7" fmla="*/ 50 h 515"/>
                <a:gd name="T8" fmla="*/ 9 w 352"/>
                <a:gd name="T9" fmla="*/ 50 h 515"/>
                <a:gd name="T10" fmla="*/ 9 w 352"/>
                <a:gd name="T11" fmla="*/ 49 h 515"/>
                <a:gd name="T12" fmla="*/ 8 w 352"/>
                <a:gd name="T13" fmla="*/ 49 h 515"/>
                <a:gd name="T14" fmla="*/ 5 w 352"/>
                <a:gd name="T15" fmla="*/ 48 h 515"/>
                <a:gd name="T16" fmla="*/ 2 w 352"/>
                <a:gd name="T17" fmla="*/ 46 h 515"/>
                <a:gd name="T18" fmla="*/ 1 w 352"/>
                <a:gd name="T19" fmla="*/ 46 h 515"/>
                <a:gd name="T20" fmla="*/ 0 w 352"/>
                <a:gd name="T21" fmla="*/ 45 h 515"/>
                <a:gd name="T22" fmla="*/ 1 w 352"/>
                <a:gd name="T23" fmla="*/ 43 h 515"/>
                <a:gd name="T24" fmla="*/ 3 w 352"/>
                <a:gd name="T25" fmla="*/ 39 h 515"/>
                <a:gd name="T26" fmla="*/ 8 w 352"/>
                <a:gd name="T27" fmla="*/ 35 h 515"/>
                <a:gd name="T28" fmla="*/ 17 w 352"/>
                <a:gd name="T29" fmla="*/ 33 h 515"/>
                <a:gd name="T30" fmla="*/ 18 w 352"/>
                <a:gd name="T31" fmla="*/ 34 h 515"/>
                <a:gd name="T32" fmla="*/ 19 w 352"/>
                <a:gd name="T33" fmla="*/ 34 h 515"/>
                <a:gd name="T34" fmla="*/ 22 w 352"/>
                <a:gd name="T35" fmla="*/ 35 h 515"/>
                <a:gd name="T36" fmla="*/ 30 w 352"/>
                <a:gd name="T37" fmla="*/ 25 h 515"/>
                <a:gd name="T38" fmla="*/ 33 w 352"/>
                <a:gd name="T39" fmla="*/ 23 h 515"/>
                <a:gd name="T40" fmla="*/ 41 w 352"/>
                <a:gd name="T41" fmla="*/ 9 h 515"/>
                <a:gd name="T42" fmla="*/ 44 w 352"/>
                <a:gd name="T43" fmla="*/ 8 h 515"/>
                <a:gd name="T44" fmla="*/ 46 w 352"/>
                <a:gd name="T45" fmla="*/ 3 h 515"/>
                <a:gd name="T46" fmla="*/ 45 w 352"/>
                <a:gd name="T47" fmla="*/ 2 h 515"/>
                <a:gd name="T48" fmla="*/ 44 w 352"/>
                <a:gd name="T49" fmla="*/ 2 h 515"/>
                <a:gd name="T50" fmla="*/ 46 w 352"/>
                <a:gd name="T51" fmla="*/ 1 h 515"/>
                <a:gd name="T52" fmla="*/ 48 w 352"/>
                <a:gd name="T53" fmla="*/ 1 h 515"/>
                <a:gd name="T54" fmla="*/ 50 w 352"/>
                <a:gd name="T55" fmla="*/ 5 h 515"/>
                <a:gd name="T56" fmla="*/ 53 w 352"/>
                <a:gd name="T57" fmla="*/ 14 h 515"/>
                <a:gd name="T58" fmla="*/ 53 w 352"/>
                <a:gd name="T59" fmla="*/ 16 h 515"/>
                <a:gd name="T60" fmla="*/ 47 w 352"/>
                <a:gd name="T61" fmla="*/ 16 h 515"/>
                <a:gd name="T62" fmla="*/ 44 w 352"/>
                <a:gd name="T63" fmla="*/ 16 h 515"/>
                <a:gd name="T64" fmla="*/ 44 w 352"/>
                <a:gd name="T65" fmla="*/ 18 h 515"/>
                <a:gd name="T66" fmla="*/ 45 w 352"/>
                <a:gd name="T67" fmla="*/ 21 h 515"/>
                <a:gd name="T68" fmla="*/ 49 w 352"/>
                <a:gd name="T69" fmla="*/ 22 h 515"/>
                <a:gd name="T70" fmla="*/ 53 w 352"/>
                <a:gd name="T71" fmla="*/ 29 h 515"/>
                <a:gd name="T72" fmla="*/ 47 w 352"/>
                <a:gd name="T73" fmla="*/ 38 h 515"/>
                <a:gd name="T74" fmla="*/ 47 w 352"/>
                <a:gd name="T75" fmla="*/ 41 h 515"/>
                <a:gd name="T76" fmla="*/ 55 w 352"/>
                <a:gd name="T77" fmla="*/ 53 h 515"/>
                <a:gd name="T78" fmla="*/ 59 w 352"/>
                <a:gd name="T79" fmla="*/ 55 h 515"/>
                <a:gd name="T80" fmla="*/ 59 w 352"/>
                <a:gd name="T81" fmla="*/ 61 h 515"/>
                <a:gd name="T82" fmla="*/ 58 w 352"/>
                <a:gd name="T83" fmla="*/ 62 h 515"/>
                <a:gd name="T84" fmla="*/ 53 w 352"/>
                <a:gd name="T85" fmla="*/ 59 h 515"/>
                <a:gd name="T86" fmla="*/ 48 w 352"/>
                <a:gd name="T87" fmla="*/ 59 h 5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515"/>
                <a:gd name="T134" fmla="*/ 352 w 352"/>
                <a:gd name="T135" fmla="*/ 515 h 5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515">
                  <a:moveTo>
                    <a:pt x="222" y="490"/>
                  </a:moveTo>
                  <a:lnTo>
                    <a:pt x="59" y="491"/>
                  </a:lnTo>
                  <a:lnTo>
                    <a:pt x="67" y="443"/>
                  </a:lnTo>
                  <a:lnTo>
                    <a:pt x="68" y="441"/>
                  </a:lnTo>
                  <a:lnTo>
                    <a:pt x="58" y="430"/>
                  </a:lnTo>
                  <a:lnTo>
                    <a:pt x="57" y="427"/>
                  </a:lnTo>
                  <a:lnTo>
                    <a:pt x="53" y="422"/>
                  </a:lnTo>
                  <a:lnTo>
                    <a:pt x="53" y="418"/>
                  </a:lnTo>
                  <a:lnTo>
                    <a:pt x="56" y="417"/>
                  </a:lnTo>
                  <a:lnTo>
                    <a:pt x="57" y="413"/>
                  </a:lnTo>
                  <a:lnTo>
                    <a:pt x="57" y="407"/>
                  </a:lnTo>
                  <a:lnTo>
                    <a:pt x="54" y="405"/>
                  </a:lnTo>
                  <a:lnTo>
                    <a:pt x="48" y="405"/>
                  </a:lnTo>
                  <a:lnTo>
                    <a:pt x="47" y="408"/>
                  </a:lnTo>
                  <a:lnTo>
                    <a:pt x="43" y="409"/>
                  </a:lnTo>
                  <a:lnTo>
                    <a:pt x="27" y="402"/>
                  </a:lnTo>
                  <a:lnTo>
                    <a:pt x="18" y="382"/>
                  </a:lnTo>
                  <a:lnTo>
                    <a:pt x="10" y="382"/>
                  </a:lnTo>
                  <a:lnTo>
                    <a:pt x="6" y="383"/>
                  </a:lnTo>
                  <a:lnTo>
                    <a:pt x="2" y="381"/>
                  </a:lnTo>
                  <a:lnTo>
                    <a:pt x="3" y="376"/>
                  </a:lnTo>
                  <a:lnTo>
                    <a:pt x="0" y="374"/>
                  </a:lnTo>
                  <a:lnTo>
                    <a:pt x="1" y="368"/>
                  </a:lnTo>
                  <a:lnTo>
                    <a:pt x="6" y="363"/>
                  </a:lnTo>
                  <a:lnTo>
                    <a:pt x="15" y="347"/>
                  </a:lnTo>
                  <a:lnTo>
                    <a:pt x="20" y="322"/>
                  </a:lnTo>
                  <a:lnTo>
                    <a:pt x="39" y="294"/>
                  </a:lnTo>
                  <a:lnTo>
                    <a:pt x="48" y="289"/>
                  </a:lnTo>
                  <a:lnTo>
                    <a:pt x="52" y="276"/>
                  </a:lnTo>
                  <a:lnTo>
                    <a:pt x="97" y="273"/>
                  </a:lnTo>
                  <a:lnTo>
                    <a:pt x="106" y="281"/>
                  </a:lnTo>
                  <a:lnTo>
                    <a:pt x="108" y="284"/>
                  </a:lnTo>
                  <a:lnTo>
                    <a:pt x="108" y="286"/>
                  </a:lnTo>
                  <a:lnTo>
                    <a:pt x="112" y="287"/>
                  </a:lnTo>
                  <a:lnTo>
                    <a:pt x="120" y="294"/>
                  </a:lnTo>
                  <a:lnTo>
                    <a:pt x="131" y="295"/>
                  </a:lnTo>
                  <a:lnTo>
                    <a:pt x="137" y="292"/>
                  </a:lnTo>
                  <a:lnTo>
                    <a:pt x="176" y="203"/>
                  </a:lnTo>
                  <a:lnTo>
                    <a:pt x="185" y="192"/>
                  </a:lnTo>
                  <a:lnTo>
                    <a:pt x="197" y="186"/>
                  </a:lnTo>
                  <a:lnTo>
                    <a:pt x="227" y="91"/>
                  </a:lnTo>
                  <a:lnTo>
                    <a:pt x="240" y="73"/>
                  </a:lnTo>
                  <a:lnTo>
                    <a:pt x="257" y="65"/>
                  </a:lnTo>
                  <a:lnTo>
                    <a:pt x="260" y="63"/>
                  </a:lnTo>
                  <a:lnTo>
                    <a:pt x="276" y="53"/>
                  </a:lnTo>
                  <a:lnTo>
                    <a:pt x="274" y="27"/>
                  </a:lnTo>
                  <a:lnTo>
                    <a:pt x="272" y="22"/>
                  </a:lnTo>
                  <a:lnTo>
                    <a:pt x="269" y="19"/>
                  </a:lnTo>
                  <a:lnTo>
                    <a:pt x="260" y="17"/>
                  </a:lnTo>
                  <a:lnTo>
                    <a:pt x="260" y="14"/>
                  </a:lnTo>
                  <a:lnTo>
                    <a:pt x="263" y="14"/>
                  </a:lnTo>
                  <a:lnTo>
                    <a:pt x="270" y="4"/>
                  </a:lnTo>
                  <a:lnTo>
                    <a:pt x="283" y="0"/>
                  </a:lnTo>
                  <a:lnTo>
                    <a:pt x="285" y="5"/>
                  </a:lnTo>
                  <a:lnTo>
                    <a:pt x="290" y="28"/>
                  </a:lnTo>
                  <a:lnTo>
                    <a:pt x="297" y="42"/>
                  </a:lnTo>
                  <a:lnTo>
                    <a:pt x="293" y="84"/>
                  </a:lnTo>
                  <a:lnTo>
                    <a:pt x="313" y="118"/>
                  </a:lnTo>
                  <a:lnTo>
                    <a:pt x="316" y="130"/>
                  </a:lnTo>
                  <a:lnTo>
                    <a:pt x="315" y="133"/>
                  </a:lnTo>
                  <a:lnTo>
                    <a:pt x="311" y="135"/>
                  </a:lnTo>
                  <a:lnTo>
                    <a:pt x="282" y="129"/>
                  </a:lnTo>
                  <a:lnTo>
                    <a:pt x="266" y="132"/>
                  </a:lnTo>
                  <a:lnTo>
                    <a:pt x="263" y="134"/>
                  </a:lnTo>
                  <a:lnTo>
                    <a:pt x="260" y="139"/>
                  </a:lnTo>
                  <a:lnTo>
                    <a:pt x="259" y="151"/>
                  </a:lnTo>
                  <a:lnTo>
                    <a:pt x="260" y="160"/>
                  </a:lnTo>
                  <a:lnTo>
                    <a:pt x="269" y="173"/>
                  </a:lnTo>
                  <a:lnTo>
                    <a:pt x="276" y="178"/>
                  </a:lnTo>
                  <a:lnTo>
                    <a:pt x="293" y="183"/>
                  </a:lnTo>
                  <a:lnTo>
                    <a:pt x="296" y="185"/>
                  </a:lnTo>
                  <a:lnTo>
                    <a:pt x="316" y="248"/>
                  </a:lnTo>
                  <a:lnTo>
                    <a:pt x="318" y="249"/>
                  </a:lnTo>
                  <a:lnTo>
                    <a:pt x="279" y="318"/>
                  </a:lnTo>
                  <a:lnTo>
                    <a:pt x="278" y="329"/>
                  </a:lnTo>
                  <a:lnTo>
                    <a:pt x="281" y="341"/>
                  </a:lnTo>
                  <a:lnTo>
                    <a:pt x="281" y="369"/>
                  </a:lnTo>
                  <a:lnTo>
                    <a:pt x="326" y="443"/>
                  </a:lnTo>
                  <a:lnTo>
                    <a:pt x="346" y="460"/>
                  </a:lnTo>
                  <a:lnTo>
                    <a:pt x="352" y="459"/>
                  </a:lnTo>
                  <a:lnTo>
                    <a:pt x="350" y="468"/>
                  </a:lnTo>
                  <a:lnTo>
                    <a:pt x="352" y="504"/>
                  </a:lnTo>
                  <a:lnTo>
                    <a:pt x="349" y="512"/>
                  </a:lnTo>
                  <a:lnTo>
                    <a:pt x="346" y="515"/>
                  </a:lnTo>
                  <a:lnTo>
                    <a:pt x="326" y="500"/>
                  </a:lnTo>
                  <a:lnTo>
                    <a:pt x="318" y="500"/>
                  </a:lnTo>
                  <a:lnTo>
                    <a:pt x="294" y="495"/>
                  </a:lnTo>
                  <a:lnTo>
                    <a:pt x="285" y="490"/>
                  </a:lnTo>
                  <a:lnTo>
                    <a:pt x="222" y="49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7" name="Freeform 145"/>
            <p:cNvSpPr>
              <a:spLocks/>
            </p:cNvSpPr>
            <p:nvPr/>
          </p:nvSpPr>
          <p:spPr bwMode="auto">
            <a:xfrm>
              <a:off x="3728589" y="2601678"/>
              <a:ext cx="422452" cy="512080"/>
            </a:xfrm>
            <a:custGeom>
              <a:avLst/>
              <a:gdLst>
                <a:gd name="T0" fmla="*/ 10 w 352"/>
                <a:gd name="T1" fmla="*/ 59 h 515"/>
                <a:gd name="T2" fmla="*/ 11 w 352"/>
                <a:gd name="T3" fmla="*/ 53 h 515"/>
                <a:gd name="T4" fmla="*/ 9 w 352"/>
                <a:gd name="T5" fmla="*/ 51 h 515"/>
                <a:gd name="T6" fmla="*/ 9 w 352"/>
                <a:gd name="T7" fmla="*/ 50 h 515"/>
                <a:gd name="T8" fmla="*/ 9 w 352"/>
                <a:gd name="T9" fmla="*/ 50 h 515"/>
                <a:gd name="T10" fmla="*/ 9 w 352"/>
                <a:gd name="T11" fmla="*/ 49 h 515"/>
                <a:gd name="T12" fmla="*/ 8 w 352"/>
                <a:gd name="T13" fmla="*/ 49 h 515"/>
                <a:gd name="T14" fmla="*/ 5 w 352"/>
                <a:gd name="T15" fmla="*/ 48 h 515"/>
                <a:gd name="T16" fmla="*/ 2 w 352"/>
                <a:gd name="T17" fmla="*/ 46 h 515"/>
                <a:gd name="T18" fmla="*/ 1 w 352"/>
                <a:gd name="T19" fmla="*/ 46 h 515"/>
                <a:gd name="T20" fmla="*/ 0 w 352"/>
                <a:gd name="T21" fmla="*/ 45 h 515"/>
                <a:gd name="T22" fmla="*/ 1 w 352"/>
                <a:gd name="T23" fmla="*/ 43 h 515"/>
                <a:gd name="T24" fmla="*/ 3 w 352"/>
                <a:gd name="T25" fmla="*/ 39 h 515"/>
                <a:gd name="T26" fmla="*/ 8 w 352"/>
                <a:gd name="T27" fmla="*/ 35 h 515"/>
                <a:gd name="T28" fmla="*/ 17 w 352"/>
                <a:gd name="T29" fmla="*/ 33 h 515"/>
                <a:gd name="T30" fmla="*/ 18 w 352"/>
                <a:gd name="T31" fmla="*/ 34 h 515"/>
                <a:gd name="T32" fmla="*/ 19 w 352"/>
                <a:gd name="T33" fmla="*/ 34 h 515"/>
                <a:gd name="T34" fmla="*/ 22 w 352"/>
                <a:gd name="T35" fmla="*/ 35 h 515"/>
                <a:gd name="T36" fmla="*/ 30 w 352"/>
                <a:gd name="T37" fmla="*/ 25 h 515"/>
                <a:gd name="T38" fmla="*/ 33 w 352"/>
                <a:gd name="T39" fmla="*/ 23 h 515"/>
                <a:gd name="T40" fmla="*/ 41 w 352"/>
                <a:gd name="T41" fmla="*/ 9 h 515"/>
                <a:gd name="T42" fmla="*/ 44 w 352"/>
                <a:gd name="T43" fmla="*/ 8 h 515"/>
                <a:gd name="T44" fmla="*/ 46 w 352"/>
                <a:gd name="T45" fmla="*/ 3 h 515"/>
                <a:gd name="T46" fmla="*/ 45 w 352"/>
                <a:gd name="T47" fmla="*/ 2 h 515"/>
                <a:gd name="T48" fmla="*/ 44 w 352"/>
                <a:gd name="T49" fmla="*/ 2 h 515"/>
                <a:gd name="T50" fmla="*/ 46 w 352"/>
                <a:gd name="T51" fmla="*/ 1 h 515"/>
                <a:gd name="T52" fmla="*/ 48 w 352"/>
                <a:gd name="T53" fmla="*/ 1 h 515"/>
                <a:gd name="T54" fmla="*/ 50 w 352"/>
                <a:gd name="T55" fmla="*/ 5 h 515"/>
                <a:gd name="T56" fmla="*/ 53 w 352"/>
                <a:gd name="T57" fmla="*/ 14 h 515"/>
                <a:gd name="T58" fmla="*/ 53 w 352"/>
                <a:gd name="T59" fmla="*/ 16 h 515"/>
                <a:gd name="T60" fmla="*/ 47 w 352"/>
                <a:gd name="T61" fmla="*/ 16 h 515"/>
                <a:gd name="T62" fmla="*/ 44 w 352"/>
                <a:gd name="T63" fmla="*/ 16 h 515"/>
                <a:gd name="T64" fmla="*/ 44 w 352"/>
                <a:gd name="T65" fmla="*/ 18 h 515"/>
                <a:gd name="T66" fmla="*/ 45 w 352"/>
                <a:gd name="T67" fmla="*/ 21 h 515"/>
                <a:gd name="T68" fmla="*/ 49 w 352"/>
                <a:gd name="T69" fmla="*/ 22 h 515"/>
                <a:gd name="T70" fmla="*/ 53 w 352"/>
                <a:gd name="T71" fmla="*/ 29 h 515"/>
                <a:gd name="T72" fmla="*/ 47 w 352"/>
                <a:gd name="T73" fmla="*/ 38 h 515"/>
                <a:gd name="T74" fmla="*/ 47 w 352"/>
                <a:gd name="T75" fmla="*/ 41 h 515"/>
                <a:gd name="T76" fmla="*/ 55 w 352"/>
                <a:gd name="T77" fmla="*/ 53 h 515"/>
                <a:gd name="T78" fmla="*/ 59 w 352"/>
                <a:gd name="T79" fmla="*/ 55 h 515"/>
                <a:gd name="T80" fmla="*/ 59 w 352"/>
                <a:gd name="T81" fmla="*/ 61 h 515"/>
                <a:gd name="T82" fmla="*/ 58 w 352"/>
                <a:gd name="T83" fmla="*/ 62 h 515"/>
                <a:gd name="T84" fmla="*/ 53 w 352"/>
                <a:gd name="T85" fmla="*/ 59 h 515"/>
                <a:gd name="T86" fmla="*/ 48 w 352"/>
                <a:gd name="T87" fmla="*/ 59 h 5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515"/>
                <a:gd name="T134" fmla="*/ 352 w 352"/>
                <a:gd name="T135" fmla="*/ 515 h 5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515">
                  <a:moveTo>
                    <a:pt x="222" y="490"/>
                  </a:moveTo>
                  <a:lnTo>
                    <a:pt x="59" y="491"/>
                  </a:lnTo>
                  <a:lnTo>
                    <a:pt x="67" y="443"/>
                  </a:lnTo>
                  <a:lnTo>
                    <a:pt x="68" y="441"/>
                  </a:lnTo>
                  <a:lnTo>
                    <a:pt x="58" y="430"/>
                  </a:lnTo>
                  <a:lnTo>
                    <a:pt x="57" y="427"/>
                  </a:lnTo>
                  <a:lnTo>
                    <a:pt x="53" y="422"/>
                  </a:lnTo>
                  <a:lnTo>
                    <a:pt x="53" y="418"/>
                  </a:lnTo>
                  <a:lnTo>
                    <a:pt x="56" y="417"/>
                  </a:lnTo>
                  <a:lnTo>
                    <a:pt x="57" y="413"/>
                  </a:lnTo>
                  <a:lnTo>
                    <a:pt x="57" y="407"/>
                  </a:lnTo>
                  <a:lnTo>
                    <a:pt x="54" y="405"/>
                  </a:lnTo>
                  <a:lnTo>
                    <a:pt x="48" y="405"/>
                  </a:lnTo>
                  <a:lnTo>
                    <a:pt x="47" y="408"/>
                  </a:lnTo>
                  <a:lnTo>
                    <a:pt x="43" y="409"/>
                  </a:lnTo>
                  <a:lnTo>
                    <a:pt x="27" y="402"/>
                  </a:lnTo>
                  <a:lnTo>
                    <a:pt x="18" y="382"/>
                  </a:lnTo>
                  <a:lnTo>
                    <a:pt x="10" y="382"/>
                  </a:lnTo>
                  <a:lnTo>
                    <a:pt x="6" y="383"/>
                  </a:lnTo>
                  <a:lnTo>
                    <a:pt x="2" y="381"/>
                  </a:lnTo>
                  <a:lnTo>
                    <a:pt x="3" y="376"/>
                  </a:lnTo>
                  <a:lnTo>
                    <a:pt x="0" y="374"/>
                  </a:lnTo>
                  <a:lnTo>
                    <a:pt x="1" y="368"/>
                  </a:lnTo>
                  <a:lnTo>
                    <a:pt x="6" y="363"/>
                  </a:lnTo>
                  <a:lnTo>
                    <a:pt x="15" y="347"/>
                  </a:lnTo>
                  <a:lnTo>
                    <a:pt x="20" y="322"/>
                  </a:lnTo>
                  <a:lnTo>
                    <a:pt x="39" y="294"/>
                  </a:lnTo>
                  <a:lnTo>
                    <a:pt x="48" y="289"/>
                  </a:lnTo>
                  <a:lnTo>
                    <a:pt x="52" y="276"/>
                  </a:lnTo>
                  <a:lnTo>
                    <a:pt x="97" y="273"/>
                  </a:lnTo>
                  <a:lnTo>
                    <a:pt x="106" y="281"/>
                  </a:lnTo>
                  <a:lnTo>
                    <a:pt x="108" y="284"/>
                  </a:lnTo>
                  <a:lnTo>
                    <a:pt x="108" y="286"/>
                  </a:lnTo>
                  <a:lnTo>
                    <a:pt x="112" y="287"/>
                  </a:lnTo>
                  <a:lnTo>
                    <a:pt x="120" y="294"/>
                  </a:lnTo>
                  <a:lnTo>
                    <a:pt x="131" y="295"/>
                  </a:lnTo>
                  <a:lnTo>
                    <a:pt x="137" y="292"/>
                  </a:lnTo>
                  <a:lnTo>
                    <a:pt x="176" y="203"/>
                  </a:lnTo>
                  <a:lnTo>
                    <a:pt x="185" y="192"/>
                  </a:lnTo>
                  <a:lnTo>
                    <a:pt x="197" y="186"/>
                  </a:lnTo>
                  <a:lnTo>
                    <a:pt x="227" y="91"/>
                  </a:lnTo>
                  <a:lnTo>
                    <a:pt x="240" y="73"/>
                  </a:lnTo>
                  <a:lnTo>
                    <a:pt x="257" y="65"/>
                  </a:lnTo>
                  <a:lnTo>
                    <a:pt x="260" y="63"/>
                  </a:lnTo>
                  <a:lnTo>
                    <a:pt x="276" y="53"/>
                  </a:lnTo>
                  <a:lnTo>
                    <a:pt x="274" y="27"/>
                  </a:lnTo>
                  <a:lnTo>
                    <a:pt x="272" y="22"/>
                  </a:lnTo>
                  <a:lnTo>
                    <a:pt x="269" y="19"/>
                  </a:lnTo>
                  <a:lnTo>
                    <a:pt x="260" y="17"/>
                  </a:lnTo>
                  <a:lnTo>
                    <a:pt x="260" y="14"/>
                  </a:lnTo>
                  <a:lnTo>
                    <a:pt x="263" y="14"/>
                  </a:lnTo>
                  <a:lnTo>
                    <a:pt x="270" y="4"/>
                  </a:lnTo>
                  <a:lnTo>
                    <a:pt x="283" y="0"/>
                  </a:lnTo>
                  <a:lnTo>
                    <a:pt x="285" y="5"/>
                  </a:lnTo>
                  <a:lnTo>
                    <a:pt x="290" y="28"/>
                  </a:lnTo>
                  <a:lnTo>
                    <a:pt x="297" y="42"/>
                  </a:lnTo>
                  <a:lnTo>
                    <a:pt x="293" y="84"/>
                  </a:lnTo>
                  <a:lnTo>
                    <a:pt x="313" y="118"/>
                  </a:lnTo>
                  <a:lnTo>
                    <a:pt x="316" y="130"/>
                  </a:lnTo>
                  <a:lnTo>
                    <a:pt x="315" y="133"/>
                  </a:lnTo>
                  <a:lnTo>
                    <a:pt x="311" y="135"/>
                  </a:lnTo>
                  <a:lnTo>
                    <a:pt x="282" y="129"/>
                  </a:lnTo>
                  <a:lnTo>
                    <a:pt x="266" y="132"/>
                  </a:lnTo>
                  <a:lnTo>
                    <a:pt x="263" y="134"/>
                  </a:lnTo>
                  <a:lnTo>
                    <a:pt x="260" y="139"/>
                  </a:lnTo>
                  <a:lnTo>
                    <a:pt x="259" y="151"/>
                  </a:lnTo>
                  <a:lnTo>
                    <a:pt x="260" y="160"/>
                  </a:lnTo>
                  <a:lnTo>
                    <a:pt x="269" y="173"/>
                  </a:lnTo>
                  <a:lnTo>
                    <a:pt x="276" y="178"/>
                  </a:lnTo>
                  <a:lnTo>
                    <a:pt x="293" y="183"/>
                  </a:lnTo>
                  <a:lnTo>
                    <a:pt x="296" y="185"/>
                  </a:lnTo>
                  <a:lnTo>
                    <a:pt x="316" y="248"/>
                  </a:lnTo>
                  <a:lnTo>
                    <a:pt x="318" y="249"/>
                  </a:lnTo>
                  <a:lnTo>
                    <a:pt x="279" y="318"/>
                  </a:lnTo>
                  <a:lnTo>
                    <a:pt x="278" y="329"/>
                  </a:lnTo>
                  <a:lnTo>
                    <a:pt x="281" y="341"/>
                  </a:lnTo>
                  <a:lnTo>
                    <a:pt x="281" y="369"/>
                  </a:lnTo>
                  <a:lnTo>
                    <a:pt x="326" y="443"/>
                  </a:lnTo>
                  <a:lnTo>
                    <a:pt x="346" y="460"/>
                  </a:lnTo>
                  <a:lnTo>
                    <a:pt x="352" y="459"/>
                  </a:lnTo>
                  <a:lnTo>
                    <a:pt x="350" y="468"/>
                  </a:lnTo>
                  <a:lnTo>
                    <a:pt x="352" y="504"/>
                  </a:lnTo>
                  <a:lnTo>
                    <a:pt x="349" y="512"/>
                  </a:lnTo>
                  <a:lnTo>
                    <a:pt x="346" y="515"/>
                  </a:lnTo>
                  <a:lnTo>
                    <a:pt x="326" y="500"/>
                  </a:lnTo>
                  <a:lnTo>
                    <a:pt x="318" y="500"/>
                  </a:lnTo>
                  <a:lnTo>
                    <a:pt x="294" y="495"/>
                  </a:lnTo>
                  <a:lnTo>
                    <a:pt x="285" y="490"/>
                  </a:lnTo>
                  <a:lnTo>
                    <a:pt x="222" y="49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8" name="Freeform 146"/>
            <p:cNvSpPr>
              <a:spLocks/>
            </p:cNvSpPr>
            <p:nvPr/>
          </p:nvSpPr>
          <p:spPr bwMode="auto">
            <a:xfrm>
              <a:off x="5182798" y="1579374"/>
              <a:ext cx="231536" cy="222644"/>
            </a:xfrm>
            <a:custGeom>
              <a:avLst/>
              <a:gdLst>
                <a:gd name="T0" fmla="*/ 30 w 193"/>
                <a:gd name="T1" fmla="*/ 10 h 225"/>
                <a:gd name="T2" fmla="*/ 32 w 193"/>
                <a:gd name="T3" fmla="*/ 7 h 225"/>
                <a:gd name="T4" fmla="*/ 30 w 193"/>
                <a:gd name="T5" fmla="*/ 0 h 225"/>
                <a:gd name="T6" fmla="*/ 13 w 193"/>
                <a:gd name="T7" fmla="*/ 6 h 225"/>
                <a:gd name="T8" fmla="*/ 12 w 193"/>
                <a:gd name="T9" fmla="*/ 6 h 225"/>
                <a:gd name="T10" fmla="*/ 11 w 193"/>
                <a:gd name="T11" fmla="*/ 6 h 225"/>
                <a:gd name="T12" fmla="*/ 8 w 193"/>
                <a:gd name="T13" fmla="*/ 5 h 225"/>
                <a:gd name="T14" fmla="*/ 6 w 193"/>
                <a:gd name="T15" fmla="*/ 4 h 225"/>
                <a:gd name="T16" fmla="*/ 6 w 193"/>
                <a:gd name="T17" fmla="*/ 4 h 225"/>
                <a:gd name="T18" fmla="*/ 4 w 193"/>
                <a:gd name="T19" fmla="*/ 4 h 225"/>
                <a:gd name="T20" fmla="*/ 4 w 193"/>
                <a:gd name="T21" fmla="*/ 6 h 225"/>
                <a:gd name="T22" fmla="*/ 4 w 193"/>
                <a:gd name="T23" fmla="*/ 10 h 225"/>
                <a:gd name="T24" fmla="*/ 4 w 193"/>
                <a:gd name="T25" fmla="*/ 10 h 225"/>
                <a:gd name="T26" fmla="*/ 4 w 193"/>
                <a:gd name="T27" fmla="*/ 12 h 225"/>
                <a:gd name="T28" fmla="*/ 3 w 193"/>
                <a:gd name="T29" fmla="*/ 12 h 225"/>
                <a:gd name="T30" fmla="*/ 4 w 193"/>
                <a:gd name="T31" fmla="*/ 12 h 225"/>
                <a:gd name="T32" fmla="*/ 3 w 193"/>
                <a:gd name="T33" fmla="*/ 13 h 225"/>
                <a:gd name="T34" fmla="*/ 4 w 193"/>
                <a:gd name="T35" fmla="*/ 14 h 225"/>
                <a:gd name="T36" fmla="*/ 0 w 193"/>
                <a:gd name="T37" fmla="*/ 25 h 225"/>
                <a:gd name="T38" fmla="*/ 1 w 193"/>
                <a:gd name="T39" fmla="*/ 26 h 225"/>
                <a:gd name="T40" fmla="*/ 9 w 193"/>
                <a:gd name="T41" fmla="*/ 27 h 225"/>
                <a:gd name="T42" fmla="*/ 11 w 193"/>
                <a:gd name="T43" fmla="*/ 25 h 225"/>
                <a:gd name="T44" fmla="*/ 13 w 193"/>
                <a:gd name="T45" fmla="*/ 22 h 225"/>
                <a:gd name="T46" fmla="*/ 19 w 193"/>
                <a:gd name="T47" fmla="*/ 21 h 225"/>
                <a:gd name="T48" fmla="*/ 20 w 193"/>
                <a:gd name="T49" fmla="*/ 19 h 225"/>
                <a:gd name="T50" fmla="*/ 24 w 193"/>
                <a:gd name="T51" fmla="*/ 18 h 225"/>
                <a:gd name="T52" fmla="*/ 24 w 193"/>
                <a:gd name="T53" fmla="*/ 18 h 225"/>
                <a:gd name="T54" fmla="*/ 15 w 193"/>
                <a:gd name="T55" fmla="*/ 12 h 225"/>
                <a:gd name="T56" fmla="*/ 30 w 193"/>
                <a:gd name="T57" fmla="*/ 10 h 22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3"/>
                <a:gd name="T88" fmla="*/ 0 h 225"/>
                <a:gd name="T89" fmla="*/ 193 w 193"/>
                <a:gd name="T90" fmla="*/ 225 h 22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3" h="225">
                  <a:moveTo>
                    <a:pt x="179" y="79"/>
                  </a:moveTo>
                  <a:lnTo>
                    <a:pt x="193" y="62"/>
                  </a:lnTo>
                  <a:lnTo>
                    <a:pt x="179" y="0"/>
                  </a:lnTo>
                  <a:lnTo>
                    <a:pt x="79" y="55"/>
                  </a:lnTo>
                  <a:lnTo>
                    <a:pt x="73" y="57"/>
                  </a:lnTo>
                  <a:lnTo>
                    <a:pt x="63" y="56"/>
                  </a:lnTo>
                  <a:lnTo>
                    <a:pt x="45" y="43"/>
                  </a:lnTo>
                  <a:lnTo>
                    <a:pt x="40" y="36"/>
                  </a:lnTo>
                  <a:lnTo>
                    <a:pt x="37" y="35"/>
                  </a:lnTo>
                  <a:lnTo>
                    <a:pt x="26" y="37"/>
                  </a:lnTo>
                  <a:lnTo>
                    <a:pt x="26" y="53"/>
                  </a:lnTo>
                  <a:lnTo>
                    <a:pt x="23" y="78"/>
                  </a:lnTo>
                  <a:lnTo>
                    <a:pt x="25" y="86"/>
                  </a:lnTo>
                  <a:lnTo>
                    <a:pt x="22" y="98"/>
                  </a:lnTo>
                  <a:lnTo>
                    <a:pt x="20" y="101"/>
                  </a:lnTo>
                  <a:lnTo>
                    <a:pt x="22" y="104"/>
                  </a:lnTo>
                  <a:lnTo>
                    <a:pt x="20" y="115"/>
                  </a:lnTo>
                  <a:lnTo>
                    <a:pt x="22" y="120"/>
                  </a:lnTo>
                  <a:lnTo>
                    <a:pt x="0" y="211"/>
                  </a:lnTo>
                  <a:lnTo>
                    <a:pt x="3" y="218"/>
                  </a:lnTo>
                  <a:lnTo>
                    <a:pt x="53" y="225"/>
                  </a:lnTo>
                  <a:lnTo>
                    <a:pt x="68" y="210"/>
                  </a:lnTo>
                  <a:lnTo>
                    <a:pt x="80" y="186"/>
                  </a:lnTo>
                  <a:lnTo>
                    <a:pt x="115" y="181"/>
                  </a:lnTo>
                  <a:lnTo>
                    <a:pt x="122" y="160"/>
                  </a:lnTo>
                  <a:lnTo>
                    <a:pt x="140" y="149"/>
                  </a:lnTo>
                  <a:lnTo>
                    <a:pt x="141" y="148"/>
                  </a:lnTo>
                  <a:lnTo>
                    <a:pt x="90" y="98"/>
                  </a:lnTo>
                  <a:lnTo>
                    <a:pt x="179" y="7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39" name="Freeform 147"/>
            <p:cNvSpPr>
              <a:spLocks/>
            </p:cNvSpPr>
            <p:nvPr/>
          </p:nvSpPr>
          <p:spPr bwMode="auto">
            <a:xfrm>
              <a:off x="5182798" y="1579374"/>
              <a:ext cx="231536" cy="222644"/>
            </a:xfrm>
            <a:custGeom>
              <a:avLst/>
              <a:gdLst>
                <a:gd name="T0" fmla="*/ 30 w 193"/>
                <a:gd name="T1" fmla="*/ 10 h 225"/>
                <a:gd name="T2" fmla="*/ 32 w 193"/>
                <a:gd name="T3" fmla="*/ 7 h 225"/>
                <a:gd name="T4" fmla="*/ 30 w 193"/>
                <a:gd name="T5" fmla="*/ 0 h 225"/>
                <a:gd name="T6" fmla="*/ 13 w 193"/>
                <a:gd name="T7" fmla="*/ 6 h 225"/>
                <a:gd name="T8" fmla="*/ 12 w 193"/>
                <a:gd name="T9" fmla="*/ 6 h 225"/>
                <a:gd name="T10" fmla="*/ 11 w 193"/>
                <a:gd name="T11" fmla="*/ 6 h 225"/>
                <a:gd name="T12" fmla="*/ 8 w 193"/>
                <a:gd name="T13" fmla="*/ 5 h 225"/>
                <a:gd name="T14" fmla="*/ 6 w 193"/>
                <a:gd name="T15" fmla="*/ 4 h 225"/>
                <a:gd name="T16" fmla="*/ 6 w 193"/>
                <a:gd name="T17" fmla="*/ 4 h 225"/>
                <a:gd name="T18" fmla="*/ 4 w 193"/>
                <a:gd name="T19" fmla="*/ 4 h 225"/>
                <a:gd name="T20" fmla="*/ 4 w 193"/>
                <a:gd name="T21" fmla="*/ 6 h 225"/>
                <a:gd name="T22" fmla="*/ 4 w 193"/>
                <a:gd name="T23" fmla="*/ 6 h 225"/>
                <a:gd name="T24" fmla="*/ 4 w 193"/>
                <a:gd name="T25" fmla="*/ 10 h 225"/>
                <a:gd name="T26" fmla="*/ 4 w 193"/>
                <a:gd name="T27" fmla="*/ 10 h 225"/>
                <a:gd name="T28" fmla="*/ 4 w 193"/>
                <a:gd name="T29" fmla="*/ 12 h 225"/>
                <a:gd name="T30" fmla="*/ 3 w 193"/>
                <a:gd name="T31" fmla="*/ 12 h 225"/>
                <a:gd name="T32" fmla="*/ 4 w 193"/>
                <a:gd name="T33" fmla="*/ 12 h 225"/>
                <a:gd name="T34" fmla="*/ 3 w 193"/>
                <a:gd name="T35" fmla="*/ 13 h 225"/>
                <a:gd name="T36" fmla="*/ 4 w 193"/>
                <a:gd name="T37" fmla="*/ 14 h 225"/>
                <a:gd name="T38" fmla="*/ 0 w 193"/>
                <a:gd name="T39" fmla="*/ 25 h 225"/>
                <a:gd name="T40" fmla="*/ 0 w 193"/>
                <a:gd name="T41" fmla="*/ 25 h 225"/>
                <a:gd name="T42" fmla="*/ 1 w 193"/>
                <a:gd name="T43" fmla="*/ 26 h 225"/>
                <a:gd name="T44" fmla="*/ 9 w 193"/>
                <a:gd name="T45" fmla="*/ 27 h 225"/>
                <a:gd name="T46" fmla="*/ 11 w 193"/>
                <a:gd name="T47" fmla="*/ 25 h 225"/>
                <a:gd name="T48" fmla="*/ 13 w 193"/>
                <a:gd name="T49" fmla="*/ 22 h 225"/>
                <a:gd name="T50" fmla="*/ 19 w 193"/>
                <a:gd name="T51" fmla="*/ 21 h 225"/>
                <a:gd name="T52" fmla="*/ 20 w 193"/>
                <a:gd name="T53" fmla="*/ 19 h 225"/>
                <a:gd name="T54" fmla="*/ 24 w 193"/>
                <a:gd name="T55" fmla="*/ 18 h 225"/>
                <a:gd name="T56" fmla="*/ 24 w 193"/>
                <a:gd name="T57" fmla="*/ 18 h 225"/>
                <a:gd name="T58" fmla="*/ 15 w 193"/>
                <a:gd name="T59" fmla="*/ 12 h 225"/>
                <a:gd name="T60" fmla="*/ 30 w 193"/>
                <a:gd name="T61" fmla="*/ 10 h 22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93"/>
                <a:gd name="T94" fmla="*/ 0 h 225"/>
                <a:gd name="T95" fmla="*/ 193 w 193"/>
                <a:gd name="T96" fmla="*/ 225 h 22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93" h="225">
                  <a:moveTo>
                    <a:pt x="179" y="79"/>
                  </a:moveTo>
                  <a:lnTo>
                    <a:pt x="193" y="62"/>
                  </a:lnTo>
                  <a:lnTo>
                    <a:pt x="179" y="0"/>
                  </a:lnTo>
                  <a:lnTo>
                    <a:pt x="79" y="55"/>
                  </a:lnTo>
                  <a:lnTo>
                    <a:pt x="73" y="57"/>
                  </a:lnTo>
                  <a:lnTo>
                    <a:pt x="63" y="56"/>
                  </a:lnTo>
                  <a:lnTo>
                    <a:pt x="45" y="43"/>
                  </a:lnTo>
                  <a:lnTo>
                    <a:pt x="40" y="36"/>
                  </a:lnTo>
                  <a:lnTo>
                    <a:pt x="37" y="35"/>
                  </a:lnTo>
                  <a:lnTo>
                    <a:pt x="26" y="37"/>
                  </a:lnTo>
                  <a:lnTo>
                    <a:pt x="26" y="53"/>
                  </a:lnTo>
                  <a:lnTo>
                    <a:pt x="23" y="78"/>
                  </a:lnTo>
                  <a:lnTo>
                    <a:pt x="25" y="86"/>
                  </a:lnTo>
                  <a:lnTo>
                    <a:pt x="22" y="98"/>
                  </a:lnTo>
                  <a:lnTo>
                    <a:pt x="20" y="101"/>
                  </a:lnTo>
                  <a:lnTo>
                    <a:pt x="22" y="104"/>
                  </a:lnTo>
                  <a:lnTo>
                    <a:pt x="20" y="115"/>
                  </a:lnTo>
                  <a:lnTo>
                    <a:pt x="22" y="120"/>
                  </a:lnTo>
                  <a:lnTo>
                    <a:pt x="0" y="211"/>
                  </a:lnTo>
                  <a:lnTo>
                    <a:pt x="3" y="218"/>
                  </a:lnTo>
                  <a:lnTo>
                    <a:pt x="53" y="225"/>
                  </a:lnTo>
                  <a:lnTo>
                    <a:pt x="68" y="210"/>
                  </a:lnTo>
                  <a:lnTo>
                    <a:pt x="80" y="186"/>
                  </a:lnTo>
                  <a:lnTo>
                    <a:pt x="115" y="181"/>
                  </a:lnTo>
                  <a:lnTo>
                    <a:pt x="122" y="160"/>
                  </a:lnTo>
                  <a:lnTo>
                    <a:pt x="140" y="149"/>
                  </a:lnTo>
                  <a:lnTo>
                    <a:pt x="141" y="148"/>
                  </a:lnTo>
                  <a:lnTo>
                    <a:pt x="90" y="98"/>
                  </a:lnTo>
                  <a:lnTo>
                    <a:pt x="179" y="7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0" name="Freeform 148"/>
            <p:cNvSpPr>
              <a:spLocks/>
            </p:cNvSpPr>
            <p:nvPr/>
          </p:nvSpPr>
          <p:spPr bwMode="auto">
            <a:xfrm>
              <a:off x="5215294" y="163317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noFill/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1" name="Freeform 149"/>
            <p:cNvSpPr>
              <a:spLocks/>
            </p:cNvSpPr>
            <p:nvPr/>
          </p:nvSpPr>
          <p:spPr bwMode="auto">
            <a:xfrm>
              <a:off x="6098786" y="1961578"/>
              <a:ext cx="259970" cy="168839"/>
            </a:xfrm>
            <a:custGeom>
              <a:avLst/>
              <a:gdLst>
                <a:gd name="T0" fmla="*/ 27 w 217"/>
                <a:gd name="T1" fmla="*/ 20 h 172"/>
                <a:gd name="T2" fmla="*/ 0 w 217"/>
                <a:gd name="T3" fmla="*/ 11 h 172"/>
                <a:gd name="T4" fmla="*/ 1 w 217"/>
                <a:gd name="T5" fmla="*/ 11 h 172"/>
                <a:gd name="T6" fmla="*/ 1 w 217"/>
                <a:gd name="T7" fmla="*/ 11 h 172"/>
                <a:gd name="T8" fmla="*/ 2 w 217"/>
                <a:gd name="T9" fmla="*/ 12 h 172"/>
                <a:gd name="T10" fmla="*/ 6 w 217"/>
                <a:gd name="T11" fmla="*/ 12 h 172"/>
                <a:gd name="T12" fmla="*/ 8 w 217"/>
                <a:gd name="T13" fmla="*/ 11 h 172"/>
                <a:gd name="T14" fmla="*/ 13 w 217"/>
                <a:gd name="T15" fmla="*/ 11 h 172"/>
                <a:gd name="T16" fmla="*/ 15 w 217"/>
                <a:gd name="T17" fmla="*/ 12 h 172"/>
                <a:gd name="T18" fmla="*/ 19 w 217"/>
                <a:gd name="T19" fmla="*/ 11 h 172"/>
                <a:gd name="T20" fmla="*/ 21 w 217"/>
                <a:gd name="T21" fmla="*/ 11 h 172"/>
                <a:gd name="T22" fmla="*/ 22 w 217"/>
                <a:gd name="T23" fmla="*/ 10 h 172"/>
                <a:gd name="T24" fmla="*/ 22 w 217"/>
                <a:gd name="T25" fmla="*/ 9 h 172"/>
                <a:gd name="T26" fmla="*/ 22 w 217"/>
                <a:gd name="T27" fmla="*/ 9 h 172"/>
                <a:gd name="T28" fmla="*/ 22 w 217"/>
                <a:gd name="T29" fmla="*/ 9 h 172"/>
                <a:gd name="T30" fmla="*/ 24 w 217"/>
                <a:gd name="T31" fmla="*/ 8 h 172"/>
                <a:gd name="T32" fmla="*/ 24 w 217"/>
                <a:gd name="T33" fmla="*/ 7 h 172"/>
                <a:gd name="T34" fmla="*/ 25 w 217"/>
                <a:gd name="T35" fmla="*/ 7 h 172"/>
                <a:gd name="T36" fmla="*/ 26 w 217"/>
                <a:gd name="T37" fmla="*/ 6 h 172"/>
                <a:gd name="T38" fmla="*/ 28 w 217"/>
                <a:gd name="T39" fmla="*/ 5 h 172"/>
                <a:gd name="T40" fmla="*/ 29 w 217"/>
                <a:gd name="T41" fmla="*/ 4 h 172"/>
                <a:gd name="T42" fmla="*/ 29 w 217"/>
                <a:gd name="T43" fmla="*/ 4 h 172"/>
                <a:gd name="T44" fmla="*/ 30 w 217"/>
                <a:gd name="T45" fmla="*/ 3 h 172"/>
                <a:gd name="T46" fmla="*/ 30 w 217"/>
                <a:gd name="T47" fmla="*/ 3 h 172"/>
                <a:gd name="T48" fmla="*/ 32 w 217"/>
                <a:gd name="T49" fmla="*/ 2 h 172"/>
                <a:gd name="T50" fmla="*/ 34 w 217"/>
                <a:gd name="T51" fmla="*/ 0 h 172"/>
                <a:gd name="T52" fmla="*/ 35 w 217"/>
                <a:gd name="T53" fmla="*/ 1 h 172"/>
                <a:gd name="T54" fmla="*/ 35 w 217"/>
                <a:gd name="T55" fmla="*/ 2 h 172"/>
                <a:gd name="T56" fmla="*/ 35 w 217"/>
                <a:gd name="T57" fmla="*/ 2 h 172"/>
                <a:gd name="T58" fmla="*/ 36 w 217"/>
                <a:gd name="T59" fmla="*/ 3 h 172"/>
                <a:gd name="T60" fmla="*/ 31 w 217"/>
                <a:gd name="T61" fmla="*/ 7 h 172"/>
                <a:gd name="T62" fmla="*/ 32 w 217"/>
                <a:gd name="T63" fmla="*/ 11 h 172"/>
                <a:gd name="T64" fmla="*/ 33 w 217"/>
                <a:gd name="T65" fmla="*/ 11 h 172"/>
                <a:gd name="T66" fmla="*/ 31 w 217"/>
                <a:gd name="T67" fmla="*/ 12 h 17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7"/>
                <a:gd name="T103" fmla="*/ 0 h 172"/>
                <a:gd name="T104" fmla="*/ 217 w 217"/>
                <a:gd name="T105" fmla="*/ 172 h 17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7" h="172">
                  <a:moveTo>
                    <a:pt x="166" y="169"/>
                  </a:moveTo>
                  <a:lnTo>
                    <a:pt x="163" y="172"/>
                  </a:lnTo>
                  <a:lnTo>
                    <a:pt x="47" y="157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" y="92"/>
                  </a:lnTo>
                  <a:lnTo>
                    <a:pt x="4" y="89"/>
                  </a:lnTo>
                  <a:lnTo>
                    <a:pt x="5" y="90"/>
                  </a:lnTo>
                  <a:lnTo>
                    <a:pt x="6" y="99"/>
                  </a:lnTo>
                  <a:lnTo>
                    <a:pt x="12" y="103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42" y="99"/>
                  </a:lnTo>
                  <a:lnTo>
                    <a:pt x="50" y="94"/>
                  </a:lnTo>
                  <a:lnTo>
                    <a:pt x="68" y="95"/>
                  </a:lnTo>
                  <a:lnTo>
                    <a:pt x="76" y="99"/>
                  </a:lnTo>
                  <a:lnTo>
                    <a:pt x="81" y="99"/>
                  </a:lnTo>
                  <a:lnTo>
                    <a:pt x="89" y="101"/>
                  </a:lnTo>
                  <a:lnTo>
                    <a:pt x="110" y="100"/>
                  </a:lnTo>
                  <a:lnTo>
                    <a:pt x="114" y="97"/>
                  </a:lnTo>
                  <a:lnTo>
                    <a:pt x="118" y="92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31" y="87"/>
                  </a:lnTo>
                  <a:lnTo>
                    <a:pt x="132" y="85"/>
                  </a:lnTo>
                  <a:lnTo>
                    <a:pt x="130" y="82"/>
                  </a:lnTo>
                  <a:lnTo>
                    <a:pt x="129" y="81"/>
                  </a:lnTo>
                  <a:lnTo>
                    <a:pt x="137" y="80"/>
                  </a:lnTo>
                  <a:lnTo>
                    <a:pt x="137" y="78"/>
                  </a:lnTo>
                  <a:lnTo>
                    <a:pt x="139" y="76"/>
                  </a:lnTo>
                  <a:lnTo>
                    <a:pt x="139" y="73"/>
                  </a:lnTo>
                  <a:lnTo>
                    <a:pt x="142" y="70"/>
                  </a:lnTo>
                  <a:lnTo>
                    <a:pt x="142" y="67"/>
                  </a:lnTo>
                  <a:lnTo>
                    <a:pt x="145" y="63"/>
                  </a:lnTo>
                  <a:lnTo>
                    <a:pt x="152" y="60"/>
                  </a:lnTo>
                  <a:lnTo>
                    <a:pt x="155" y="54"/>
                  </a:lnTo>
                  <a:lnTo>
                    <a:pt x="157" y="53"/>
                  </a:lnTo>
                  <a:lnTo>
                    <a:pt x="160" y="49"/>
                  </a:lnTo>
                  <a:lnTo>
                    <a:pt x="166" y="45"/>
                  </a:lnTo>
                  <a:lnTo>
                    <a:pt x="171" y="41"/>
                  </a:lnTo>
                  <a:lnTo>
                    <a:pt x="174" y="39"/>
                  </a:lnTo>
                  <a:lnTo>
                    <a:pt x="175" y="37"/>
                  </a:lnTo>
                  <a:lnTo>
                    <a:pt x="177" y="36"/>
                  </a:lnTo>
                  <a:lnTo>
                    <a:pt x="177" y="34"/>
                  </a:lnTo>
                  <a:lnTo>
                    <a:pt x="181" y="28"/>
                  </a:lnTo>
                  <a:lnTo>
                    <a:pt x="181" y="27"/>
                  </a:lnTo>
                  <a:lnTo>
                    <a:pt x="183" y="25"/>
                  </a:lnTo>
                  <a:lnTo>
                    <a:pt x="184" y="23"/>
                  </a:lnTo>
                  <a:lnTo>
                    <a:pt x="192" y="18"/>
                  </a:lnTo>
                  <a:lnTo>
                    <a:pt x="202" y="9"/>
                  </a:lnTo>
                  <a:lnTo>
                    <a:pt x="205" y="0"/>
                  </a:lnTo>
                  <a:lnTo>
                    <a:pt x="207" y="4"/>
                  </a:lnTo>
                  <a:lnTo>
                    <a:pt x="208" y="9"/>
                  </a:lnTo>
                  <a:lnTo>
                    <a:pt x="207" y="11"/>
                  </a:lnTo>
                  <a:lnTo>
                    <a:pt x="208" y="13"/>
                  </a:lnTo>
                  <a:lnTo>
                    <a:pt x="207" y="18"/>
                  </a:lnTo>
                  <a:lnTo>
                    <a:pt x="208" y="19"/>
                  </a:lnTo>
                  <a:lnTo>
                    <a:pt x="214" y="21"/>
                  </a:lnTo>
                  <a:lnTo>
                    <a:pt x="216" y="26"/>
                  </a:lnTo>
                  <a:lnTo>
                    <a:pt x="217" y="60"/>
                  </a:lnTo>
                  <a:lnTo>
                    <a:pt x="189" y="61"/>
                  </a:lnTo>
                  <a:lnTo>
                    <a:pt x="195" y="88"/>
                  </a:lnTo>
                  <a:lnTo>
                    <a:pt x="191" y="92"/>
                  </a:lnTo>
                  <a:lnTo>
                    <a:pt x="195" y="94"/>
                  </a:lnTo>
                  <a:lnTo>
                    <a:pt x="198" y="93"/>
                  </a:lnTo>
                  <a:lnTo>
                    <a:pt x="196" y="104"/>
                  </a:lnTo>
                  <a:lnTo>
                    <a:pt x="184" y="105"/>
                  </a:lnTo>
                  <a:lnTo>
                    <a:pt x="166" y="16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2" name="Freeform 150"/>
            <p:cNvSpPr>
              <a:spLocks/>
            </p:cNvSpPr>
            <p:nvPr/>
          </p:nvSpPr>
          <p:spPr bwMode="auto">
            <a:xfrm>
              <a:off x="6098786" y="1961578"/>
              <a:ext cx="259970" cy="168839"/>
            </a:xfrm>
            <a:custGeom>
              <a:avLst/>
              <a:gdLst>
                <a:gd name="T0" fmla="*/ 27 w 217"/>
                <a:gd name="T1" fmla="*/ 20 h 172"/>
                <a:gd name="T2" fmla="*/ 0 w 217"/>
                <a:gd name="T3" fmla="*/ 11 h 172"/>
                <a:gd name="T4" fmla="*/ 1 w 217"/>
                <a:gd name="T5" fmla="*/ 11 h 172"/>
                <a:gd name="T6" fmla="*/ 1 w 217"/>
                <a:gd name="T7" fmla="*/ 11 h 172"/>
                <a:gd name="T8" fmla="*/ 2 w 217"/>
                <a:gd name="T9" fmla="*/ 12 h 172"/>
                <a:gd name="T10" fmla="*/ 6 w 217"/>
                <a:gd name="T11" fmla="*/ 12 h 172"/>
                <a:gd name="T12" fmla="*/ 8 w 217"/>
                <a:gd name="T13" fmla="*/ 11 h 172"/>
                <a:gd name="T14" fmla="*/ 13 w 217"/>
                <a:gd name="T15" fmla="*/ 11 h 172"/>
                <a:gd name="T16" fmla="*/ 15 w 217"/>
                <a:gd name="T17" fmla="*/ 12 h 172"/>
                <a:gd name="T18" fmla="*/ 19 w 217"/>
                <a:gd name="T19" fmla="*/ 11 h 172"/>
                <a:gd name="T20" fmla="*/ 21 w 217"/>
                <a:gd name="T21" fmla="*/ 11 h 172"/>
                <a:gd name="T22" fmla="*/ 22 w 217"/>
                <a:gd name="T23" fmla="*/ 10 h 172"/>
                <a:gd name="T24" fmla="*/ 22 w 217"/>
                <a:gd name="T25" fmla="*/ 9 h 172"/>
                <a:gd name="T26" fmla="*/ 22 w 217"/>
                <a:gd name="T27" fmla="*/ 9 h 172"/>
                <a:gd name="T28" fmla="*/ 22 w 217"/>
                <a:gd name="T29" fmla="*/ 9 h 172"/>
                <a:gd name="T30" fmla="*/ 24 w 217"/>
                <a:gd name="T31" fmla="*/ 8 h 172"/>
                <a:gd name="T32" fmla="*/ 24 w 217"/>
                <a:gd name="T33" fmla="*/ 7 h 172"/>
                <a:gd name="T34" fmla="*/ 25 w 217"/>
                <a:gd name="T35" fmla="*/ 7 h 172"/>
                <a:gd name="T36" fmla="*/ 26 w 217"/>
                <a:gd name="T37" fmla="*/ 6 h 172"/>
                <a:gd name="T38" fmla="*/ 28 w 217"/>
                <a:gd name="T39" fmla="*/ 5 h 172"/>
                <a:gd name="T40" fmla="*/ 29 w 217"/>
                <a:gd name="T41" fmla="*/ 4 h 172"/>
                <a:gd name="T42" fmla="*/ 29 w 217"/>
                <a:gd name="T43" fmla="*/ 4 h 172"/>
                <a:gd name="T44" fmla="*/ 30 w 217"/>
                <a:gd name="T45" fmla="*/ 3 h 172"/>
                <a:gd name="T46" fmla="*/ 30 w 217"/>
                <a:gd name="T47" fmla="*/ 3 h 172"/>
                <a:gd name="T48" fmla="*/ 32 w 217"/>
                <a:gd name="T49" fmla="*/ 2 h 172"/>
                <a:gd name="T50" fmla="*/ 34 w 217"/>
                <a:gd name="T51" fmla="*/ 0 h 172"/>
                <a:gd name="T52" fmla="*/ 35 w 217"/>
                <a:gd name="T53" fmla="*/ 1 h 172"/>
                <a:gd name="T54" fmla="*/ 35 w 217"/>
                <a:gd name="T55" fmla="*/ 2 h 172"/>
                <a:gd name="T56" fmla="*/ 35 w 217"/>
                <a:gd name="T57" fmla="*/ 2 h 172"/>
                <a:gd name="T58" fmla="*/ 36 w 217"/>
                <a:gd name="T59" fmla="*/ 3 h 172"/>
                <a:gd name="T60" fmla="*/ 31 w 217"/>
                <a:gd name="T61" fmla="*/ 7 h 172"/>
                <a:gd name="T62" fmla="*/ 32 w 217"/>
                <a:gd name="T63" fmla="*/ 11 h 172"/>
                <a:gd name="T64" fmla="*/ 33 w 217"/>
                <a:gd name="T65" fmla="*/ 11 h 172"/>
                <a:gd name="T66" fmla="*/ 31 w 217"/>
                <a:gd name="T67" fmla="*/ 12 h 172"/>
                <a:gd name="T68" fmla="*/ 28 w 217"/>
                <a:gd name="T69" fmla="*/ 20 h 1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17"/>
                <a:gd name="T106" fmla="*/ 0 h 172"/>
                <a:gd name="T107" fmla="*/ 217 w 217"/>
                <a:gd name="T108" fmla="*/ 172 h 1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17" h="172">
                  <a:moveTo>
                    <a:pt x="166" y="169"/>
                  </a:moveTo>
                  <a:lnTo>
                    <a:pt x="163" y="172"/>
                  </a:lnTo>
                  <a:lnTo>
                    <a:pt x="47" y="157"/>
                  </a:lnTo>
                  <a:lnTo>
                    <a:pt x="0" y="99"/>
                  </a:lnTo>
                  <a:lnTo>
                    <a:pt x="0" y="92"/>
                  </a:lnTo>
                  <a:lnTo>
                    <a:pt x="1" y="92"/>
                  </a:lnTo>
                  <a:lnTo>
                    <a:pt x="4" y="89"/>
                  </a:lnTo>
                  <a:lnTo>
                    <a:pt x="5" y="90"/>
                  </a:lnTo>
                  <a:lnTo>
                    <a:pt x="6" y="99"/>
                  </a:lnTo>
                  <a:lnTo>
                    <a:pt x="12" y="103"/>
                  </a:lnTo>
                  <a:lnTo>
                    <a:pt x="34" y="104"/>
                  </a:lnTo>
                  <a:lnTo>
                    <a:pt x="37" y="104"/>
                  </a:lnTo>
                  <a:lnTo>
                    <a:pt x="42" y="99"/>
                  </a:lnTo>
                  <a:lnTo>
                    <a:pt x="50" y="94"/>
                  </a:lnTo>
                  <a:lnTo>
                    <a:pt x="68" y="95"/>
                  </a:lnTo>
                  <a:lnTo>
                    <a:pt x="76" y="99"/>
                  </a:lnTo>
                  <a:lnTo>
                    <a:pt x="81" y="99"/>
                  </a:lnTo>
                  <a:lnTo>
                    <a:pt x="89" y="101"/>
                  </a:lnTo>
                  <a:lnTo>
                    <a:pt x="110" y="100"/>
                  </a:lnTo>
                  <a:lnTo>
                    <a:pt x="114" y="97"/>
                  </a:lnTo>
                  <a:lnTo>
                    <a:pt x="118" y="92"/>
                  </a:lnTo>
                  <a:lnTo>
                    <a:pt x="125" y="90"/>
                  </a:lnTo>
                  <a:lnTo>
                    <a:pt x="126" y="88"/>
                  </a:lnTo>
                  <a:lnTo>
                    <a:pt x="131" y="87"/>
                  </a:lnTo>
                  <a:lnTo>
                    <a:pt x="132" y="85"/>
                  </a:lnTo>
                  <a:lnTo>
                    <a:pt x="130" y="82"/>
                  </a:lnTo>
                  <a:lnTo>
                    <a:pt x="129" y="81"/>
                  </a:lnTo>
                  <a:lnTo>
                    <a:pt x="137" y="80"/>
                  </a:lnTo>
                  <a:lnTo>
                    <a:pt x="137" y="78"/>
                  </a:lnTo>
                  <a:lnTo>
                    <a:pt x="139" y="76"/>
                  </a:lnTo>
                  <a:lnTo>
                    <a:pt x="139" y="73"/>
                  </a:lnTo>
                  <a:lnTo>
                    <a:pt x="142" y="70"/>
                  </a:lnTo>
                  <a:lnTo>
                    <a:pt x="142" y="67"/>
                  </a:lnTo>
                  <a:lnTo>
                    <a:pt x="145" y="63"/>
                  </a:lnTo>
                  <a:lnTo>
                    <a:pt x="152" y="60"/>
                  </a:lnTo>
                  <a:lnTo>
                    <a:pt x="155" y="54"/>
                  </a:lnTo>
                  <a:lnTo>
                    <a:pt x="157" y="53"/>
                  </a:lnTo>
                  <a:lnTo>
                    <a:pt x="160" y="49"/>
                  </a:lnTo>
                  <a:lnTo>
                    <a:pt x="166" y="45"/>
                  </a:lnTo>
                  <a:lnTo>
                    <a:pt x="171" y="41"/>
                  </a:lnTo>
                  <a:lnTo>
                    <a:pt x="174" y="39"/>
                  </a:lnTo>
                  <a:lnTo>
                    <a:pt x="175" y="37"/>
                  </a:lnTo>
                  <a:lnTo>
                    <a:pt x="177" y="36"/>
                  </a:lnTo>
                  <a:lnTo>
                    <a:pt x="177" y="34"/>
                  </a:lnTo>
                  <a:lnTo>
                    <a:pt x="181" y="28"/>
                  </a:lnTo>
                  <a:lnTo>
                    <a:pt x="181" y="27"/>
                  </a:lnTo>
                  <a:lnTo>
                    <a:pt x="183" y="25"/>
                  </a:lnTo>
                  <a:lnTo>
                    <a:pt x="184" y="23"/>
                  </a:lnTo>
                  <a:lnTo>
                    <a:pt x="192" y="18"/>
                  </a:lnTo>
                  <a:lnTo>
                    <a:pt x="202" y="9"/>
                  </a:lnTo>
                  <a:lnTo>
                    <a:pt x="205" y="0"/>
                  </a:lnTo>
                  <a:lnTo>
                    <a:pt x="207" y="4"/>
                  </a:lnTo>
                  <a:lnTo>
                    <a:pt x="208" y="9"/>
                  </a:lnTo>
                  <a:lnTo>
                    <a:pt x="207" y="11"/>
                  </a:lnTo>
                  <a:lnTo>
                    <a:pt x="208" y="13"/>
                  </a:lnTo>
                  <a:lnTo>
                    <a:pt x="207" y="18"/>
                  </a:lnTo>
                  <a:lnTo>
                    <a:pt x="208" y="19"/>
                  </a:lnTo>
                  <a:lnTo>
                    <a:pt x="214" y="21"/>
                  </a:lnTo>
                  <a:lnTo>
                    <a:pt x="216" y="26"/>
                  </a:lnTo>
                  <a:lnTo>
                    <a:pt x="217" y="60"/>
                  </a:lnTo>
                  <a:lnTo>
                    <a:pt x="189" y="61"/>
                  </a:lnTo>
                  <a:lnTo>
                    <a:pt x="195" y="88"/>
                  </a:lnTo>
                  <a:lnTo>
                    <a:pt x="191" y="92"/>
                  </a:lnTo>
                  <a:lnTo>
                    <a:pt x="195" y="94"/>
                  </a:lnTo>
                  <a:lnTo>
                    <a:pt x="198" y="93"/>
                  </a:lnTo>
                  <a:lnTo>
                    <a:pt x="196" y="104"/>
                  </a:lnTo>
                  <a:lnTo>
                    <a:pt x="184" y="105"/>
                  </a:lnTo>
                  <a:lnTo>
                    <a:pt x="166" y="16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3" name="Freeform 151"/>
            <p:cNvSpPr>
              <a:spLocks/>
            </p:cNvSpPr>
            <p:nvPr/>
          </p:nvSpPr>
          <p:spPr bwMode="auto">
            <a:xfrm>
              <a:off x="5609312" y="2308531"/>
              <a:ext cx="568685" cy="302424"/>
            </a:xfrm>
            <a:custGeom>
              <a:avLst/>
              <a:gdLst>
                <a:gd name="T0" fmla="*/ 75 w 476"/>
                <a:gd name="T1" fmla="*/ 16 h 303"/>
                <a:gd name="T2" fmla="*/ 72 w 476"/>
                <a:gd name="T3" fmla="*/ 18 h 303"/>
                <a:gd name="T4" fmla="*/ 73 w 476"/>
                <a:gd name="T5" fmla="*/ 20 h 303"/>
                <a:gd name="T6" fmla="*/ 72 w 476"/>
                <a:gd name="T7" fmla="*/ 20 h 303"/>
                <a:gd name="T8" fmla="*/ 68 w 476"/>
                <a:gd name="T9" fmla="*/ 21 h 303"/>
                <a:gd name="T10" fmla="*/ 49 w 476"/>
                <a:gd name="T11" fmla="*/ 26 h 303"/>
                <a:gd name="T12" fmla="*/ 45 w 476"/>
                <a:gd name="T13" fmla="*/ 30 h 303"/>
                <a:gd name="T14" fmla="*/ 39 w 476"/>
                <a:gd name="T15" fmla="*/ 30 h 303"/>
                <a:gd name="T16" fmla="*/ 37 w 476"/>
                <a:gd name="T17" fmla="*/ 31 h 303"/>
                <a:gd name="T18" fmla="*/ 30 w 476"/>
                <a:gd name="T19" fmla="*/ 33 h 303"/>
                <a:gd name="T20" fmla="*/ 24 w 476"/>
                <a:gd name="T21" fmla="*/ 33 h 303"/>
                <a:gd name="T22" fmla="*/ 21 w 476"/>
                <a:gd name="T23" fmla="*/ 34 h 303"/>
                <a:gd name="T24" fmla="*/ 14 w 476"/>
                <a:gd name="T25" fmla="*/ 37 h 303"/>
                <a:gd name="T26" fmla="*/ 11 w 476"/>
                <a:gd name="T27" fmla="*/ 37 h 303"/>
                <a:gd name="T28" fmla="*/ 8 w 476"/>
                <a:gd name="T29" fmla="*/ 37 h 303"/>
                <a:gd name="T30" fmla="*/ 6 w 476"/>
                <a:gd name="T31" fmla="*/ 35 h 303"/>
                <a:gd name="T32" fmla="*/ 4 w 476"/>
                <a:gd name="T33" fmla="*/ 30 h 303"/>
                <a:gd name="T34" fmla="*/ 2 w 476"/>
                <a:gd name="T35" fmla="*/ 23 h 303"/>
                <a:gd name="T36" fmla="*/ 0 w 476"/>
                <a:gd name="T37" fmla="*/ 22 h 303"/>
                <a:gd name="T38" fmla="*/ 1 w 476"/>
                <a:gd name="T39" fmla="*/ 22 h 303"/>
                <a:gd name="T40" fmla="*/ 1 w 476"/>
                <a:gd name="T41" fmla="*/ 21 h 303"/>
                <a:gd name="T42" fmla="*/ 1 w 476"/>
                <a:gd name="T43" fmla="*/ 19 h 303"/>
                <a:gd name="T44" fmla="*/ 1 w 476"/>
                <a:gd name="T45" fmla="*/ 18 h 303"/>
                <a:gd name="T46" fmla="*/ 1 w 476"/>
                <a:gd name="T47" fmla="*/ 16 h 303"/>
                <a:gd name="T48" fmla="*/ 3 w 476"/>
                <a:gd name="T49" fmla="*/ 14 h 303"/>
                <a:gd name="T50" fmla="*/ 5 w 476"/>
                <a:gd name="T51" fmla="*/ 13 h 303"/>
                <a:gd name="T52" fmla="*/ 6 w 476"/>
                <a:gd name="T53" fmla="*/ 12 h 303"/>
                <a:gd name="T54" fmla="*/ 13 w 476"/>
                <a:gd name="T55" fmla="*/ 9 h 303"/>
                <a:gd name="T56" fmla="*/ 33 w 476"/>
                <a:gd name="T57" fmla="*/ 12 h 303"/>
                <a:gd name="T58" fmla="*/ 36 w 476"/>
                <a:gd name="T59" fmla="*/ 11 h 303"/>
                <a:gd name="T60" fmla="*/ 42 w 476"/>
                <a:gd name="T61" fmla="*/ 5 h 303"/>
                <a:gd name="T62" fmla="*/ 71 w 476"/>
                <a:gd name="T63" fmla="*/ 0 h 30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76"/>
                <a:gd name="T97" fmla="*/ 0 h 303"/>
                <a:gd name="T98" fmla="*/ 476 w 476"/>
                <a:gd name="T99" fmla="*/ 303 h 30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76" h="303">
                  <a:moveTo>
                    <a:pt x="476" y="116"/>
                  </a:moveTo>
                  <a:lnTo>
                    <a:pt x="452" y="128"/>
                  </a:lnTo>
                  <a:lnTo>
                    <a:pt x="445" y="136"/>
                  </a:lnTo>
                  <a:lnTo>
                    <a:pt x="439" y="149"/>
                  </a:lnTo>
                  <a:lnTo>
                    <a:pt x="442" y="160"/>
                  </a:lnTo>
                  <a:lnTo>
                    <a:pt x="441" y="162"/>
                  </a:lnTo>
                  <a:lnTo>
                    <a:pt x="439" y="164"/>
                  </a:lnTo>
                  <a:lnTo>
                    <a:pt x="437" y="165"/>
                  </a:lnTo>
                  <a:lnTo>
                    <a:pt x="431" y="164"/>
                  </a:lnTo>
                  <a:lnTo>
                    <a:pt x="414" y="171"/>
                  </a:lnTo>
                  <a:lnTo>
                    <a:pt x="406" y="179"/>
                  </a:lnTo>
                  <a:lnTo>
                    <a:pt x="296" y="215"/>
                  </a:lnTo>
                  <a:lnTo>
                    <a:pt x="290" y="227"/>
                  </a:lnTo>
                  <a:lnTo>
                    <a:pt x="274" y="241"/>
                  </a:lnTo>
                  <a:lnTo>
                    <a:pt x="271" y="242"/>
                  </a:lnTo>
                  <a:lnTo>
                    <a:pt x="238" y="243"/>
                  </a:lnTo>
                  <a:lnTo>
                    <a:pt x="229" y="248"/>
                  </a:lnTo>
                  <a:lnTo>
                    <a:pt x="225" y="254"/>
                  </a:lnTo>
                  <a:lnTo>
                    <a:pt x="190" y="268"/>
                  </a:lnTo>
                  <a:lnTo>
                    <a:pt x="181" y="269"/>
                  </a:lnTo>
                  <a:lnTo>
                    <a:pt x="172" y="267"/>
                  </a:lnTo>
                  <a:lnTo>
                    <a:pt x="145" y="269"/>
                  </a:lnTo>
                  <a:lnTo>
                    <a:pt x="137" y="274"/>
                  </a:lnTo>
                  <a:lnTo>
                    <a:pt x="131" y="284"/>
                  </a:lnTo>
                  <a:lnTo>
                    <a:pt x="103" y="298"/>
                  </a:lnTo>
                  <a:lnTo>
                    <a:pt x="84" y="299"/>
                  </a:lnTo>
                  <a:lnTo>
                    <a:pt x="72" y="302"/>
                  </a:lnTo>
                  <a:lnTo>
                    <a:pt x="65" y="302"/>
                  </a:lnTo>
                  <a:lnTo>
                    <a:pt x="58" y="303"/>
                  </a:lnTo>
                  <a:lnTo>
                    <a:pt x="50" y="300"/>
                  </a:lnTo>
                  <a:lnTo>
                    <a:pt x="40" y="300"/>
                  </a:lnTo>
                  <a:lnTo>
                    <a:pt x="36" y="287"/>
                  </a:lnTo>
                  <a:lnTo>
                    <a:pt x="27" y="277"/>
                  </a:lnTo>
                  <a:lnTo>
                    <a:pt x="26" y="247"/>
                  </a:lnTo>
                  <a:lnTo>
                    <a:pt x="21" y="243"/>
                  </a:lnTo>
                  <a:lnTo>
                    <a:pt x="10" y="189"/>
                  </a:lnTo>
                  <a:lnTo>
                    <a:pt x="3" y="180"/>
                  </a:lnTo>
                  <a:lnTo>
                    <a:pt x="0" y="178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4" y="173"/>
                  </a:lnTo>
                  <a:lnTo>
                    <a:pt x="3" y="170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6" y="153"/>
                  </a:lnTo>
                  <a:lnTo>
                    <a:pt x="7" y="149"/>
                  </a:lnTo>
                  <a:lnTo>
                    <a:pt x="5" y="126"/>
                  </a:lnTo>
                  <a:lnTo>
                    <a:pt x="3" y="125"/>
                  </a:lnTo>
                  <a:lnTo>
                    <a:pt x="12" y="121"/>
                  </a:lnTo>
                  <a:lnTo>
                    <a:pt x="16" y="117"/>
                  </a:lnTo>
                  <a:lnTo>
                    <a:pt x="17" y="110"/>
                  </a:lnTo>
                  <a:lnTo>
                    <a:pt x="30" y="104"/>
                  </a:lnTo>
                  <a:lnTo>
                    <a:pt x="33" y="97"/>
                  </a:lnTo>
                  <a:lnTo>
                    <a:pt x="38" y="94"/>
                  </a:lnTo>
                  <a:lnTo>
                    <a:pt x="55" y="92"/>
                  </a:lnTo>
                  <a:lnTo>
                    <a:pt x="78" y="77"/>
                  </a:lnTo>
                  <a:lnTo>
                    <a:pt x="188" y="80"/>
                  </a:lnTo>
                  <a:lnTo>
                    <a:pt x="200" y="100"/>
                  </a:lnTo>
                  <a:lnTo>
                    <a:pt x="207" y="100"/>
                  </a:lnTo>
                  <a:lnTo>
                    <a:pt x="222" y="92"/>
                  </a:lnTo>
                  <a:lnTo>
                    <a:pt x="227" y="77"/>
                  </a:lnTo>
                  <a:lnTo>
                    <a:pt x="253" y="41"/>
                  </a:lnTo>
                  <a:lnTo>
                    <a:pt x="295" y="20"/>
                  </a:lnTo>
                  <a:lnTo>
                    <a:pt x="429" y="0"/>
                  </a:lnTo>
                  <a:lnTo>
                    <a:pt x="476" y="116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4" name="Freeform 152"/>
            <p:cNvSpPr>
              <a:spLocks/>
            </p:cNvSpPr>
            <p:nvPr/>
          </p:nvSpPr>
          <p:spPr bwMode="auto">
            <a:xfrm>
              <a:off x="5609312" y="2308531"/>
              <a:ext cx="568685" cy="302424"/>
            </a:xfrm>
            <a:custGeom>
              <a:avLst/>
              <a:gdLst>
                <a:gd name="T0" fmla="*/ 75 w 476"/>
                <a:gd name="T1" fmla="*/ 16 h 303"/>
                <a:gd name="T2" fmla="*/ 72 w 476"/>
                <a:gd name="T3" fmla="*/ 18 h 303"/>
                <a:gd name="T4" fmla="*/ 73 w 476"/>
                <a:gd name="T5" fmla="*/ 20 h 303"/>
                <a:gd name="T6" fmla="*/ 72 w 476"/>
                <a:gd name="T7" fmla="*/ 20 h 303"/>
                <a:gd name="T8" fmla="*/ 68 w 476"/>
                <a:gd name="T9" fmla="*/ 21 h 303"/>
                <a:gd name="T10" fmla="*/ 49 w 476"/>
                <a:gd name="T11" fmla="*/ 26 h 303"/>
                <a:gd name="T12" fmla="*/ 45 w 476"/>
                <a:gd name="T13" fmla="*/ 30 h 303"/>
                <a:gd name="T14" fmla="*/ 39 w 476"/>
                <a:gd name="T15" fmla="*/ 30 h 303"/>
                <a:gd name="T16" fmla="*/ 37 w 476"/>
                <a:gd name="T17" fmla="*/ 31 h 303"/>
                <a:gd name="T18" fmla="*/ 30 w 476"/>
                <a:gd name="T19" fmla="*/ 33 h 303"/>
                <a:gd name="T20" fmla="*/ 24 w 476"/>
                <a:gd name="T21" fmla="*/ 33 h 303"/>
                <a:gd name="T22" fmla="*/ 21 w 476"/>
                <a:gd name="T23" fmla="*/ 34 h 303"/>
                <a:gd name="T24" fmla="*/ 14 w 476"/>
                <a:gd name="T25" fmla="*/ 37 h 303"/>
                <a:gd name="T26" fmla="*/ 11 w 476"/>
                <a:gd name="T27" fmla="*/ 37 h 303"/>
                <a:gd name="T28" fmla="*/ 8 w 476"/>
                <a:gd name="T29" fmla="*/ 37 h 303"/>
                <a:gd name="T30" fmla="*/ 6 w 476"/>
                <a:gd name="T31" fmla="*/ 35 h 303"/>
                <a:gd name="T32" fmla="*/ 4 w 476"/>
                <a:gd name="T33" fmla="*/ 30 h 303"/>
                <a:gd name="T34" fmla="*/ 2 w 476"/>
                <a:gd name="T35" fmla="*/ 23 h 303"/>
                <a:gd name="T36" fmla="*/ 0 w 476"/>
                <a:gd name="T37" fmla="*/ 22 h 303"/>
                <a:gd name="T38" fmla="*/ 1 w 476"/>
                <a:gd name="T39" fmla="*/ 22 h 303"/>
                <a:gd name="T40" fmla="*/ 1 w 476"/>
                <a:gd name="T41" fmla="*/ 21 h 303"/>
                <a:gd name="T42" fmla="*/ 1 w 476"/>
                <a:gd name="T43" fmla="*/ 19 h 303"/>
                <a:gd name="T44" fmla="*/ 1 w 476"/>
                <a:gd name="T45" fmla="*/ 18 h 303"/>
                <a:gd name="T46" fmla="*/ 1 w 476"/>
                <a:gd name="T47" fmla="*/ 16 h 303"/>
                <a:gd name="T48" fmla="*/ 3 w 476"/>
                <a:gd name="T49" fmla="*/ 14 h 303"/>
                <a:gd name="T50" fmla="*/ 5 w 476"/>
                <a:gd name="T51" fmla="*/ 13 h 303"/>
                <a:gd name="T52" fmla="*/ 6 w 476"/>
                <a:gd name="T53" fmla="*/ 12 h 303"/>
                <a:gd name="T54" fmla="*/ 13 w 476"/>
                <a:gd name="T55" fmla="*/ 9 h 303"/>
                <a:gd name="T56" fmla="*/ 33 w 476"/>
                <a:gd name="T57" fmla="*/ 12 h 303"/>
                <a:gd name="T58" fmla="*/ 36 w 476"/>
                <a:gd name="T59" fmla="*/ 11 h 303"/>
                <a:gd name="T60" fmla="*/ 42 w 476"/>
                <a:gd name="T61" fmla="*/ 5 h 303"/>
                <a:gd name="T62" fmla="*/ 71 w 476"/>
                <a:gd name="T63" fmla="*/ 0 h 303"/>
                <a:gd name="T64" fmla="*/ 79 w 476"/>
                <a:gd name="T65" fmla="*/ 14 h 30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76"/>
                <a:gd name="T100" fmla="*/ 0 h 303"/>
                <a:gd name="T101" fmla="*/ 476 w 476"/>
                <a:gd name="T102" fmla="*/ 303 h 30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76" h="303">
                  <a:moveTo>
                    <a:pt x="476" y="116"/>
                  </a:moveTo>
                  <a:lnTo>
                    <a:pt x="452" y="128"/>
                  </a:lnTo>
                  <a:lnTo>
                    <a:pt x="445" y="136"/>
                  </a:lnTo>
                  <a:lnTo>
                    <a:pt x="439" y="149"/>
                  </a:lnTo>
                  <a:lnTo>
                    <a:pt x="442" y="160"/>
                  </a:lnTo>
                  <a:lnTo>
                    <a:pt x="441" y="162"/>
                  </a:lnTo>
                  <a:lnTo>
                    <a:pt x="439" y="164"/>
                  </a:lnTo>
                  <a:lnTo>
                    <a:pt x="437" y="165"/>
                  </a:lnTo>
                  <a:lnTo>
                    <a:pt x="431" y="164"/>
                  </a:lnTo>
                  <a:lnTo>
                    <a:pt x="414" y="171"/>
                  </a:lnTo>
                  <a:lnTo>
                    <a:pt x="406" y="179"/>
                  </a:lnTo>
                  <a:lnTo>
                    <a:pt x="296" y="215"/>
                  </a:lnTo>
                  <a:lnTo>
                    <a:pt x="290" y="227"/>
                  </a:lnTo>
                  <a:lnTo>
                    <a:pt x="274" y="241"/>
                  </a:lnTo>
                  <a:lnTo>
                    <a:pt x="271" y="242"/>
                  </a:lnTo>
                  <a:lnTo>
                    <a:pt x="238" y="243"/>
                  </a:lnTo>
                  <a:lnTo>
                    <a:pt x="229" y="248"/>
                  </a:lnTo>
                  <a:lnTo>
                    <a:pt x="225" y="254"/>
                  </a:lnTo>
                  <a:lnTo>
                    <a:pt x="190" y="268"/>
                  </a:lnTo>
                  <a:lnTo>
                    <a:pt x="181" y="269"/>
                  </a:lnTo>
                  <a:lnTo>
                    <a:pt x="172" y="267"/>
                  </a:lnTo>
                  <a:lnTo>
                    <a:pt x="145" y="269"/>
                  </a:lnTo>
                  <a:lnTo>
                    <a:pt x="137" y="274"/>
                  </a:lnTo>
                  <a:lnTo>
                    <a:pt x="131" y="284"/>
                  </a:lnTo>
                  <a:lnTo>
                    <a:pt x="103" y="298"/>
                  </a:lnTo>
                  <a:lnTo>
                    <a:pt x="84" y="299"/>
                  </a:lnTo>
                  <a:lnTo>
                    <a:pt x="72" y="302"/>
                  </a:lnTo>
                  <a:lnTo>
                    <a:pt x="65" y="302"/>
                  </a:lnTo>
                  <a:lnTo>
                    <a:pt x="58" y="303"/>
                  </a:lnTo>
                  <a:lnTo>
                    <a:pt x="50" y="300"/>
                  </a:lnTo>
                  <a:lnTo>
                    <a:pt x="40" y="300"/>
                  </a:lnTo>
                  <a:lnTo>
                    <a:pt x="36" y="287"/>
                  </a:lnTo>
                  <a:lnTo>
                    <a:pt x="27" y="277"/>
                  </a:lnTo>
                  <a:lnTo>
                    <a:pt x="26" y="247"/>
                  </a:lnTo>
                  <a:lnTo>
                    <a:pt x="21" y="243"/>
                  </a:lnTo>
                  <a:lnTo>
                    <a:pt x="10" y="189"/>
                  </a:lnTo>
                  <a:lnTo>
                    <a:pt x="3" y="180"/>
                  </a:lnTo>
                  <a:lnTo>
                    <a:pt x="0" y="178"/>
                  </a:lnTo>
                  <a:lnTo>
                    <a:pt x="2" y="176"/>
                  </a:lnTo>
                  <a:lnTo>
                    <a:pt x="4" y="176"/>
                  </a:lnTo>
                  <a:lnTo>
                    <a:pt x="4" y="173"/>
                  </a:lnTo>
                  <a:lnTo>
                    <a:pt x="3" y="170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6" y="153"/>
                  </a:lnTo>
                  <a:lnTo>
                    <a:pt x="7" y="149"/>
                  </a:lnTo>
                  <a:lnTo>
                    <a:pt x="5" y="126"/>
                  </a:lnTo>
                  <a:lnTo>
                    <a:pt x="3" y="125"/>
                  </a:lnTo>
                  <a:lnTo>
                    <a:pt x="12" y="121"/>
                  </a:lnTo>
                  <a:lnTo>
                    <a:pt x="16" y="117"/>
                  </a:lnTo>
                  <a:lnTo>
                    <a:pt x="17" y="110"/>
                  </a:lnTo>
                  <a:lnTo>
                    <a:pt x="30" y="104"/>
                  </a:lnTo>
                  <a:lnTo>
                    <a:pt x="33" y="97"/>
                  </a:lnTo>
                  <a:lnTo>
                    <a:pt x="38" y="94"/>
                  </a:lnTo>
                  <a:lnTo>
                    <a:pt x="55" y="92"/>
                  </a:lnTo>
                  <a:lnTo>
                    <a:pt x="78" y="77"/>
                  </a:lnTo>
                  <a:lnTo>
                    <a:pt x="188" y="80"/>
                  </a:lnTo>
                  <a:lnTo>
                    <a:pt x="200" y="100"/>
                  </a:lnTo>
                  <a:lnTo>
                    <a:pt x="207" y="100"/>
                  </a:lnTo>
                  <a:lnTo>
                    <a:pt x="222" y="92"/>
                  </a:lnTo>
                  <a:lnTo>
                    <a:pt x="227" y="77"/>
                  </a:lnTo>
                  <a:lnTo>
                    <a:pt x="253" y="41"/>
                  </a:lnTo>
                  <a:lnTo>
                    <a:pt x="295" y="20"/>
                  </a:lnTo>
                  <a:lnTo>
                    <a:pt x="429" y="0"/>
                  </a:lnTo>
                  <a:lnTo>
                    <a:pt x="476" y="11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5" name="Freeform 153"/>
            <p:cNvSpPr>
              <a:spLocks/>
            </p:cNvSpPr>
            <p:nvPr/>
          </p:nvSpPr>
          <p:spPr bwMode="auto">
            <a:xfrm>
              <a:off x="3901225" y="3453289"/>
              <a:ext cx="696638" cy="567741"/>
            </a:xfrm>
            <a:custGeom>
              <a:avLst/>
              <a:gdLst>
                <a:gd name="T0" fmla="*/ 1 w 578"/>
                <a:gd name="T1" fmla="*/ 56 h 571"/>
                <a:gd name="T2" fmla="*/ 6 w 578"/>
                <a:gd name="T3" fmla="*/ 45 h 571"/>
                <a:gd name="T4" fmla="*/ 7 w 578"/>
                <a:gd name="T5" fmla="*/ 43 h 571"/>
                <a:gd name="T6" fmla="*/ 8 w 578"/>
                <a:gd name="T7" fmla="*/ 42 h 571"/>
                <a:gd name="T8" fmla="*/ 10 w 578"/>
                <a:gd name="T9" fmla="*/ 39 h 571"/>
                <a:gd name="T10" fmla="*/ 15 w 578"/>
                <a:gd name="T11" fmla="*/ 35 h 571"/>
                <a:gd name="T12" fmla="*/ 17 w 578"/>
                <a:gd name="T13" fmla="*/ 28 h 571"/>
                <a:gd name="T14" fmla="*/ 15 w 578"/>
                <a:gd name="T15" fmla="*/ 25 h 571"/>
                <a:gd name="T16" fmla="*/ 14 w 578"/>
                <a:gd name="T17" fmla="*/ 23 h 571"/>
                <a:gd name="T18" fmla="*/ 12 w 578"/>
                <a:gd name="T19" fmla="*/ 18 h 571"/>
                <a:gd name="T20" fmla="*/ 14 w 578"/>
                <a:gd name="T21" fmla="*/ 14 h 571"/>
                <a:gd name="T22" fmla="*/ 12 w 578"/>
                <a:gd name="T23" fmla="*/ 12 h 571"/>
                <a:gd name="T24" fmla="*/ 5 w 578"/>
                <a:gd name="T25" fmla="*/ 3 h 571"/>
                <a:gd name="T26" fmla="*/ 6 w 578"/>
                <a:gd name="T27" fmla="*/ 2 h 571"/>
                <a:gd name="T28" fmla="*/ 22 w 578"/>
                <a:gd name="T29" fmla="*/ 0 h 571"/>
                <a:gd name="T30" fmla="*/ 36 w 578"/>
                <a:gd name="T31" fmla="*/ 0 h 571"/>
                <a:gd name="T32" fmla="*/ 37 w 578"/>
                <a:gd name="T33" fmla="*/ 1 h 571"/>
                <a:gd name="T34" fmla="*/ 39 w 578"/>
                <a:gd name="T35" fmla="*/ 1 h 571"/>
                <a:gd name="T36" fmla="*/ 46 w 578"/>
                <a:gd name="T37" fmla="*/ 12 h 571"/>
                <a:gd name="T38" fmla="*/ 50 w 578"/>
                <a:gd name="T39" fmla="*/ 13 h 571"/>
                <a:gd name="T40" fmla="*/ 60 w 578"/>
                <a:gd name="T41" fmla="*/ 12 h 571"/>
                <a:gd name="T42" fmla="*/ 61 w 578"/>
                <a:gd name="T43" fmla="*/ 9 h 571"/>
                <a:gd name="T44" fmla="*/ 68 w 578"/>
                <a:gd name="T45" fmla="*/ 6 h 571"/>
                <a:gd name="T46" fmla="*/ 72 w 578"/>
                <a:gd name="T47" fmla="*/ 6 h 571"/>
                <a:gd name="T48" fmla="*/ 79 w 578"/>
                <a:gd name="T49" fmla="*/ 8 h 571"/>
                <a:gd name="T50" fmla="*/ 80 w 578"/>
                <a:gd name="T51" fmla="*/ 17 h 571"/>
                <a:gd name="T52" fmla="*/ 80 w 578"/>
                <a:gd name="T53" fmla="*/ 21 h 571"/>
                <a:gd name="T54" fmla="*/ 84 w 578"/>
                <a:gd name="T55" fmla="*/ 27 h 571"/>
                <a:gd name="T56" fmla="*/ 81 w 578"/>
                <a:gd name="T57" fmla="*/ 29 h 571"/>
                <a:gd name="T58" fmla="*/ 81 w 578"/>
                <a:gd name="T59" fmla="*/ 29 h 571"/>
                <a:gd name="T60" fmla="*/ 83 w 578"/>
                <a:gd name="T61" fmla="*/ 30 h 571"/>
                <a:gd name="T62" fmla="*/ 84 w 578"/>
                <a:gd name="T63" fmla="*/ 30 h 571"/>
                <a:gd name="T64" fmla="*/ 85 w 578"/>
                <a:gd name="T65" fmla="*/ 28 h 571"/>
                <a:gd name="T66" fmla="*/ 94 w 578"/>
                <a:gd name="T67" fmla="*/ 28 h 571"/>
                <a:gd name="T68" fmla="*/ 96 w 578"/>
                <a:gd name="T69" fmla="*/ 28 h 571"/>
                <a:gd name="T70" fmla="*/ 97 w 578"/>
                <a:gd name="T71" fmla="*/ 27 h 571"/>
                <a:gd name="T72" fmla="*/ 98 w 578"/>
                <a:gd name="T73" fmla="*/ 28 h 571"/>
                <a:gd name="T74" fmla="*/ 97 w 578"/>
                <a:gd name="T75" fmla="*/ 29 h 571"/>
                <a:gd name="T76" fmla="*/ 97 w 578"/>
                <a:gd name="T77" fmla="*/ 39 h 571"/>
                <a:gd name="T78" fmla="*/ 97 w 578"/>
                <a:gd name="T79" fmla="*/ 39 h 571"/>
                <a:gd name="T80" fmla="*/ 82 w 578"/>
                <a:gd name="T81" fmla="*/ 40 h 571"/>
                <a:gd name="T82" fmla="*/ 82 w 578"/>
                <a:gd name="T83" fmla="*/ 61 h 571"/>
                <a:gd name="T84" fmla="*/ 89 w 578"/>
                <a:gd name="T85" fmla="*/ 65 h 571"/>
                <a:gd name="T86" fmla="*/ 91 w 578"/>
                <a:gd name="T87" fmla="*/ 65 h 571"/>
                <a:gd name="T88" fmla="*/ 77 w 578"/>
                <a:gd name="T89" fmla="*/ 69 h 571"/>
                <a:gd name="T90" fmla="*/ 56 w 578"/>
                <a:gd name="T91" fmla="*/ 66 h 571"/>
                <a:gd name="T92" fmla="*/ 53 w 578"/>
                <a:gd name="T93" fmla="*/ 64 h 571"/>
                <a:gd name="T94" fmla="*/ 16 w 578"/>
                <a:gd name="T95" fmla="*/ 63 h 571"/>
                <a:gd name="T96" fmla="*/ 14 w 578"/>
                <a:gd name="T97" fmla="*/ 62 h 571"/>
                <a:gd name="T98" fmla="*/ 7 w 578"/>
                <a:gd name="T99" fmla="*/ 62 h 571"/>
                <a:gd name="T100" fmla="*/ 5 w 578"/>
                <a:gd name="T101" fmla="*/ 63 h 571"/>
                <a:gd name="T102" fmla="*/ 1 w 578"/>
                <a:gd name="T103" fmla="*/ 64 h 571"/>
                <a:gd name="T104" fmla="*/ 1 w 578"/>
                <a:gd name="T105" fmla="*/ 61 h 5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71"/>
                <a:gd name="T161" fmla="*/ 578 w 578"/>
                <a:gd name="T162" fmla="*/ 571 h 5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71">
                  <a:moveTo>
                    <a:pt x="5" y="496"/>
                  </a:moveTo>
                  <a:lnTo>
                    <a:pt x="6" y="470"/>
                  </a:lnTo>
                  <a:lnTo>
                    <a:pt x="12" y="462"/>
                  </a:lnTo>
                  <a:lnTo>
                    <a:pt x="36" y="375"/>
                  </a:lnTo>
                  <a:lnTo>
                    <a:pt x="36" y="368"/>
                  </a:lnTo>
                  <a:lnTo>
                    <a:pt x="39" y="364"/>
                  </a:lnTo>
                  <a:lnTo>
                    <a:pt x="40" y="359"/>
                  </a:lnTo>
                  <a:lnTo>
                    <a:pt x="45" y="347"/>
                  </a:lnTo>
                  <a:lnTo>
                    <a:pt x="57" y="335"/>
                  </a:lnTo>
                  <a:lnTo>
                    <a:pt x="58" y="324"/>
                  </a:lnTo>
                  <a:lnTo>
                    <a:pt x="76" y="317"/>
                  </a:lnTo>
                  <a:lnTo>
                    <a:pt x="90" y="297"/>
                  </a:lnTo>
                  <a:lnTo>
                    <a:pt x="97" y="240"/>
                  </a:lnTo>
                  <a:lnTo>
                    <a:pt x="102" y="234"/>
                  </a:lnTo>
                  <a:lnTo>
                    <a:pt x="97" y="219"/>
                  </a:lnTo>
                  <a:lnTo>
                    <a:pt x="87" y="210"/>
                  </a:lnTo>
                  <a:lnTo>
                    <a:pt x="83" y="200"/>
                  </a:lnTo>
                  <a:lnTo>
                    <a:pt x="79" y="194"/>
                  </a:lnTo>
                  <a:lnTo>
                    <a:pt x="69" y="156"/>
                  </a:lnTo>
                  <a:lnTo>
                    <a:pt x="69" y="150"/>
                  </a:lnTo>
                  <a:lnTo>
                    <a:pt x="79" y="138"/>
                  </a:lnTo>
                  <a:lnTo>
                    <a:pt x="79" y="124"/>
                  </a:lnTo>
                  <a:lnTo>
                    <a:pt x="76" y="113"/>
                  </a:lnTo>
                  <a:lnTo>
                    <a:pt x="70" y="104"/>
                  </a:lnTo>
                  <a:lnTo>
                    <a:pt x="56" y="57"/>
                  </a:lnTo>
                  <a:lnTo>
                    <a:pt x="32" y="23"/>
                  </a:lnTo>
                  <a:lnTo>
                    <a:pt x="34" y="21"/>
                  </a:lnTo>
                  <a:lnTo>
                    <a:pt x="35" y="18"/>
                  </a:lnTo>
                  <a:lnTo>
                    <a:pt x="78" y="1"/>
                  </a:lnTo>
                  <a:lnTo>
                    <a:pt x="128" y="0"/>
                  </a:lnTo>
                  <a:lnTo>
                    <a:pt x="135" y="1"/>
                  </a:lnTo>
                  <a:lnTo>
                    <a:pt x="213" y="0"/>
                  </a:lnTo>
                  <a:lnTo>
                    <a:pt x="215" y="1"/>
                  </a:lnTo>
                  <a:lnTo>
                    <a:pt x="219" y="7"/>
                  </a:lnTo>
                  <a:lnTo>
                    <a:pt x="222" y="7"/>
                  </a:lnTo>
                  <a:lnTo>
                    <a:pt x="226" y="6"/>
                  </a:lnTo>
                  <a:lnTo>
                    <a:pt x="245" y="68"/>
                  </a:lnTo>
                  <a:lnTo>
                    <a:pt x="273" y="102"/>
                  </a:lnTo>
                  <a:lnTo>
                    <a:pt x="284" y="106"/>
                  </a:lnTo>
                  <a:lnTo>
                    <a:pt x="295" y="106"/>
                  </a:lnTo>
                  <a:lnTo>
                    <a:pt x="323" y="98"/>
                  </a:lnTo>
                  <a:lnTo>
                    <a:pt x="353" y="99"/>
                  </a:lnTo>
                  <a:lnTo>
                    <a:pt x="357" y="81"/>
                  </a:lnTo>
                  <a:lnTo>
                    <a:pt x="360" y="77"/>
                  </a:lnTo>
                  <a:lnTo>
                    <a:pt x="365" y="54"/>
                  </a:lnTo>
                  <a:lnTo>
                    <a:pt x="401" y="54"/>
                  </a:lnTo>
                  <a:lnTo>
                    <a:pt x="402" y="49"/>
                  </a:lnTo>
                  <a:lnTo>
                    <a:pt x="422" y="49"/>
                  </a:lnTo>
                  <a:lnTo>
                    <a:pt x="421" y="67"/>
                  </a:lnTo>
                  <a:lnTo>
                    <a:pt x="462" y="68"/>
                  </a:lnTo>
                  <a:lnTo>
                    <a:pt x="466" y="78"/>
                  </a:lnTo>
                  <a:lnTo>
                    <a:pt x="472" y="142"/>
                  </a:lnTo>
                  <a:lnTo>
                    <a:pt x="469" y="156"/>
                  </a:lnTo>
                  <a:lnTo>
                    <a:pt x="471" y="174"/>
                  </a:lnTo>
                  <a:lnTo>
                    <a:pt x="490" y="218"/>
                  </a:lnTo>
                  <a:lnTo>
                    <a:pt x="489" y="224"/>
                  </a:lnTo>
                  <a:lnTo>
                    <a:pt x="475" y="239"/>
                  </a:lnTo>
                  <a:lnTo>
                    <a:pt x="475" y="242"/>
                  </a:lnTo>
                  <a:lnTo>
                    <a:pt x="476" y="244"/>
                  </a:lnTo>
                  <a:lnTo>
                    <a:pt x="477" y="245"/>
                  </a:lnTo>
                  <a:lnTo>
                    <a:pt x="481" y="246"/>
                  </a:lnTo>
                  <a:lnTo>
                    <a:pt x="486" y="252"/>
                  </a:lnTo>
                  <a:lnTo>
                    <a:pt x="491" y="253"/>
                  </a:lnTo>
                  <a:lnTo>
                    <a:pt x="493" y="252"/>
                  </a:lnTo>
                  <a:lnTo>
                    <a:pt x="497" y="240"/>
                  </a:lnTo>
                  <a:lnTo>
                    <a:pt x="501" y="238"/>
                  </a:lnTo>
                  <a:lnTo>
                    <a:pt x="543" y="238"/>
                  </a:lnTo>
                  <a:lnTo>
                    <a:pt x="553" y="235"/>
                  </a:lnTo>
                  <a:lnTo>
                    <a:pt x="559" y="237"/>
                  </a:lnTo>
                  <a:lnTo>
                    <a:pt x="562" y="237"/>
                  </a:lnTo>
                  <a:lnTo>
                    <a:pt x="569" y="231"/>
                  </a:lnTo>
                  <a:lnTo>
                    <a:pt x="571" y="231"/>
                  </a:lnTo>
                  <a:lnTo>
                    <a:pt x="573" y="234"/>
                  </a:lnTo>
                  <a:lnTo>
                    <a:pt x="574" y="237"/>
                  </a:lnTo>
                  <a:lnTo>
                    <a:pt x="572" y="238"/>
                  </a:lnTo>
                  <a:lnTo>
                    <a:pt x="571" y="240"/>
                  </a:lnTo>
                  <a:lnTo>
                    <a:pt x="573" y="249"/>
                  </a:lnTo>
                  <a:lnTo>
                    <a:pt x="566" y="322"/>
                  </a:lnTo>
                  <a:lnTo>
                    <a:pt x="568" y="325"/>
                  </a:lnTo>
                  <a:lnTo>
                    <a:pt x="571" y="328"/>
                  </a:lnTo>
                  <a:lnTo>
                    <a:pt x="578" y="331"/>
                  </a:lnTo>
                  <a:lnTo>
                    <a:pt x="479" y="331"/>
                  </a:lnTo>
                  <a:lnTo>
                    <a:pt x="479" y="501"/>
                  </a:lnTo>
                  <a:lnTo>
                    <a:pt x="484" y="506"/>
                  </a:lnTo>
                  <a:lnTo>
                    <a:pt x="488" y="512"/>
                  </a:lnTo>
                  <a:lnTo>
                    <a:pt x="523" y="540"/>
                  </a:lnTo>
                  <a:lnTo>
                    <a:pt x="527" y="545"/>
                  </a:lnTo>
                  <a:lnTo>
                    <a:pt x="533" y="548"/>
                  </a:lnTo>
                  <a:lnTo>
                    <a:pt x="531" y="550"/>
                  </a:lnTo>
                  <a:lnTo>
                    <a:pt x="451" y="571"/>
                  </a:lnTo>
                  <a:lnTo>
                    <a:pt x="448" y="568"/>
                  </a:lnTo>
                  <a:lnTo>
                    <a:pt x="327" y="553"/>
                  </a:lnTo>
                  <a:lnTo>
                    <a:pt x="320" y="546"/>
                  </a:lnTo>
                  <a:lnTo>
                    <a:pt x="308" y="536"/>
                  </a:lnTo>
                  <a:lnTo>
                    <a:pt x="105" y="538"/>
                  </a:lnTo>
                  <a:lnTo>
                    <a:pt x="93" y="527"/>
                  </a:lnTo>
                  <a:lnTo>
                    <a:pt x="83" y="523"/>
                  </a:lnTo>
                  <a:lnTo>
                    <a:pt x="79" y="516"/>
                  </a:lnTo>
                  <a:lnTo>
                    <a:pt x="51" y="515"/>
                  </a:lnTo>
                  <a:lnTo>
                    <a:pt x="44" y="518"/>
                  </a:lnTo>
                  <a:lnTo>
                    <a:pt x="35" y="526"/>
                  </a:lnTo>
                  <a:lnTo>
                    <a:pt x="29" y="528"/>
                  </a:lnTo>
                  <a:lnTo>
                    <a:pt x="21" y="523"/>
                  </a:lnTo>
                  <a:lnTo>
                    <a:pt x="3" y="536"/>
                  </a:lnTo>
                  <a:lnTo>
                    <a:pt x="0" y="504"/>
                  </a:lnTo>
                  <a:lnTo>
                    <a:pt x="5" y="506"/>
                  </a:lnTo>
                  <a:lnTo>
                    <a:pt x="5" y="49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6" name="Freeform 154"/>
            <p:cNvSpPr>
              <a:spLocks/>
            </p:cNvSpPr>
            <p:nvPr/>
          </p:nvSpPr>
          <p:spPr bwMode="auto">
            <a:xfrm>
              <a:off x="3901225" y="3453289"/>
              <a:ext cx="696638" cy="567741"/>
            </a:xfrm>
            <a:custGeom>
              <a:avLst/>
              <a:gdLst>
                <a:gd name="T0" fmla="*/ 1 w 578"/>
                <a:gd name="T1" fmla="*/ 56 h 571"/>
                <a:gd name="T2" fmla="*/ 6 w 578"/>
                <a:gd name="T3" fmla="*/ 45 h 571"/>
                <a:gd name="T4" fmla="*/ 7 w 578"/>
                <a:gd name="T5" fmla="*/ 43 h 571"/>
                <a:gd name="T6" fmla="*/ 8 w 578"/>
                <a:gd name="T7" fmla="*/ 42 h 571"/>
                <a:gd name="T8" fmla="*/ 10 w 578"/>
                <a:gd name="T9" fmla="*/ 39 h 571"/>
                <a:gd name="T10" fmla="*/ 15 w 578"/>
                <a:gd name="T11" fmla="*/ 35 h 571"/>
                <a:gd name="T12" fmla="*/ 17 w 578"/>
                <a:gd name="T13" fmla="*/ 28 h 571"/>
                <a:gd name="T14" fmla="*/ 15 w 578"/>
                <a:gd name="T15" fmla="*/ 25 h 571"/>
                <a:gd name="T16" fmla="*/ 14 w 578"/>
                <a:gd name="T17" fmla="*/ 23 h 571"/>
                <a:gd name="T18" fmla="*/ 12 w 578"/>
                <a:gd name="T19" fmla="*/ 18 h 571"/>
                <a:gd name="T20" fmla="*/ 14 w 578"/>
                <a:gd name="T21" fmla="*/ 14 h 571"/>
                <a:gd name="T22" fmla="*/ 12 w 578"/>
                <a:gd name="T23" fmla="*/ 12 h 571"/>
                <a:gd name="T24" fmla="*/ 5 w 578"/>
                <a:gd name="T25" fmla="*/ 3 h 571"/>
                <a:gd name="T26" fmla="*/ 6 w 578"/>
                <a:gd name="T27" fmla="*/ 2 h 571"/>
                <a:gd name="T28" fmla="*/ 22 w 578"/>
                <a:gd name="T29" fmla="*/ 0 h 571"/>
                <a:gd name="T30" fmla="*/ 36 w 578"/>
                <a:gd name="T31" fmla="*/ 0 h 571"/>
                <a:gd name="T32" fmla="*/ 37 w 578"/>
                <a:gd name="T33" fmla="*/ 1 h 571"/>
                <a:gd name="T34" fmla="*/ 39 w 578"/>
                <a:gd name="T35" fmla="*/ 1 h 571"/>
                <a:gd name="T36" fmla="*/ 46 w 578"/>
                <a:gd name="T37" fmla="*/ 12 h 571"/>
                <a:gd name="T38" fmla="*/ 50 w 578"/>
                <a:gd name="T39" fmla="*/ 13 h 571"/>
                <a:gd name="T40" fmla="*/ 60 w 578"/>
                <a:gd name="T41" fmla="*/ 12 h 571"/>
                <a:gd name="T42" fmla="*/ 61 w 578"/>
                <a:gd name="T43" fmla="*/ 9 h 571"/>
                <a:gd name="T44" fmla="*/ 68 w 578"/>
                <a:gd name="T45" fmla="*/ 6 h 571"/>
                <a:gd name="T46" fmla="*/ 72 w 578"/>
                <a:gd name="T47" fmla="*/ 6 h 571"/>
                <a:gd name="T48" fmla="*/ 79 w 578"/>
                <a:gd name="T49" fmla="*/ 8 h 571"/>
                <a:gd name="T50" fmla="*/ 80 w 578"/>
                <a:gd name="T51" fmla="*/ 17 h 571"/>
                <a:gd name="T52" fmla="*/ 80 w 578"/>
                <a:gd name="T53" fmla="*/ 21 h 571"/>
                <a:gd name="T54" fmla="*/ 84 w 578"/>
                <a:gd name="T55" fmla="*/ 27 h 571"/>
                <a:gd name="T56" fmla="*/ 81 w 578"/>
                <a:gd name="T57" fmla="*/ 29 h 571"/>
                <a:gd name="T58" fmla="*/ 81 w 578"/>
                <a:gd name="T59" fmla="*/ 29 h 571"/>
                <a:gd name="T60" fmla="*/ 83 w 578"/>
                <a:gd name="T61" fmla="*/ 30 h 571"/>
                <a:gd name="T62" fmla="*/ 84 w 578"/>
                <a:gd name="T63" fmla="*/ 30 h 571"/>
                <a:gd name="T64" fmla="*/ 85 w 578"/>
                <a:gd name="T65" fmla="*/ 28 h 571"/>
                <a:gd name="T66" fmla="*/ 94 w 578"/>
                <a:gd name="T67" fmla="*/ 28 h 571"/>
                <a:gd name="T68" fmla="*/ 96 w 578"/>
                <a:gd name="T69" fmla="*/ 28 h 571"/>
                <a:gd name="T70" fmla="*/ 97 w 578"/>
                <a:gd name="T71" fmla="*/ 27 h 571"/>
                <a:gd name="T72" fmla="*/ 98 w 578"/>
                <a:gd name="T73" fmla="*/ 28 h 571"/>
                <a:gd name="T74" fmla="*/ 97 w 578"/>
                <a:gd name="T75" fmla="*/ 29 h 571"/>
                <a:gd name="T76" fmla="*/ 97 w 578"/>
                <a:gd name="T77" fmla="*/ 39 h 571"/>
                <a:gd name="T78" fmla="*/ 97 w 578"/>
                <a:gd name="T79" fmla="*/ 39 h 571"/>
                <a:gd name="T80" fmla="*/ 82 w 578"/>
                <a:gd name="T81" fmla="*/ 40 h 571"/>
                <a:gd name="T82" fmla="*/ 82 w 578"/>
                <a:gd name="T83" fmla="*/ 61 h 571"/>
                <a:gd name="T84" fmla="*/ 89 w 578"/>
                <a:gd name="T85" fmla="*/ 65 h 571"/>
                <a:gd name="T86" fmla="*/ 91 w 578"/>
                <a:gd name="T87" fmla="*/ 65 h 571"/>
                <a:gd name="T88" fmla="*/ 77 w 578"/>
                <a:gd name="T89" fmla="*/ 69 h 571"/>
                <a:gd name="T90" fmla="*/ 56 w 578"/>
                <a:gd name="T91" fmla="*/ 66 h 571"/>
                <a:gd name="T92" fmla="*/ 53 w 578"/>
                <a:gd name="T93" fmla="*/ 64 h 571"/>
                <a:gd name="T94" fmla="*/ 16 w 578"/>
                <a:gd name="T95" fmla="*/ 63 h 571"/>
                <a:gd name="T96" fmla="*/ 14 w 578"/>
                <a:gd name="T97" fmla="*/ 62 h 571"/>
                <a:gd name="T98" fmla="*/ 7 w 578"/>
                <a:gd name="T99" fmla="*/ 62 h 571"/>
                <a:gd name="T100" fmla="*/ 5 w 578"/>
                <a:gd name="T101" fmla="*/ 63 h 571"/>
                <a:gd name="T102" fmla="*/ 1 w 578"/>
                <a:gd name="T103" fmla="*/ 64 h 571"/>
                <a:gd name="T104" fmla="*/ 1 w 578"/>
                <a:gd name="T105" fmla="*/ 61 h 5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71"/>
                <a:gd name="T161" fmla="*/ 578 w 578"/>
                <a:gd name="T162" fmla="*/ 571 h 5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71">
                  <a:moveTo>
                    <a:pt x="5" y="496"/>
                  </a:moveTo>
                  <a:lnTo>
                    <a:pt x="6" y="470"/>
                  </a:lnTo>
                  <a:lnTo>
                    <a:pt x="12" y="462"/>
                  </a:lnTo>
                  <a:lnTo>
                    <a:pt x="36" y="375"/>
                  </a:lnTo>
                  <a:lnTo>
                    <a:pt x="36" y="368"/>
                  </a:lnTo>
                  <a:lnTo>
                    <a:pt x="39" y="364"/>
                  </a:lnTo>
                  <a:lnTo>
                    <a:pt x="40" y="359"/>
                  </a:lnTo>
                  <a:lnTo>
                    <a:pt x="45" y="347"/>
                  </a:lnTo>
                  <a:lnTo>
                    <a:pt x="57" y="335"/>
                  </a:lnTo>
                  <a:lnTo>
                    <a:pt x="58" y="324"/>
                  </a:lnTo>
                  <a:lnTo>
                    <a:pt x="76" y="317"/>
                  </a:lnTo>
                  <a:lnTo>
                    <a:pt x="90" y="297"/>
                  </a:lnTo>
                  <a:lnTo>
                    <a:pt x="97" y="240"/>
                  </a:lnTo>
                  <a:lnTo>
                    <a:pt x="102" y="234"/>
                  </a:lnTo>
                  <a:lnTo>
                    <a:pt x="97" y="219"/>
                  </a:lnTo>
                  <a:lnTo>
                    <a:pt x="87" y="210"/>
                  </a:lnTo>
                  <a:lnTo>
                    <a:pt x="83" y="200"/>
                  </a:lnTo>
                  <a:lnTo>
                    <a:pt x="79" y="194"/>
                  </a:lnTo>
                  <a:lnTo>
                    <a:pt x="69" y="156"/>
                  </a:lnTo>
                  <a:lnTo>
                    <a:pt x="69" y="150"/>
                  </a:lnTo>
                  <a:lnTo>
                    <a:pt x="79" y="138"/>
                  </a:lnTo>
                  <a:lnTo>
                    <a:pt x="79" y="124"/>
                  </a:lnTo>
                  <a:lnTo>
                    <a:pt x="76" y="113"/>
                  </a:lnTo>
                  <a:lnTo>
                    <a:pt x="70" y="104"/>
                  </a:lnTo>
                  <a:lnTo>
                    <a:pt x="56" y="57"/>
                  </a:lnTo>
                  <a:lnTo>
                    <a:pt x="32" y="23"/>
                  </a:lnTo>
                  <a:lnTo>
                    <a:pt x="34" y="21"/>
                  </a:lnTo>
                  <a:lnTo>
                    <a:pt x="35" y="18"/>
                  </a:lnTo>
                  <a:lnTo>
                    <a:pt x="78" y="1"/>
                  </a:lnTo>
                  <a:lnTo>
                    <a:pt x="128" y="0"/>
                  </a:lnTo>
                  <a:lnTo>
                    <a:pt x="135" y="1"/>
                  </a:lnTo>
                  <a:lnTo>
                    <a:pt x="213" y="0"/>
                  </a:lnTo>
                  <a:lnTo>
                    <a:pt x="215" y="1"/>
                  </a:lnTo>
                  <a:lnTo>
                    <a:pt x="219" y="7"/>
                  </a:lnTo>
                  <a:lnTo>
                    <a:pt x="222" y="7"/>
                  </a:lnTo>
                  <a:lnTo>
                    <a:pt x="226" y="6"/>
                  </a:lnTo>
                  <a:lnTo>
                    <a:pt x="245" y="68"/>
                  </a:lnTo>
                  <a:lnTo>
                    <a:pt x="273" y="102"/>
                  </a:lnTo>
                  <a:lnTo>
                    <a:pt x="284" y="106"/>
                  </a:lnTo>
                  <a:lnTo>
                    <a:pt x="295" y="106"/>
                  </a:lnTo>
                  <a:lnTo>
                    <a:pt x="323" y="98"/>
                  </a:lnTo>
                  <a:lnTo>
                    <a:pt x="353" y="99"/>
                  </a:lnTo>
                  <a:lnTo>
                    <a:pt x="357" y="81"/>
                  </a:lnTo>
                  <a:lnTo>
                    <a:pt x="360" y="77"/>
                  </a:lnTo>
                  <a:lnTo>
                    <a:pt x="365" y="54"/>
                  </a:lnTo>
                  <a:lnTo>
                    <a:pt x="401" y="54"/>
                  </a:lnTo>
                  <a:lnTo>
                    <a:pt x="402" y="49"/>
                  </a:lnTo>
                  <a:lnTo>
                    <a:pt x="422" y="49"/>
                  </a:lnTo>
                  <a:lnTo>
                    <a:pt x="421" y="67"/>
                  </a:lnTo>
                  <a:lnTo>
                    <a:pt x="462" y="68"/>
                  </a:lnTo>
                  <a:lnTo>
                    <a:pt x="466" y="78"/>
                  </a:lnTo>
                  <a:lnTo>
                    <a:pt x="472" y="142"/>
                  </a:lnTo>
                  <a:lnTo>
                    <a:pt x="469" y="156"/>
                  </a:lnTo>
                  <a:lnTo>
                    <a:pt x="471" y="174"/>
                  </a:lnTo>
                  <a:lnTo>
                    <a:pt x="490" y="218"/>
                  </a:lnTo>
                  <a:lnTo>
                    <a:pt x="489" y="224"/>
                  </a:lnTo>
                  <a:lnTo>
                    <a:pt x="475" y="239"/>
                  </a:lnTo>
                  <a:lnTo>
                    <a:pt x="475" y="242"/>
                  </a:lnTo>
                  <a:lnTo>
                    <a:pt x="476" y="244"/>
                  </a:lnTo>
                  <a:lnTo>
                    <a:pt x="477" y="245"/>
                  </a:lnTo>
                  <a:lnTo>
                    <a:pt x="481" y="246"/>
                  </a:lnTo>
                  <a:lnTo>
                    <a:pt x="486" y="252"/>
                  </a:lnTo>
                  <a:lnTo>
                    <a:pt x="491" y="253"/>
                  </a:lnTo>
                  <a:lnTo>
                    <a:pt x="493" y="252"/>
                  </a:lnTo>
                  <a:lnTo>
                    <a:pt x="497" y="240"/>
                  </a:lnTo>
                  <a:lnTo>
                    <a:pt x="501" y="238"/>
                  </a:lnTo>
                  <a:lnTo>
                    <a:pt x="543" y="238"/>
                  </a:lnTo>
                  <a:lnTo>
                    <a:pt x="553" y="235"/>
                  </a:lnTo>
                  <a:lnTo>
                    <a:pt x="559" y="237"/>
                  </a:lnTo>
                  <a:lnTo>
                    <a:pt x="562" y="237"/>
                  </a:lnTo>
                  <a:lnTo>
                    <a:pt x="569" y="231"/>
                  </a:lnTo>
                  <a:lnTo>
                    <a:pt x="571" y="231"/>
                  </a:lnTo>
                  <a:lnTo>
                    <a:pt x="573" y="234"/>
                  </a:lnTo>
                  <a:lnTo>
                    <a:pt x="574" y="237"/>
                  </a:lnTo>
                  <a:lnTo>
                    <a:pt x="572" y="238"/>
                  </a:lnTo>
                  <a:lnTo>
                    <a:pt x="571" y="240"/>
                  </a:lnTo>
                  <a:lnTo>
                    <a:pt x="573" y="249"/>
                  </a:lnTo>
                  <a:lnTo>
                    <a:pt x="566" y="322"/>
                  </a:lnTo>
                  <a:lnTo>
                    <a:pt x="568" y="325"/>
                  </a:lnTo>
                  <a:lnTo>
                    <a:pt x="571" y="328"/>
                  </a:lnTo>
                  <a:lnTo>
                    <a:pt x="578" y="331"/>
                  </a:lnTo>
                  <a:lnTo>
                    <a:pt x="479" y="331"/>
                  </a:lnTo>
                  <a:lnTo>
                    <a:pt x="479" y="501"/>
                  </a:lnTo>
                  <a:lnTo>
                    <a:pt x="484" y="506"/>
                  </a:lnTo>
                  <a:lnTo>
                    <a:pt x="488" y="512"/>
                  </a:lnTo>
                  <a:lnTo>
                    <a:pt x="523" y="540"/>
                  </a:lnTo>
                  <a:lnTo>
                    <a:pt x="527" y="545"/>
                  </a:lnTo>
                  <a:lnTo>
                    <a:pt x="533" y="548"/>
                  </a:lnTo>
                  <a:lnTo>
                    <a:pt x="531" y="550"/>
                  </a:lnTo>
                  <a:lnTo>
                    <a:pt x="451" y="571"/>
                  </a:lnTo>
                  <a:lnTo>
                    <a:pt x="448" y="568"/>
                  </a:lnTo>
                  <a:lnTo>
                    <a:pt x="327" y="553"/>
                  </a:lnTo>
                  <a:lnTo>
                    <a:pt x="320" y="546"/>
                  </a:lnTo>
                  <a:lnTo>
                    <a:pt x="308" y="536"/>
                  </a:lnTo>
                  <a:lnTo>
                    <a:pt x="105" y="538"/>
                  </a:lnTo>
                  <a:lnTo>
                    <a:pt x="93" y="527"/>
                  </a:lnTo>
                  <a:lnTo>
                    <a:pt x="83" y="523"/>
                  </a:lnTo>
                  <a:lnTo>
                    <a:pt x="79" y="516"/>
                  </a:lnTo>
                  <a:lnTo>
                    <a:pt x="51" y="515"/>
                  </a:lnTo>
                  <a:lnTo>
                    <a:pt x="44" y="518"/>
                  </a:lnTo>
                  <a:lnTo>
                    <a:pt x="35" y="526"/>
                  </a:lnTo>
                  <a:lnTo>
                    <a:pt x="29" y="528"/>
                  </a:lnTo>
                  <a:lnTo>
                    <a:pt x="21" y="523"/>
                  </a:lnTo>
                  <a:lnTo>
                    <a:pt x="3" y="536"/>
                  </a:lnTo>
                  <a:lnTo>
                    <a:pt x="0" y="504"/>
                  </a:lnTo>
                  <a:lnTo>
                    <a:pt x="5" y="506"/>
                  </a:lnTo>
                  <a:lnTo>
                    <a:pt x="5" y="49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7" name="Freeform 155"/>
            <p:cNvSpPr>
              <a:spLocks/>
            </p:cNvSpPr>
            <p:nvPr/>
          </p:nvSpPr>
          <p:spPr bwMode="auto">
            <a:xfrm>
              <a:off x="3923567" y="3388352"/>
              <a:ext cx="52806" cy="68649"/>
            </a:xfrm>
            <a:custGeom>
              <a:avLst/>
              <a:gdLst>
                <a:gd name="T0" fmla="*/ 6 w 46"/>
                <a:gd name="T1" fmla="*/ 2 h 66"/>
                <a:gd name="T2" fmla="*/ 6 w 46"/>
                <a:gd name="T3" fmla="*/ 1 h 66"/>
                <a:gd name="T4" fmla="*/ 5 w 46"/>
                <a:gd name="T5" fmla="*/ 0 h 66"/>
                <a:gd name="T6" fmla="*/ 3 w 46"/>
                <a:gd name="T7" fmla="*/ 1 h 66"/>
                <a:gd name="T8" fmla="*/ 3 w 46"/>
                <a:gd name="T9" fmla="*/ 2 h 66"/>
                <a:gd name="T10" fmla="*/ 0 w 46"/>
                <a:gd name="T11" fmla="*/ 4 h 66"/>
                <a:gd name="T12" fmla="*/ 1 w 46"/>
                <a:gd name="T13" fmla="*/ 5 h 66"/>
                <a:gd name="T14" fmla="*/ 1 w 46"/>
                <a:gd name="T15" fmla="*/ 8 h 66"/>
                <a:gd name="T16" fmla="*/ 2 w 46"/>
                <a:gd name="T17" fmla="*/ 10 h 66"/>
                <a:gd name="T18" fmla="*/ 3 w 46"/>
                <a:gd name="T19" fmla="*/ 9 h 66"/>
                <a:gd name="T20" fmla="*/ 4 w 46"/>
                <a:gd name="T21" fmla="*/ 4 h 66"/>
                <a:gd name="T22" fmla="*/ 6 w 46"/>
                <a:gd name="T23" fmla="*/ 2 h 66"/>
                <a:gd name="T24" fmla="*/ 6 w 46"/>
                <a:gd name="T25" fmla="*/ 2 h 6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66"/>
                <a:gd name="T41" fmla="*/ 46 w 46"/>
                <a:gd name="T42" fmla="*/ 66 h 6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66">
                  <a:moveTo>
                    <a:pt x="46" y="12"/>
                  </a:moveTo>
                  <a:lnTo>
                    <a:pt x="42" y="3"/>
                  </a:lnTo>
                  <a:lnTo>
                    <a:pt x="35" y="0"/>
                  </a:lnTo>
                  <a:lnTo>
                    <a:pt x="26" y="5"/>
                  </a:lnTo>
                  <a:lnTo>
                    <a:pt x="21" y="17"/>
                  </a:lnTo>
                  <a:lnTo>
                    <a:pt x="0" y="30"/>
                  </a:lnTo>
                  <a:lnTo>
                    <a:pt x="5" y="35"/>
                  </a:lnTo>
                  <a:lnTo>
                    <a:pt x="8" y="60"/>
                  </a:lnTo>
                  <a:lnTo>
                    <a:pt x="14" y="66"/>
                  </a:lnTo>
                  <a:lnTo>
                    <a:pt x="23" y="62"/>
                  </a:lnTo>
                  <a:lnTo>
                    <a:pt x="29" y="27"/>
                  </a:lnTo>
                  <a:lnTo>
                    <a:pt x="43" y="13"/>
                  </a:lnTo>
                  <a:lnTo>
                    <a:pt x="46" y="1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8" name="Freeform 156"/>
            <p:cNvSpPr>
              <a:spLocks/>
            </p:cNvSpPr>
            <p:nvPr/>
          </p:nvSpPr>
          <p:spPr bwMode="auto">
            <a:xfrm>
              <a:off x="4171352" y="4213987"/>
              <a:ext cx="897709" cy="660509"/>
            </a:xfrm>
            <a:custGeom>
              <a:avLst/>
              <a:gdLst>
                <a:gd name="T0" fmla="*/ 26 w 752"/>
                <a:gd name="T1" fmla="*/ 40 h 661"/>
                <a:gd name="T2" fmla="*/ 20 w 752"/>
                <a:gd name="T3" fmla="*/ 43 h 661"/>
                <a:gd name="T4" fmla="*/ 12 w 752"/>
                <a:gd name="T5" fmla="*/ 43 h 661"/>
                <a:gd name="T6" fmla="*/ 8 w 752"/>
                <a:gd name="T7" fmla="*/ 42 h 661"/>
                <a:gd name="T8" fmla="*/ 5 w 752"/>
                <a:gd name="T9" fmla="*/ 39 h 661"/>
                <a:gd name="T10" fmla="*/ 1 w 752"/>
                <a:gd name="T11" fmla="*/ 40 h 661"/>
                <a:gd name="T12" fmla="*/ 0 w 752"/>
                <a:gd name="T13" fmla="*/ 41 h 661"/>
                <a:gd name="T14" fmla="*/ 1 w 752"/>
                <a:gd name="T15" fmla="*/ 42 h 661"/>
                <a:gd name="T16" fmla="*/ 14 w 752"/>
                <a:gd name="T17" fmla="*/ 62 h 661"/>
                <a:gd name="T18" fmla="*/ 12 w 752"/>
                <a:gd name="T19" fmla="*/ 68 h 661"/>
                <a:gd name="T20" fmla="*/ 11 w 752"/>
                <a:gd name="T21" fmla="*/ 68 h 661"/>
                <a:gd name="T22" fmla="*/ 11 w 752"/>
                <a:gd name="T23" fmla="*/ 69 h 661"/>
                <a:gd name="T24" fmla="*/ 12 w 752"/>
                <a:gd name="T25" fmla="*/ 71 h 661"/>
                <a:gd name="T26" fmla="*/ 12 w 752"/>
                <a:gd name="T27" fmla="*/ 72 h 661"/>
                <a:gd name="T28" fmla="*/ 15 w 752"/>
                <a:gd name="T29" fmla="*/ 74 h 661"/>
                <a:gd name="T30" fmla="*/ 15 w 752"/>
                <a:gd name="T31" fmla="*/ 76 h 661"/>
                <a:gd name="T32" fmla="*/ 15 w 752"/>
                <a:gd name="T33" fmla="*/ 79 h 661"/>
                <a:gd name="T34" fmla="*/ 15 w 752"/>
                <a:gd name="T35" fmla="*/ 77 h 661"/>
                <a:gd name="T36" fmla="*/ 18 w 752"/>
                <a:gd name="T37" fmla="*/ 76 h 661"/>
                <a:gd name="T38" fmla="*/ 18 w 752"/>
                <a:gd name="T39" fmla="*/ 79 h 661"/>
                <a:gd name="T40" fmla="*/ 21 w 752"/>
                <a:gd name="T41" fmla="*/ 79 h 661"/>
                <a:gd name="T42" fmla="*/ 21 w 752"/>
                <a:gd name="T43" fmla="*/ 80 h 661"/>
                <a:gd name="T44" fmla="*/ 24 w 752"/>
                <a:gd name="T45" fmla="*/ 80 h 661"/>
                <a:gd name="T46" fmla="*/ 27 w 752"/>
                <a:gd name="T47" fmla="*/ 81 h 661"/>
                <a:gd name="T48" fmla="*/ 30 w 752"/>
                <a:gd name="T49" fmla="*/ 80 h 661"/>
                <a:gd name="T50" fmla="*/ 33 w 752"/>
                <a:gd name="T51" fmla="*/ 79 h 661"/>
                <a:gd name="T52" fmla="*/ 36 w 752"/>
                <a:gd name="T53" fmla="*/ 79 h 661"/>
                <a:gd name="T54" fmla="*/ 40 w 752"/>
                <a:gd name="T55" fmla="*/ 79 h 661"/>
                <a:gd name="T56" fmla="*/ 41 w 752"/>
                <a:gd name="T57" fmla="*/ 78 h 661"/>
                <a:gd name="T58" fmla="*/ 43 w 752"/>
                <a:gd name="T59" fmla="*/ 76 h 661"/>
                <a:gd name="T60" fmla="*/ 51 w 752"/>
                <a:gd name="T61" fmla="*/ 77 h 661"/>
                <a:gd name="T62" fmla="*/ 52 w 752"/>
                <a:gd name="T63" fmla="*/ 76 h 661"/>
                <a:gd name="T64" fmla="*/ 63 w 752"/>
                <a:gd name="T65" fmla="*/ 78 h 661"/>
                <a:gd name="T66" fmla="*/ 66 w 752"/>
                <a:gd name="T67" fmla="*/ 76 h 661"/>
                <a:gd name="T68" fmla="*/ 70 w 752"/>
                <a:gd name="T69" fmla="*/ 76 h 661"/>
                <a:gd name="T70" fmla="*/ 71 w 752"/>
                <a:gd name="T71" fmla="*/ 74 h 661"/>
                <a:gd name="T72" fmla="*/ 115 w 752"/>
                <a:gd name="T73" fmla="*/ 43 h 661"/>
                <a:gd name="T74" fmla="*/ 119 w 752"/>
                <a:gd name="T75" fmla="*/ 41 h 661"/>
                <a:gd name="T76" fmla="*/ 124 w 752"/>
                <a:gd name="T77" fmla="*/ 29 h 661"/>
                <a:gd name="T78" fmla="*/ 117 w 752"/>
                <a:gd name="T79" fmla="*/ 29 h 661"/>
                <a:gd name="T80" fmla="*/ 115 w 752"/>
                <a:gd name="T81" fmla="*/ 32 h 661"/>
                <a:gd name="T82" fmla="*/ 109 w 752"/>
                <a:gd name="T83" fmla="*/ 28 h 661"/>
                <a:gd name="T84" fmla="*/ 113 w 752"/>
                <a:gd name="T85" fmla="*/ 22 h 661"/>
                <a:gd name="T86" fmla="*/ 118 w 752"/>
                <a:gd name="T87" fmla="*/ 23 h 661"/>
                <a:gd name="T88" fmla="*/ 114 w 752"/>
                <a:gd name="T89" fmla="*/ 3 h 661"/>
                <a:gd name="T90" fmla="*/ 111 w 752"/>
                <a:gd name="T91" fmla="*/ 2 h 661"/>
                <a:gd name="T92" fmla="*/ 105 w 752"/>
                <a:gd name="T93" fmla="*/ 1 h 661"/>
                <a:gd name="T94" fmla="*/ 98 w 752"/>
                <a:gd name="T95" fmla="*/ 1 h 661"/>
                <a:gd name="T96" fmla="*/ 88 w 752"/>
                <a:gd name="T97" fmla="*/ 4 h 661"/>
                <a:gd name="T98" fmla="*/ 77 w 752"/>
                <a:gd name="T99" fmla="*/ 13 h 661"/>
                <a:gd name="T100" fmla="*/ 71 w 752"/>
                <a:gd name="T101" fmla="*/ 17 h 661"/>
                <a:gd name="T102" fmla="*/ 68 w 752"/>
                <a:gd name="T103" fmla="*/ 21 h 661"/>
                <a:gd name="T104" fmla="*/ 61 w 752"/>
                <a:gd name="T105" fmla="*/ 22 h 661"/>
                <a:gd name="T106" fmla="*/ 53 w 752"/>
                <a:gd name="T107" fmla="*/ 20 h 661"/>
                <a:gd name="T108" fmla="*/ 46 w 752"/>
                <a:gd name="T109" fmla="*/ 25 h 661"/>
                <a:gd name="T110" fmla="*/ 43 w 752"/>
                <a:gd name="T111" fmla="*/ 28 h 661"/>
                <a:gd name="T112" fmla="*/ 32 w 752"/>
                <a:gd name="T113" fmla="*/ 29 h 661"/>
                <a:gd name="T114" fmla="*/ 33 w 752"/>
                <a:gd name="T115" fmla="*/ 24 h 661"/>
                <a:gd name="T116" fmla="*/ 26 w 752"/>
                <a:gd name="T117" fmla="*/ 17 h 6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52"/>
                <a:gd name="T178" fmla="*/ 0 h 661"/>
                <a:gd name="T179" fmla="*/ 752 w 752"/>
                <a:gd name="T180" fmla="*/ 661 h 6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52" h="661">
                  <a:moveTo>
                    <a:pt x="157" y="134"/>
                  </a:moveTo>
                  <a:lnTo>
                    <a:pt x="157" y="327"/>
                  </a:lnTo>
                  <a:lnTo>
                    <a:pt x="144" y="332"/>
                  </a:lnTo>
                  <a:lnTo>
                    <a:pt x="119" y="353"/>
                  </a:lnTo>
                  <a:lnTo>
                    <a:pt x="85" y="350"/>
                  </a:lnTo>
                  <a:lnTo>
                    <a:pt x="73" y="354"/>
                  </a:lnTo>
                  <a:lnTo>
                    <a:pt x="59" y="353"/>
                  </a:lnTo>
                  <a:lnTo>
                    <a:pt x="50" y="341"/>
                  </a:lnTo>
                  <a:lnTo>
                    <a:pt x="50" y="331"/>
                  </a:lnTo>
                  <a:lnTo>
                    <a:pt x="28" y="316"/>
                  </a:lnTo>
                  <a:lnTo>
                    <a:pt x="18" y="317"/>
                  </a:lnTo>
                  <a:lnTo>
                    <a:pt x="9" y="333"/>
                  </a:lnTo>
                  <a:lnTo>
                    <a:pt x="6" y="335"/>
                  </a:lnTo>
                  <a:lnTo>
                    <a:pt x="0" y="335"/>
                  </a:lnTo>
                  <a:lnTo>
                    <a:pt x="3" y="338"/>
                  </a:lnTo>
                  <a:lnTo>
                    <a:pt x="2" y="344"/>
                  </a:lnTo>
                  <a:lnTo>
                    <a:pt x="13" y="356"/>
                  </a:lnTo>
                  <a:lnTo>
                    <a:pt x="82" y="509"/>
                  </a:lnTo>
                  <a:lnTo>
                    <a:pt x="84" y="543"/>
                  </a:lnTo>
                  <a:lnTo>
                    <a:pt x="77" y="556"/>
                  </a:lnTo>
                  <a:lnTo>
                    <a:pt x="66" y="552"/>
                  </a:lnTo>
                  <a:lnTo>
                    <a:pt x="64" y="557"/>
                  </a:lnTo>
                  <a:lnTo>
                    <a:pt x="63" y="566"/>
                  </a:lnTo>
                  <a:lnTo>
                    <a:pt x="65" y="566"/>
                  </a:lnTo>
                  <a:lnTo>
                    <a:pt x="72" y="572"/>
                  </a:lnTo>
                  <a:lnTo>
                    <a:pt x="74" y="577"/>
                  </a:lnTo>
                  <a:lnTo>
                    <a:pt x="71" y="578"/>
                  </a:lnTo>
                  <a:lnTo>
                    <a:pt x="76" y="586"/>
                  </a:lnTo>
                  <a:lnTo>
                    <a:pt x="79" y="589"/>
                  </a:lnTo>
                  <a:lnTo>
                    <a:pt x="90" y="607"/>
                  </a:lnTo>
                  <a:lnTo>
                    <a:pt x="91" y="614"/>
                  </a:lnTo>
                  <a:lnTo>
                    <a:pt x="87" y="620"/>
                  </a:lnTo>
                  <a:lnTo>
                    <a:pt x="87" y="636"/>
                  </a:lnTo>
                  <a:lnTo>
                    <a:pt x="92" y="643"/>
                  </a:lnTo>
                  <a:lnTo>
                    <a:pt x="93" y="642"/>
                  </a:lnTo>
                  <a:lnTo>
                    <a:pt x="92" y="630"/>
                  </a:lnTo>
                  <a:lnTo>
                    <a:pt x="94" y="627"/>
                  </a:lnTo>
                  <a:lnTo>
                    <a:pt x="108" y="627"/>
                  </a:lnTo>
                  <a:lnTo>
                    <a:pt x="109" y="638"/>
                  </a:lnTo>
                  <a:lnTo>
                    <a:pt x="108" y="643"/>
                  </a:lnTo>
                  <a:lnTo>
                    <a:pt x="112" y="645"/>
                  </a:lnTo>
                  <a:lnTo>
                    <a:pt x="127" y="644"/>
                  </a:lnTo>
                  <a:lnTo>
                    <a:pt x="130" y="648"/>
                  </a:lnTo>
                  <a:lnTo>
                    <a:pt x="130" y="654"/>
                  </a:lnTo>
                  <a:lnTo>
                    <a:pt x="140" y="659"/>
                  </a:lnTo>
                  <a:lnTo>
                    <a:pt x="147" y="659"/>
                  </a:lnTo>
                  <a:lnTo>
                    <a:pt x="154" y="661"/>
                  </a:lnTo>
                  <a:lnTo>
                    <a:pt x="163" y="661"/>
                  </a:lnTo>
                  <a:lnTo>
                    <a:pt x="172" y="659"/>
                  </a:lnTo>
                  <a:lnTo>
                    <a:pt x="180" y="649"/>
                  </a:lnTo>
                  <a:lnTo>
                    <a:pt x="194" y="648"/>
                  </a:lnTo>
                  <a:lnTo>
                    <a:pt x="199" y="645"/>
                  </a:lnTo>
                  <a:lnTo>
                    <a:pt x="206" y="643"/>
                  </a:lnTo>
                  <a:lnTo>
                    <a:pt x="221" y="646"/>
                  </a:lnTo>
                  <a:lnTo>
                    <a:pt x="223" y="643"/>
                  </a:lnTo>
                  <a:lnTo>
                    <a:pt x="242" y="644"/>
                  </a:lnTo>
                  <a:lnTo>
                    <a:pt x="247" y="643"/>
                  </a:lnTo>
                  <a:lnTo>
                    <a:pt x="248" y="637"/>
                  </a:lnTo>
                  <a:lnTo>
                    <a:pt x="260" y="629"/>
                  </a:lnTo>
                  <a:lnTo>
                    <a:pt x="265" y="625"/>
                  </a:lnTo>
                  <a:lnTo>
                    <a:pt x="286" y="623"/>
                  </a:lnTo>
                  <a:lnTo>
                    <a:pt x="306" y="629"/>
                  </a:lnTo>
                  <a:lnTo>
                    <a:pt x="312" y="629"/>
                  </a:lnTo>
                  <a:lnTo>
                    <a:pt x="319" y="623"/>
                  </a:lnTo>
                  <a:lnTo>
                    <a:pt x="331" y="622"/>
                  </a:lnTo>
                  <a:lnTo>
                    <a:pt x="385" y="633"/>
                  </a:lnTo>
                  <a:lnTo>
                    <a:pt x="390" y="622"/>
                  </a:lnTo>
                  <a:lnTo>
                    <a:pt x="401" y="621"/>
                  </a:lnTo>
                  <a:lnTo>
                    <a:pt x="425" y="626"/>
                  </a:lnTo>
                  <a:lnTo>
                    <a:pt x="426" y="620"/>
                  </a:lnTo>
                  <a:lnTo>
                    <a:pt x="422" y="613"/>
                  </a:lnTo>
                  <a:lnTo>
                    <a:pt x="429" y="609"/>
                  </a:lnTo>
                  <a:lnTo>
                    <a:pt x="472" y="607"/>
                  </a:lnTo>
                  <a:lnTo>
                    <a:pt x="700" y="352"/>
                  </a:lnTo>
                  <a:lnTo>
                    <a:pt x="707" y="349"/>
                  </a:lnTo>
                  <a:lnTo>
                    <a:pt x="724" y="335"/>
                  </a:lnTo>
                  <a:lnTo>
                    <a:pt x="732" y="324"/>
                  </a:lnTo>
                  <a:lnTo>
                    <a:pt x="752" y="236"/>
                  </a:lnTo>
                  <a:lnTo>
                    <a:pt x="717" y="235"/>
                  </a:lnTo>
                  <a:lnTo>
                    <a:pt x="710" y="238"/>
                  </a:lnTo>
                  <a:lnTo>
                    <a:pt x="706" y="251"/>
                  </a:lnTo>
                  <a:lnTo>
                    <a:pt x="700" y="258"/>
                  </a:lnTo>
                  <a:lnTo>
                    <a:pt x="670" y="255"/>
                  </a:lnTo>
                  <a:lnTo>
                    <a:pt x="660" y="228"/>
                  </a:lnTo>
                  <a:lnTo>
                    <a:pt x="676" y="190"/>
                  </a:lnTo>
                  <a:lnTo>
                    <a:pt x="688" y="182"/>
                  </a:lnTo>
                  <a:lnTo>
                    <a:pt x="707" y="195"/>
                  </a:lnTo>
                  <a:lnTo>
                    <a:pt x="713" y="188"/>
                  </a:lnTo>
                  <a:lnTo>
                    <a:pt x="693" y="29"/>
                  </a:lnTo>
                  <a:lnTo>
                    <a:pt x="692" y="28"/>
                  </a:lnTo>
                  <a:lnTo>
                    <a:pt x="688" y="27"/>
                  </a:lnTo>
                  <a:lnTo>
                    <a:pt x="675" y="14"/>
                  </a:lnTo>
                  <a:lnTo>
                    <a:pt x="658" y="9"/>
                  </a:lnTo>
                  <a:lnTo>
                    <a:pt x="637" y="10"/>
                  </a:lnTo>
                  <a:lnTo>
                    <a:pt x="600" y="0"/>
                  </a:lnTo>
                  <a:lnTo>
                    <a:pt x="591" y="4"/>
                  </a:lnTo>
                  <a:lnTo>
                    <a:pt x="589" y="7"/>
                  </a:lnTo>
                  <a:lnTo>
                    <a:pt x="536" y="34"/>
                  </a:lnTo>
                  <a:lnTo>
                    <a:pt x="491" y="74"/>
                  </a:lnTo>
                  <a:lnTo>
                    <a:pt x="467" y="108"/>
                  </a:lnTo>
                  <a:lnTo>
                    <a:pt x="444" y="125"/>
                  </a:lnTo>
                  <a:lnTo>
                    <a:pt x="432" y="140"/>
                  </a:lnTo>
                  <a:lnTo>
                    <a:pt x="420" y="168"/>
                  </a:lnTo>
                  <a:lnTo>
                    <a:pt x="415" y="174"/>
                  </a:lnTo>
                  <a:lnTo>
                    <a:pt x="379" y="182"/>
                  </a:lnTo>
                  <a:lnTo>
                    <a:pt x="367" y="181"/>
                  </a:lnTo>
                  <a:lnTo>
                    <a:pt x="337" y="167"/>
                  </a:lnTo>
                  <a:lnTo>
                    <a:pt x="324" y="165"/>
                  </a:lnTo>
                  <a:lnTo>
                    <a:pt x="315" y="169"/>
                  </a:lnTo>
                  <a:lnTo>
                    <a:pt x="284" y="207"/>
                  </a:lnTo>
                  <a:lnTo>
                    <a:pt x="274" y="213"/>
                  </a:lnTo>
                  <a:lnTo>
                    <a:pt x="261" y="232"/>
                  </a:lnTo>
                  <a:lnTo>
                    <a:pt x="233" y="239"/>
                  </a:lnTo>
                  <a:lnTo>
                    <a:pt x="196" y="234"/>
                  </a:lnTo>
                  <a:lnTo>
                    <a:pt x="193" y="227"/>
                  </a:lnTo>
                  <a:lnTo>
                    <a:pt x="202" y="198"/>
                  </a:lnTo>
                  <a:lnTo>
                    <a:pt x="200" y="178"/>
                  </a:lnTo>
                  <a:lnTo>
                    <a:pt x="161" y="134"/>
                  </a:lnTo>
                  <a:lnTo>
                    <a:pt x="157" y="13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49" name="Freeform 157"/>
            <p:cNvSpPr>
              <a:spLocks/>
            </p:cNvSpPr>
            <p:nvPr/>
          </p:nvSpPr>
          <p:spPr bwMode="auto">
            <a:xfrm>
              <a:off x="4171352" y="4213987"/>
              <a:ext cx="897709" cy="660509"/>
            </a:xfrm>
            <a:custGeom>
              <a:avLst/>
              <a:gdLst>
                <a:gd name="T0" fmla="*/ 26 w 752"/>
                <a:gd name="T1" fmla="*/ 40 h 661"/>
                <a:gd name="T2" fmla="*/ 20 w 752"/>
                <a:gd name="T3" fmla="*/ 43 h 661"/>
                <a:gd name="T4" fmla="*/ 12 w 752"/>
                <a:gd name="T5" fmla="*/ 43 h 661"/>
                <a:gd name="T6" fmla="*/ 8 w 752"/>
                <a:gd name="T7" fmla="*/ 42 h 661"/>
                <a:gd name="T8" fmla="*/ 5 w 752"/>
                <a:gd name="T9" fmla="*/ 39 h 661"/>
                <a:gd name="T10" fmla="*/ 1 w 752"/>
                <a:gd name="T11" fmla="*/ 40 h 661"/>
                <a:gd name="T12" fmla="*/ 0 w 752"/>
                <a:gd name="T13" fmla="*/ 41 h 661"/>
                <a:gd name="T14" fmla="*/ 1 w 752"/>
                <a:gd name="T15" fmla="*/ 42 h 661"/>
                <a:gd name="T16" fmla="*/ 14 w 752"/>
                <a:gd name="T17" fmla="*/ 62 h 661"/>
                <a:gd name="T18" fmla="*/ 12 w 752"/>
                <a:gd name="T19" fmla="*/ 68 h 661"/>
                <a:gd name="T20" fmla="*/ 11 w 752"/>
                <a:gd name="T21" fmla="*/ 68 h 661"/>
                <a:gd name="T22" fmla="*/ 11 w 752"/>
                <a:gd name="T23" fmla="*/ 69 h 661"/>
                <a:gd name="T24" fmla="*/ 12 w 752"/>
                <a:gd name="T25" fmla="*/ 71 h 661"/>
                <a:gd name="T26" fmla="*/ 12 w 752"/>
                <a:gd name="T27" fmla="*/ 72 h 661"/>
                <a:gd name="T28" fmla="*/ 15 w 752"/>
                <a:gd name="T29" fmla="*/ 74 h 661"/>
                <a:gd name="T30" fmla="*/ 15 w 752"/>
                <a:gd name="T31" fmla="*/ 76 h 661"/>
                <a:gd name="T32" fmla="*/ 15 w 752"/>
                <a:gd name="T33" fmla="*/ 79 h 661"/>
                <a:gd name="T34" fmla="*/ 15 w 752"/>
                <a:gd name="T35" fmla="*/ 77 h 661"/>
                <a:gd name="T36" fmla="*/ 18 w 752"/>
                <a:gd name="T37" fmla="*/ 76 h 661"/>
                <a:gd name="T38" fmla="*/ 18 w 752"/>
                <a:gd name="T39" fmla="*/ 79 h 661"/>
                <a:gd name="T40" fmla="*/ 21 w 752"/>
                <a:gd name="T41" fmla="*/ 79 h 661"/>
                <a:gd name="T42" fmla="*/ 21 w 752"/>
                <a:gd name="T43" fmla="*/ 80 h 661"/>
                <a:gd name="T44" fmla="*/ 24 w 752"/>
                <a:gd name="T45" fmla="*/ 80 h 661"/>
                <a:gd name="T46" fmla="*/ 27 w 752"/>
                <a:gd name="T47" fmla="*/ 81 h 661"/>
                <a:gd name="T48" fmla="*/ 30 w 752"/>
                <a:gd name="T49" fmla="*/ 80 h 661"/>
                <a:gd name="T50" fmla="*/ 33 w 752"/>
                <a:gd name="T51" fmla="*/ 79 h 661"/>
                <a:gd name="T52" fmla="*/ 36 w 752"/>
                <a:gd name="T53" fmla="*/ 79 h 661"/>
                <a:gd name="T54" fmla="*/ 40 w 752"/>
                <a:gd name="T55" fmla="*/ 79 h 661"/>
                <a:gd name="T56" fmla="*/ 41 w 752"/>
                <a:gd name="T57" fmla="*/ 78 h 661"/>
                <a:gd name="T58" fmla="*/ 43 w 752"/>
                <a:gd name="T59" fmla="*/ 76 h 661"/>
                <a:gd name="T60" fmla="*/ 51 w 752"/>
                <a:gd name="T61" fmla="*/ 77 h 661"/>
                <a:gd name="T62" fmla="*/ 52 w 752"/>
                <a:gd name="T63" fmla="*/ 76 h 661"/>
                <a:gd name="T64" fmla="*/ 63 w 752"/>
                <a:gd name="T65" fmla="*/ 78 h 661"/>
                <a:gd name="T66" fmla="*/ 66 w 752"/>
                <a:gd name="T67" fmla="*/ 76 h 661"/>
                <a:gd name="T68" fmla="*/ 70 w 752"/>
                <a:gd name="T69" fmla="*/ 76 h 661"/>
                <a:gd name="T70" fmla="*/ 71 w 752"/>
                <a:gd name="T71" fmla="*/ 74 h 661"/>
                <a:gd name="T72" fmla="*/ 115 w 752"/>
                <a:gd name="T73" fmla="*/ 43 h 661"/>
                <a:gd name="T74" fmla="*/ 119 w 752"/>
                <a:gd name="T75" fmla="*/ 41 h 661"/>
                <a:gd name="T76" fmla="*/ 124 w 752"/>
                <a:gd name="T77" fmla="*/ 29 h 661"/>
                <a:gd name="T78" fmla="*/ 117 w 752"/>
                <a:gd name="T79" fmla="*/ 29 h 661"/>
                <a:gd name="T80" fmla="*/ 115 w 752"/>
                <a:gd name="T81" fmla="*/ 32 h 661"/>
                <a:gd name="T82" fmla="*/ 109 w 752"/>
                <a:gd name="T83" fmla="*/ 28 h 661"/>
                <a:gd name="T84" fmla="*/ 113 w 752"/>
                <a:gd name="T85" fmla="*/ 22 h 661"/>
                <a:gd name="T86" fmla="*/ 118 w 752"/>
                <a:gd name="T87" fmla="*/ 23 h 661"/>
                <a:gd name="T88" fmla="*/ 114 w 752"/>
                <a:gd name="T89" fmla="*/ 3 h 661"/>
                <a:gd name="T90" fmla="*/ 111 w 752"/>
                <a:gd name="T91" fmla="*/ 2 h 661"/>
                <a:gd name="T92" fmla="*/ 105 w 752"/>
                <a:gd name="T93" fmla="*/ 1 h 661"/>
                <a:gd name="T94" fmla="*/ 98 w 752"/>
                <a:gd name="T95" fmla="*/ 1 h 661"/>
                <a:gd name="T96" fmla="*/ 88 w 752"/>
                <a:gd name="T97" fmla="*/ 4 h 661"/>
                <a:gd name="T98" fmla="*/ 77 w 752"/>
                <a:gd name="T99" fmla="*/ 13 h 661"/>
                <a:gd name="T100" fmla="*/ 71 w 752"/>
                <a:gd name="T101" fmla="*/ 17 h 661"/>
                <a:gd name="T102" fmla="*/ 68 w 752"/>
                <a:gd name="T103" fmla="*/ 21 h 661"/>
                <a:gd name="T104" fmla="*/ 61 w 752"/>
                <a:gd name="T105" fmla="*/ 22 h 661"/>
                <a:gd name="T106" fmla="*/ 53 w 752"/>
                <a:gd name="T107" fmla="*/ 20 h 661"/>
                <a:gd name="T108" fmla="*/ 46 w 752"/>
                <a:gd name="T109" fmla="*/ 25 h 661"/>
                <a:gd name="T110" fmla="*/ 43 w 752"/>
                <a:gd name="T111" fmla="*/ 28 h 661"/>
                <a:gd name="T112" fmla="*/ 32 w 752"/>
                <a:gd name="T113" fmla="*/ 29 h 661"/>
                <a:gd name="T114" fmla="*/ 33 w 752"/>
                <a:gd name="T115" fmla="*/ 24 h 661"/>
                <a:gd name="T116" fmla="*/ 26 w 752"/>
                <a:gd name="T117" fmla="*/ 17 h 6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52"/>
                <a:gd name="T178" fmla="*/ 0 h 661"/>
                <a:gd name="T179" fmla="*/ 752 w 752"/>
                <a:gd name="T180" fmla="*/ 661 h 6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52" h="661">
                  <a:moveTo>
                    <a:pt x="157" y="134"/>
                  </a:moveTo>
                  <a:lnTo>
                    <a:pt x="157" y="327"/>
                  </a:lnTo>
                  <a:lnTo>
                    <a:pt x="144" y="332"/>
                  </a:lnTo>
                  <a:lnTo>
                    <a:pt x="119" y="353"/>
                  </a:lnTo>
                  <a:lnTo>
                    <a:pt x="85" y="350"/>
                  </a:lnTo>
                  <a:lnTo>
                    <a:pt x="73" y="354"/>
                  </a:lnTo>
                  <a:lnTo>
                    <a:pt x="59" y="353"/>
                  </a:lnTo>
                  <a:lnTo>
                    <a:pt x="50" y="341"/>
                  </a:lnTo>
                  <a:lnTo>
                    <a:pt x="50" y="331"/>
                  </a:lnTo>
                  <a:lnTo>
                    <a:pt x="28" y="316"/>
                  </a:lnTo>
                  <a:lnTo>
                    <a:pt x="18" y="317"/>
                  </a:lnTo>
                  <a:lnTo>
                    <a:pt x="9" y="333"/>
                  </a:lnTo>
                  <a:lnTo>
                    <a:pt x="6" y="335"/>
                  </a:lnTo>
                  <a:lnTo>
                    <a:pt x="0" y="335"/>
                  </a:lnTo>
                  <a:lnTo>
                    <a:pt x="3" y="338"/>
                  </a:lnTo>
                  <a:lnTo>
                    <a:pt x="2" y="344"/>
                  </a:lnTo>
                  <a:lnTo>
                    <a:pt x="13" y="356"/>
                  </a:lnTo>
                  <a:lnTo>
                    <a:pt x="82" y="509"/>
                  </a:lnTo>
                  <a:lnTo>
                    <a:pt x="84" y="543"/>
                  </a:lnTo>
                  <a:lnTo>
                    <a:pt x="77" y="556"/>
                  </a:lnTo>
                  <a:lnTo>
                    <a:pt x="66" y="552"/>
                  </a:lnTo>
                  <a:lnTo>
                    <a:pt x="64" y="557"/>
                  </a:lnTo>
                  <a:lnTo>
                    <a:pt x="63" y="566"/>
                  </a:lnTo>
                  <a:lnTo>
                    <a:pt x="65" y="566"/>
                  </a:lnTo>
                  <a:lnTo>
                    <a:pt x="72" y="572"/>
                  </a:lnTo>
                  <a:lnTo>
                    <a:pt x="74" y="577"/>
                  </a:lnTo>
                  <a:lnTo>
                    <a:pt x="71" y="578"/>
                  </a:lnTo>
                  <a:lnTo>
                    <a:pt x="76" y="586"/>
                  </a:lnTo>
                  <a:lnTo>
                    <a:pt x="79" y="589"/>
                  </a:lnTo>
                  <a:lnTo>
                    <a:pt x="90" y="607"/>
                  </a:lnTo>
                  <a:lnTo>
                    <a:pt x="91" y="614"/>
                  </a:lnTo>
                  <a:lnTo>
                    <a:pt x="87" y="620"/>
                  </a:lnTo>
                  <a:lnTo>
                    <a:pt x="87" y="636"/>
                  </a:lnTo>
                  <a:lnTo>
                    <a:pt x="92" y="643"/>
                  </a:lnTo>
                  <a:lnTo>
                    <a:pt x="93" y="642"/>
                  </a:lnTo>
                  <a:lnTo>
                    <a:pt x="92" y="630"/>
                  </a:lnTo>
                  <a:lnTo>
                    <a:pt x="94" y="627"/>
                  </a:lnTo>
                  <a:lnTo>
                    <a:pt x="108" y="627"/>
                  </a:lnTo>
                  <a:lnTo>
                    <a:pt x="109" y="638"/>
                  </a:lnTo>
                  <a:lnTo>
                    <a:pt x="108" y="643"/>
                  </a:lnTo>
                  <a:lnTo>
                    <a:pt x="112" y="645"/>
                  </a:lnTo>
                  <a:lnTo>
                    <a:pt x="127" y="644"/>
                  </a:lnTo>
                  <a:lnTo>
                    <a:pt x="130" y="648"/>
                  </a:lnTo>
                  <a:lnTo>
                    <a:pt x="130" y="654"/>
                  </a:lnTo>
                  <a:lnTo>
                    <a:pt x="140" y="659"/>
                  </a:lnTo>
                  <a:lnTo>
                    <a:pt x="147" y="659"/>
                  </a:lnTo>
                  <a:lnTo>
                    <a:pt x="154" y="661"/>
                  </a:lnTo>
                  <a:lnTo>
                    <a:pt x="163" y="661"/>
                  </a:lnTo>
                  <a:lnTo>
                    <a:pt x="172" y="659"/>
                  </a:lnTo>
                  <a:lnTo>
                    <a:pt x="180" y="649"/>
                  </a:lnTo>
                  <a:lnTo>
                    <a:pt x="194" y="648"/>
                  </a:lnTo>
                  <a:lnTo>
                    <a:pt x="199" y="645"/>
                  </a:lnTo>
                  <a:lnTo>
                    <a:pt x="206" y="643"/>
                  </a:lnTo>
                  <a:lnTo>
                    <a:pt x="221" y="646"/>
                  </a:lnTo>
                  <a:lnTo>
                    <a:pt x="223" y="643"/>
                  </a:lnTo>
                  <a:lnTo>
                    <a:pt x="242" y="644"/>
                  </a:lnTo>
                  <a:lnTo>
                    <a:pt x="247" y="643"/>
                  </a:lnTo>
                  <a:lnTo>
                    <a:pt x="248" y="637"/>
                  </a:lnTo>
                  <a:lnTo>
                    <a:pt x="260" y="629"/>
                  </a:lnTo>
                  <a:lnTo>
                    <a:pt x="265" y="625"/>
                  </a:lnTo>
                  <a:lnTo>
                    <a:pt x="286" y="623"/>
                  </a:lnTo>
                  <a:lnTo>
                    <a:pt x="306" y="629"/>
                  </a:lnTo>
                  <a:lnTo>
                    <a:pt x="312" y="629"/>
                  </a:lnTo>
                  <a:lnTo>
                    <a:pt x="319" y="623"/>
                  </a:lnTo>
                  <a:lnTo>
                    <a:pt x="331" y="622"/>
                  </a:lnTo>
                  <a:lnTo>
                    <a:pt x="385" y="633"/>
                  </a:lnTo>
                  <a:lnTo>
                    <a:pt x="390" y="622"/>
                  </a:lnTo>
                  <a:lnTo>
                    <a:pt x="401" y="621"/>
                  </a:lnTo>
                  <a:lnTo>
                    <a:pt x="425" y="626"/>
                  </a:lnTo>
                  <a:lnTo>
                    <a:pt x="426" y="620"/>
                  </a:lnTo>
                  <a:lnTo>
                    <a:pt x="422" y="613"/>
                  </a:lnTo>
                  <a:lnTo>
                    <a:pt x="429" y="609"/>
                  </a:lnTo>
                  <a:lnTo>
                    <a:pt x="472" y="607"/>
                  </a:lnTo>
                  <a:lnTo>
                    <a:pt x="700" y="352"/>
                  </a:lnTo>
                  <a:lnTo>
                    <a:pt x="707" y="349"/>
                  </a:lnTo>
                  <a:lnTo>
                    <a:pt x="724" y="335"/>
                  </a:lnTo>
                  <a:lnTo>
                    <a:pt x="732" y="324"/>
                  </a:lnTo>
                  <a:lnTo>
                    <a:pt x="752" y="236"/>
                  </a:lnTo>
                  <a:lnTo>
                    <a:pt x="717" y="235"/>
                  </a:lnTo>
                  <a:lnTo>
                    <a:pt x="710" y="238"/>
                  </a:lnTo>
                  <a:lnTo>
                    <a:pt x="706" y="251"/>
                  </a:lnTo>
                  <a:lnTo>
                    <a:pt x="700" y="258"/>
                  </a:lnTo>
                  <a:lnTo>
                    <a:pt x="670" y="255"/>
                  </a:lnTo>
                  <a:lnTo>
                    <a:pt x="660" y="228"/>
                  </a:lnTo>
                  <a:lnTo>
                    <a:pt x="676" y="190"/>
                  </a:lnTo>
                  <a:lnTo>
                    <a:pt x="688" y="182"/>
                  </a:lnTo>
                  <a:lnTo>
                    <a:pt x="707" y="195"/>
                  </a:lnTo>
                  <a:lnTo>
                    <a:pt x="713" y="188"/>
                  </a:lnTo>
                  <a:lnTo>
                    <a:pt x="693" y="29"/>
                  </a:lnTo>
                  <a:lnTo>
                    <a:pt x="692" y="28"/>
                  </a:lnTo>
                  <a:lnTo>
                    <a:pt x="688" y="27"/>
                  </a:lnTo>
                  <a:lnTo>
                    <a:pt x="675" y="14"/>
                  </a:lnTo>
                  <a:lnTo>
                    <a:pt x="658" y="9"/>
                  </a:lnTo>
                  <a:lnTo>
                    <a:pt x="637" y="10"/>
                  </a:lnTo>
                  <a:lnTo>
                    <a:pt x="600" y="0"/>
                  </a:lnTo>
                  <a:lnTo>
                    <a:pt x="591" y="4"/>
                  </a:lnTo>
                  <a:lnTo>
                    <a:pt x="589" y="7"/>
                  </a:lnTo>
                  <a:lnTo>
                    <a:pt x="536" y="34"/>
                  </a:lnTo>
                  <a:lnTo>
                    <a:pt x="491" y="74"/>
                  </a:lnTo>
                  <a:lnTo>
                    <a:pt x="467" y="108"/>
                  </a:lnTo>
                  <a:lnTo>
                    <a:pt x="444" y="125"/>
                  </a:lnTo>
                  <a:lnTo>
                    <a:pt x="432" y="140"/>
                  </a:lnTo>
                  <a:lnTo>
                    <a:pt x="420" y="168"/>
                  </a:lnTo>
                  <a:lnTo>
                    <a:pt x="415" y="174"/>
                  </a:lnTo>
                  <a:lnTo>
                    <a:pt x="379" y="182"/>
                  </a:lnTo>
                  <a:lnTo>
                    <a:pt x="367" y="181"/>
                  </a:lnTo>
                  <a:lnTo>
                    <a:pt x="337" y="167"/>
                  </a:lnTo>
                  <a:lnTo>
                    <a:pt x="324" y="165"/>
                  </a:lnTo>
                  <a:lnTo>
                    <a:pt x="315" y="169"/>
                  </a:lnTo>
                  <a:lnTo>
                    <a:pt x="284" y="207"/>
                  </a:lnTo>
                  <a:lnTo>
                    <a:pt x="274" y="213"/>
                  </a:lnTo>
                  <a:lnTo>
                    <a:pt x="261" y="232"/>
                  </a:lnTo>
                  <a:lnTo>
                    <a:pt x="233" y="239"/>
                  </a:lnTo>
                  <a:lnTo>
                    <a:pt x="196" y="234"/>
                  </a:lnTo>
                  <a:lnTo>
                    <a:pt x="193" y="227"/>
                  </a:lnTo>
                  <a:lnTo>
                    <a:pt x="202" y="198"/>
                  </a:lnTo>
                  <a:lnTo>
                    <a:pt x="200" y="178"/>
                  </a:lnTo>
                  <a:lnTo>
                    <a:pt x="161" y="134"/>
                  </a:lnTo>
                  <a:lnTo>
                    <a:pt x="157" y="134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0" name="Freeform 158"/>
            <p:cNvSpPr>
              <a:spLocks/>
            </p:cNvSpPr>
            <p:nvPr/>
          </p:nvSpPr>
          <p:spPr bwMode="auto">
            <a:xfrm>
              <a:off x="5637746" y="3746437"/>
              <a:ext cx="389955" cy="649376"/>
            </a:xfrm>
            <a:custGeom>
              <a:avLst/>
              <a:gdLst>
                <a:gd name="T0" fmla="*/ 10 w 325"/>
                <a:gd name="T1" fmla="*/ 23 h 648"/>
                <a:gd name="T2" fmla="*/ 13 w 325"/>
                <a:gd name="T3" fmla="*/ 23 h 648"/>
                <a:gd name="T4" fmla="*/ 15 w 325"/>
                <a:gd name="T5" fmla="*/ 22 h 648"/>
                <a:gd name="T6" fmla="*/ 16 w 325"/>
                <a:gd name="T7" fmla="*/ 23 h 648"/>
                <a:gd name="T8" fmla="*/ 18 w 325"/>
                <a:gd name="T9" fmla="*/ 23 h 648"/>
                <a:gd name="T10" fmla="*/ 18 w 325"/>
                <a:gd name="T11" fmla="*/ 21 h 648"/>
                <a:gd name="T12" fmla="*/ 20 w 325"/>
                <a:gd name="T13" fmla="*/ 21 h 648"/>
                <a:gd name="T14" fmla="*/ 22 w 325"/>
                <a:gd name="T15" fmla="*/ 21 h 648"/>
                <a:gd name="T16" fmla="*/ 24 w 325"/>
                <a:gd name="T17" fmla="*/ 23 h 648"/>
                <a:gd name="T18" fmla="*/ 26 w 325"/>
                <a:gd name="T19" fmla="*/ 23 h 648"/>
                <a:gd name="T20" fmla="*/ 24 w 325"/>
                <a:gd name="T21" fmla="*/ 21 h 648"/>
                <a:gd name="T22" fmla="*/ 26 w 325"/>
                <a:gd name="T23" fmla="*/ 18 h 648"/>
                <a:gd name="T24" fmla="*/ 28 w 325"/>
                <a:gd name="T25" fmla="*/ 18 h 648"/>
                <a:gd name="T26" fmla="*/ 30 w 325"/>
                <a:gd name="T27" fmla="*/ 19 h 648"/>
                <a:gd name="T28" fmla="*/ 30 w 325"/>
                <a:gd name="T29" fmla="*/ 17 h 648"/>
                <a:gd name="T30" fmla="*/ 31 w 325"/>
                <a:gd name="T31" fmla="*/ 15 h 648"/>
                <a:gd name="T32" fmla="*/ 32 w 325"/>
                <a:gd name="T33" fmla="*/ 15 h 648"/>
                <a:gd name="T34" fmla="*/ 34 w 325"/>
                <a:gd name="T35" fmla="*/ 15 h 648"/>
                <a:gd name="T36" fmla="*/ 36 w 325"/>
                <a:gd name="T37" fmla="*/ 15 h 648"/>
                <a:gd name="T38" fmla="*/ 35 w 325"/>
                <a:gd name="T39" fmla="*/ 14 h 648"/>
                <a:gd name="T40" fmla="*/ 35 w 325"/>
                <a:gd name="T41" fmla="*/ 11 h 648"/>
                <a:gd name="T42" fmla="*/ 37 w 325"/>
                <a:gd name="T43" fmla="*/ 10 h 648"/>
                <a:gd name="T44" fmla="*/ 36 w 325"/>
                <a:gd name="T45" fmla="*/ 8 h 648"/>
                <a:gd name="T46" fmla="*/ 38 w 325"/>
                <a:gd name="T47" fmla="*/ 9 h 648"/>
                <a:gd name="T48" fmla="*/ 40 w 325"/>
                <a:gd name="T49" fmla="*/ 6 h 648"/>
                <a:gd name="T50" fmla="*/ 42 w 325"/>
                <a:gd name="T51" fmla="*/ 6 h 648"/>
                <a:gd name="T52" fmla="*/ 42 w 325"/>
                <a:gd name="T53" fmla="*/ 2 h 648"/>
                <a:gd name="T54" fmla="*/ 45 w 325"/>
                <a:gd name="T55" fmla="*/ 1 h 648"/>
                <a:gd name="T56" fmla="*/ 50 w 325"/>
                <a:gd name="T57" fmla="*/ 3 h 648"/>
                <a:gd name="T58" fmla="*/ 54 w 325"/>
                <a:gd name="T59" fmla="*/ 22 h 648"/>
                <a:gd name="T60" fmla="*/ 51 w 325"/>
                <a:gd name="T61" fmla="*/ 19 h 648"/>
                <a:gd name="T62" fmla="*/ 50 w 325"/>
                <a:gd name="T63" fmla="*/ 23 h 648"/>
                <a:gd name="T64" fmla="*/ 51 w 325"/>
                <a:gd name="T65" fmla="*/ 26 h 648"/>
                <a:gd name="T66" fmla="*/ 45 w 325"/>
                <a:gd name="T67" fmla="*/ 41 h 648"/>
                <a:gd name="T68" fmla="*/ 30 w 325"/>
                <a:gd name="T69" fmla="*/ 76 h 648"/>
                <a:gd name="T70" fmla="*/ 27 w 325"/>
                <a:gd name="T71" fmla="*/ 77 h 648"/>
                <a:gd name="T72" fmla="*/ 21 w 325"/>
                <a:gd name="T73" fmla="*/ 78 h 648"/>
                <a:gd name="T74" fmla="*/ 15 w 325"/>
                <a:gd name="T75" fmla="*/ 80 h 648"/>
                <a:gd name="T76" fmla="*/ 5 w 325"/>
                <a:gd name="T77" fmla="*/ 73 h 648"/>
                <a:gd name="T78" fmla="*/ 4 w 325"/>
                <a:gd name="T79" fmla="*/ 68 h 648"/>
                <a:gd name="T80" fmla="*/ 1 w 325"/>
                <a:gd name="T81" fmla="*/ 63 h 648"/>
                <a:gd name="T82" fmla="*/ 0 w 325"/>
                <a:gd name="T83" fmla="*/ 57 h 648"/>
                <a:gd name="T84" fmla="*/ 4 w 325"/>
                <a:gd name="T85" fmla="*/ 53 h 648"/>
                <a:gd name="T86" fmla="*/ 9 w 325"/>
                <a:gd name="T87" fmla="*/ 46 h 648"/>
                <a:gd name="T88" fmla="*/ 9 w 325"/>
                <a:gd name="T89" fmla="*/ 44 h 648"/>
                <a:gd name="T90" fmla="*/ 6 w 325"/>
                <a:gd name="T91" fmla="*/ 36 h 648"/>
                <a:gd name="T92" fmla="*/ 5 w 325"/>
                <a:gd name="T93" fmla="*/ 31 h 648"/>
                <a:gd name="T94" fmla="*/ 9 w 325"/>
                <a:gd name="T95" fmla="*/ 24 h 6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25"/>
                <a:gd name="T145" fmla="*/ 0 h 648"/>
                <a:gd name="T146" fmla="*/ 325 w 325"/>
                <a:gd name="T147" fmla="*/ 648 h 64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25" h="648">
                  <a:moveTo>
                    <a:pt x="54" y="192"/>
                  </a:moveTo>
                  <a:lnTo>
                    <a:pt x="58" y="187"/>
                  </a:lnTo>
                  <a:lnTo>
                    <a:pt x="63" y="189"/>
                  </a:lnTo>
                  <a:lnTo>
                    <a:pt x="78" y="188"/>
                  </a:lnTo>
                  <a:lnTo>
                    <a:pt x="81" y="185"/>
                  </a:lnTo>
                  <a:lnTo>
                    <a:pt x="90" y="179"/>
                  </a:lnTo>
                  <a:lnTo>
                    <a:pt x="91" y="184"/>
                  </a:lnTo>
                  <a:lnTo>
                    <a:pt x="94" y="185"/>
                  </a:lnTo>
                  <a:lnTo>
                    <a:pt x="99" y="180"/>
                  </a:lnTo>
                  <a:lnTo>
                    <a:pt x="105" y="182"/>
                  </a:lnTo>
                  <a:lnTo>
                    <a:pt x="109" y="176"/>
                  </a:lnTo>
                  <a:lnTo>
                    <a:pt x="110" y="170"/>
                  </a:lnTo>
                  <a:lnTo>
                    <a:pt x="118" y="168"/>
                  </a:lnTo>
                  <a:lnTo>
                    <a:pt x="122" y="171"/>
                  </a:lnTo>
                  <a:lnTo>
                    <a:pt x="128" y="166"/>
                  </a:lnTo>
                  <a:lnTo>
                    <a:pt x="132" y="168"/>
                  </a:lnTo>
                  <a:lnTo>
                    <a:pt x="137" y="177"/>
                  </a:lnTo>
                  <a:lnTo>
                    <a:pt x="143" y="183"/>
                  </a:lnTo>
                  <a:lnTo>
                    <a:pt x="149" y="184"/>
                  </a:lnTo>
                  <a:lnTo>
                    <a:pt x="155" y="183"/>
                  </a:lnTo>
                  <a:lnTo>
                    <a:pt x="152" y="176"/>
                  </a:lnTo>
                  <a:lnTo>
                    <a:pt x="144" y="168"/>
                  </a:lnTo>
                  <a:lnTo>
                    <a:pt x="145" y="160"/>
                  </a:lnTo>
                  <a:lnTo>
                    <a:pt x="154" y="150"/>
                  </a:lnTo>
                  <a:lnTo>
                    <a:pt x="163" y="145"/>
                  </a:lnTo>
                  <a:lnTo>
                    <a:pt x="170" y="147"/>
                  </a:lnTo>
                  <a:lnTo>
                    <a:pt x="171" y="158"/>
                  </a:lnTo>
                  <a:lnTo>
                    <a:pt x="177" y="158"/>
                  </a:lnTo>
                  <a:lnTo>
                    <a:pt x="182" y="155"/>
                  </a:lnTo>
                  <a:lnTo>
                    <a:pt x="175" y="139"/>
                  </a:lnTo>
                  <a:lnTo>
                    <a:pt x="187" y="126"/>
                  </a:lnTo>
                  <a:lnTo>
                    <a:pt x="185" y="124"/>
                  </a:lnTo>
                  <a:lnTo>
                    <a:pt x="191" y="118"/>
                  </a:lnTo>
                  <a:lnTo>
                    <a:pt x="193" y="124"/>
                  </a:lnTo>
                  <a:lnTo>
                    <a:pt x="191" y="133"/>
                  </a:lnTo>
                  <a:lnTo>
                    <a:pt x="205" y="117"/>
                  </a:lnTo>
                  <a:lnTo>
                    <a:pt x="212" y="118"/>
                  </a:lnTo>
                  <a:lnTo>
                    <a:pt x="216" y="117"/>
                  </a:lnTo>
                  <a:lnTo>
                    <a:pt x="214" y="113"/>
                  </a:lnTo>
                  <a:lnTo>
                    <a:pt x="207" y="111"/>
                  </a:lnTo>
                  <a:lnTo>
                    <a:pt x="203" y="104"/>
                  </a:lnTo>
                  <a:lnTo>
                    <a:pt x="212" y="90"/>
                  </a:lnTo>
                  <a:lnTo>
                    <a:pt x="216" y="95"/>
                  </a:lnTo>
                  <a:lnTo>
                    <a:pt x="217" y="84"/>
                  </a:lnTo>
                  <a:lnTo>
                    <a:pt x="212" y="68"/>
                  </a:lnTo>
                  <a:lnTo>
                    <a:pt x="214" y="64"/>
                  </a:lnTo>
                  <a:lnTo>
                    <a:pt x="223" y="67"/>
                  </a:lnTo>
                  <a:lnTo>
                    <a:pt x="226" y="77"/>
                  </a:lnTo>
                  <a:lnTo>
                    <a:pt x="237" y="61"/>
                  </a:lnTo>
                  <a:lnTo>
                    <a:pt x="239" y="52"/>
                  </a:lnTo>
                  <a:lnTo>
                    <a:pt x="245" y="56"/>
                  </a:lnTo>
                  <a:lnTo>
                    <a:pt x="252" y="51"/>
                  </a:lnTo>
                  <a:lnTo>
                    <a:pt x="257" y="20"/>
                  </a:lnTo>
                  <a:lnTo>
                    <a:pt x="252" y="13"/>
                  </a:lnTo>
                  <a:lnTo>
                    <a:pt x="256" y="14"/>
                  </a:lnTo>
                  <a:lnTo>
                    <a:pt x="265" y="4"/>
                  </a:lnTo>
                  <a:lnTo>
                    <a:pt x="271" y="0"/>
                  </a:lnTo>
                  <a:lnTo>
                    <a:pt x="295" y="28"/>
                  </a:lnTo>
                  <a:lnTo>
                    <a:pt x="325" y="165"/>
                  </a:lnTo>
                  <a:lnTo>
                    <a:pt x="321" y="175"/>
                  </a:lnTo>
                  <a:lnTo>
                    <a:pt x="314" y="176"/>
                  </a:lnTo>
                  <a:lnTo>
                    <a:pt x="306" y="153"/>
                  </a:lnTo>
                  <a:lnTo>
                    <a:pt x="299" y="153"/>
                  </a:lnTo>
                  <a:lnTo>
                    <a:pt x="295" y="186"/>
                  </a:lnTo>
                  <a:lnTo>
                    <a:pt x="301" y="196"/>
                  </a:lnTo>
                  <a:lnTo>
                    <a:pt x="301" y="210"/>
                  </a:lnTo>
                  <a:lnTo>
                    <a:pt x="286" y="235"/>
                  </a:lnTo>
                  <a:lnTo>
                    <a:pt x="267" y="330"/>
                  </a:lnTo>
                  <a:lnTo>
                    <a:pt x="266" y="331"/>
                  </a:lnTo>
                  <a:lnTo>
                    <a:pt x="176" y="614"/>
                  </a:lnTo>
                  <a:lnTo>
                    <a:pt x="169" y="623"/>
                  </a:lnTo>
                  <a:lnTo>
                    <a:pt x="160" y="626"/>
                  </a:lnTo>
                  <a:lnTo>
                    <a:pt x="154" y="625"/>
                  </a:lnTo>
                  <a:lnTo>
                    <a:pt x="127" y="631"/>
                  </a:lnTo>
                  <a:lnTo>
                    <a:pt x="99" y="646"/>
                  </a:lnTo>
                  <a:lnTo>
                    <a:pt x="88" y="648"/>
                  </a:lnTo>
                  <a:lnTo>
                    <a:pt x="40" y="614"/>
                  </a:lnTo>
                  <a:lnTo>
                    <a:pt x="27" y="597"/>
                  </a:lnTo>
                  <a:lnTo>
                    <a:pt x="20" y="554"/>
                  </a:lnTo>
                  <a:lnTo>
                    <a:pt x="24" y="546"/>
                  </a:lnTo>
                  <a:lnTo>
                    <a:pt x="15" y="521"/>
                  </a:lnTo>
                  <a:lnTo>
                    <a:pt x="8" y="514"/>
                  </a:lnTo>
                  <a:lnTo>
                    <a:pt x="1" y="502"/>
                  </a:lnTo>
                  <a:lnTo>
                    <a:pt x="0" y="464"/>
                  </a:lnTo>
                  <a:lnTo>
                    <a:pt x="18" y="434"/>
                  </a:lnTo>
                  <a:lnTo>
                    <a:pt x="25" y="431"/>
                  </a:lnTo>
                  <a:lnTo>
                    <a:pt x="47" y="381"/>
                  </a:lnTo>
                  <a:lnTo>
                    <a:pt x="54" y="372"/>
                  </a:lnTo>
                  <a:lnTo>
                    <a:pt x="58" y="363"/>
                  </a:lnTo>
                  <a:lnTo>
                    <a:pt x="57" y="354"/>
                  </a:lnTo>
                  <a:lnTo>
                    <a:pt x="60" y="350"/>
                  </a:lnTo>
                  <a:lnTo>
                    <a:pt x="41" y="290"/>
                  </a:lnTo>
                  <a:lnTo>
                    <a:pt x="40" y="265"/>
                  </a:lnTo>
                  <a:lnTo>
                    <a:pt x="31" y="252"/>
                  </a:lnTo>
                  <a:lnTo>
                    <a:pt x="54" y="206"/>
                  </a:lnTo>
                  <a:lnTo>
                    <a:pt x="54" y="1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1" name="Freeform 159"/>
            <p:cNvSpPr>
              <a:spLocks/>
            </p:cNvSpPr>
            <p:nvPr/>
          </p:nvSpPr>
          <p:spPr bwMode="auto">
            <a:xfrm>
              <a:off x="5637746" y="3746437"/>
              <a:ext cx="389955" cy="649376"/>
            </a:xfrm>
            <a:custGeom>
              <a:avLst/>
              <a:gdLst>
                <a:gd name="T0" fmla="*/ 10 w 325"/>
                <a:gd name="T1" fmla="*/ 23 h 648"/>
                <a:gd name="T2" fmla="*/ 13 w 325"/>
                <a:gd name="T3" fmla="*/ 23 h 648"/>
                <a:gd name="T4" fmla="*/ 15 w 325"/>
                <a:gd name="T5" fmla="*/ 22 h 648"/>
                <a:gd name="T6" fmla="*/ 16 w 325"/>
                <a:gd name="T7" fmla="*/ 23 h 648"/>
                <a:gd name="T8" fmla="*/ 18 w 325"/>
                <a:gd name="T9" fmla="*/ 23 h 648"/>
                <a:gd name="T10" fmla="*/ 18 w 325"/>
                <a:gd name="T11" fmla="*/ 21 h 648"/>
                <a:gd name="T12" fmla="*/ 20 w 325"/>
                <a:gd name="T13" fmla="*/ 21 h 648"/>
                <a:gd name="T14" fmla="*/ 22 w 325"/>
                <a:gd name="T15" fmla="*/ 21 h 648"/>
                <a:gd name="T16" fmla="*/ 24 w 325"/>
                <a:gd name="T17" fmla="*/ 23 h 648"/>
                <a:gd name="T18" fmla="*/ 26 w 325"/>
                <a:gd name="T19" fmla="*/ 23 h 648"/>
                <a:gd name="T20" fmla="*/ 24 w 325"/>
                <a:gd name="T21" fmla="*/ 21 h 648"/>
                <a:gd name="T22" fmla="*/ 26 w 325"/>
                <a:gd name="T23" fmla="*/ 18 h 648"/>
                <a:gd name="T24" fmla="*/ 28 w 325"/>
                <a:gd name="T25" fmla="*/ 18 h 648"/>
                <a:gd name="T26" fmla="*/ 30 w 325"/>
                <a:gd name="T27" fmla="*/ 19 h 648"/>
                <a:gd name="T28" fmla="*/ 30 w 325"/>
                <a:gd name="T29" fmla="*/ 17 h 648"/>
                <a:gd name="T30" fmla="*/ 31 w 325"/>
                <a:gd name="T31" fmla="*/ 15 h 648"/>
                <a:gd name="T32" fmla="*/ 32 w 325"/>
                <a:gd name="T33" fmla="*/ 15 h 648"/>
                <a:gd name="T34" fmla="*/ 34 w 325"/>
                <a:gd name="T35" fmla="*/ 15 h 648"/>
                <a:gd name="T36" fmla="*/ 36 w 325"/>
                <a:gd name="T37" fmla="*/ 15 h 648"/>
                <a:gd name="T38" fmla="*/ 35 w 325"/>
                <a:gd name="T39" fmla="*/ 14 h 648"/>
                <a:gd name="T40" fmla="*/ 35 w 325"/>
                <a:gd name="T41" fmla="*/ 11 h 648"/>
                <a:gd name="T42" fmla="*/ 37 w 325"/>
                <a:gd name="T43" fmla="*/ 10 h 648"/>
                <a:gd name="T44" fmla="*/ 36 w 325"/>
                <a:gd name="T45" fmla="*/ 8 h 648"/>
                <a:gd name="T46" fmla="*/ 38 w 325"/>
                <a:gd name="T47" fmla="*/ 9 h 648"/>
                <a:gd name="T48" fmla="*/ 40 w 325"/>
                <a:gd name="T49" fmla="*/ 6 h 648"/>
                <a:gd name="T50" fmla="*/ 42 w 325"/>
                <a:gd name="T51" fmla="*/ 6 h 648"/>
                <a:gd name="T52" fmla="*/ 42 w 325"/>
                <a:gd name="T53" fmla="*/ 2 h 648"/>
                <a:gd name="T54" fmla="*/ 45 w 325"/>
                <a:gd name="T55" fmla="*/ 1 h 648"/>
                <a:gd name="T56" fmla="*/ 50 w 325"/>
                <a:gd name="T57" fmla="*/ 3 h 648"/>
                <a:gd name="T58" fmla="*/ 54 w 325"/>
                <a:gd name="T59" fmla="*/ 22 h 648"/>
                <a:gd name="T60" fmla="*/ 51 w 325"/>
                <a:gd name="T61" fmla="*/ 19 h 648"/>
                <a:gd name="T62" fmla="*/ 50 w 325"/>
                <a:gd name="T63" fmla="*/ 23 h 648"/>
                <a:gd name="T64" fmla="*/ 51 w 325"/>
                <a:gd name="T65" fmla="*/ 26 h 648"/>
                <a:gd name="T66" fmla="*/ 45 w 325"/>
                <a:gd name="T67" fmla="*/ 41 h 648"/>
                <a:gd name="T68" fmla="*/ 30 w 325"/>
                <a:gd name="T69" fmla="*/ 76 h 648"/>
                <a:gd name="T70" fmla="*/ 27 w 325"/>
                <a:gd name="T71" fmla="*/ 77 h 648"/>
                <a:gd name="T72" fmla="*/ 21 w 325"/>
                <a:gd name="T73" fmla="*/ 78 h 648"/>
                <a:gd name="T74" fmla="*/ 15 w 325"/>
                <a:gd name="T75" fmla="*/ 80 h 648"/>
                <a:gd name="T76" fmla="*/ 5 w 325"/>
                <a:gd name="T77" fmla="*/ 73 h 648"/>
                <a:gd name="T78" fmla="*/ 4 w 325"/>
                <a:gd name="T79" fmla="*/ 68 h 648"/>
                <a:gd name="T80" fmla="*/ 1 w 325"/>
                <a:gd name="T81" fmla="*/ 63 h 648"/>
                <a:gd name="T82" fmla="*/ 0 w 325"/>
                <a:gd name="T83" fmla="*/ 57 h 648"/>
                <a:gd name="T84" fmla="*/ 4 w 325"/>
                <a:gd name="T85" fmla="*/ 53 h 648"/>
                <a:gd name="T86" fmla="*/ 9 w 325"/>
                <a:gd name="T87" fmla="*/ 46 h 648"/>
                <a:gd name="T88" fmla="*/ 9 w 325"/>
                <a:gd name="T89" fmla="*/ 44 h 648"/>
                <a:gd name="T90" fmla="*/ 6 w 325"/>
                <a:gd name="T91" fmla="*/ 36 h 648"/>
                <a:gd name="T92" fmla="*/ 5 w 325"/>
                <a:gd name="T93" fmla="*/ 31 h 648"/>
                <a:gd name="T94" fmla="*/ 9 w 325"/>
                <a:gd name="T95" fmla="*/ 24 h 64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25"/>
                <a:gd name="T145" fmla="*/ 0 h 648"/>
                <a:gd name="T146" fmla="*/ 325 w 325"/>
                <a:gd name="T147" fmla="*/ 648 h 64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25" h="648">
                  <a:moveTo>
                    <a:pt x="54" y="192"/>
                  </a:moveTo>
                  <a:lnTo>
                    <a:pt x="58" y="187"/>
                  </a:lnTo>
                  <a:lnTo>
                    <a:pt x="63" y="189"/>
                  </a:lnTo>
                  <a:lnTo>
                    <a:pt x="78" y="188"/>
                  </a:lnTo>
                  <a:lnTo>
                    <a:pt x="81" y="185"/>
                  </a:lnTo>
                  <a:lnTo>
                    <a:pt x="90" y="179"/>
                  </a:lnTo>
                  <a:lnTo>
                    <a:pt x="91" y="184"/>
                  </a:lnTo>
                  <a:lnTo>
                    <a:pt x="94" y="185"/>
                  </a:lnTo>
                  <a:lnTo>
                    <a:pt x="99" y="180"/>
                  </a:lnTo>
                  <a:lnTo>
                    <a:pt x="105" y="182"/>
                  </a:lnTo>
                  <a:lnTo>
                    <a:pt x="109" y="176"/>
                  </a:lnTo>
                  <a:lnTo>
                    <a:pt x="110" y="170"/>
                  </a:lnTo>
                  <a:lnTo>
                    <a:pt x="118" y="168"/>
                  </a:lnTo>
                  <a:lnTo>
                    <a:pt x="122" y="171"/>
                  </a:lnTo>
                  <a:lnTo>
                    <a:pt x="128" y="166"/>
                  </a:lnTo>
                  <a:lnTo>
                    <a:pt x="132" y="168"/>
                  </a:lnTo>
                  <a:lnTo>
                    <a:pt x="137" y="177"/>
                  </a:lnTo>
                  <a:lnTo>
                    <a:pt x="143" y="183"/>
                  </a:lnTo>
                  <a:lnTo>
                    <a:pt x="149" y="184"/>
                  </a:lnTo>
                  <a:lnTo>
                    <a:pt x="155" y="183"/>
                  </a:lnTo>
                  <a:lnTo>
                    <a:pt x="152" y="176"/>
                  </a:lnTo>
                  <a:lnTo>
                    <a:pt x="144" y="168"/>
                  </a:lnTo>
                  <a:lnTo>
                    <a:pt x="145" y="160"/>
                  </a:lnTo>
                  <a:lnTo>
                    <a:pt x="154" y="150"/>
                  </a:lnTo>
                  <a:lnTo>
                    <a:pt x="163" y="145"/>
                  </a:lnTo>
                  <a:lnTo>
                    <a:pt x="170" y="147"/>
                  </a:lnTo>
                  <a:lnTo>
                    <a:pt x="171" y="158"/>
                  </a:lnTo>
                  <a:lnTo>
                    <a:pt x="177" y="158"/>
                  </a:lnTo>
                  <a:lnTo>
                    <a:pt x="182" y="155"/>
                  </a:lnTo>
                  <a:lnTo>
                    <a:pt x="175" y="139"/>
                  </a:lnTo>
                  <a:lnTo>
                    <a:pt x="187" y="126"/>
                  </a:lnTo>
                  <a:lnTo>
                    <a:pt x="185" y="124"/>
                  </a:lnTo>
                  <a:lnTo>
                    <a:pt x="191" y="118"/>
                  </a:lnTo>
                  <a:lnTo>
                    <a:pt x="193" y="124"/>
                  </a:lnTo>
                  <a:lnTo>
                    <a:pt x="191" y="133"/>
                  </a:lnTo>
                  <a:lnTo>
                    <a:pt x="205" y="117"/>
                  </a:lnTo>
                  <a:lnTo>
                    <a:pt x="212" y="118"/>
                  </a:lnTo>
                  <a:lnTo>
                    <a:pt x="216" y="117"/>
                  </a:lnTo>
                  <a:lnTo>
                    <a:pt x="214" y="113"/>
                  </a:lnTo>
                  <a:lnTo>
                    <a:pt x="207" y="111"/>
                  </a:lnTo>
                  <a:lnTo>
                    <a:pt x="203" y="104"/>
                  </a:lnTo>
                  <a:lnTo>
                    <a:pt x="212" y="90"/>
                  </a:lnTo>
                  <a:lnTo>
                    <a:pt x="216" y="95"/>
                  </a:lnTo>
                  <a:lnTo>
                    <a:pt x="217" y="84"/>
                  </a:lnTo>
                  <a:lnTo>
                    <a:pt x="212" y="68"/>
                  </a:lnTo>
                  <a:lnTo>
                    <a:pt x="214" y="64"/>
                  </a:lnTo>
                  <a:lnTo>
                    <a:pt x="223" y="67"/>
                  </a:lnTo>
                  <a:lnTo>
                    <a:pt x="226" y="77"/>
                  </a:lnTo>
                  <a:lnTo>
                    <a:pt x="237" y="61"/>
                  </a:lnTo>
                  <a:lnTo>
                    <a:pt x="239" y="52"/>
                  </a:lnTo>
                  <a:lnTo>
                    <a:pt x="245" y="56"/>
                  </a:lnTo>
                  <a:lnTo>
                    <a:pt x="252" y="51"/>
                  </a:lnTo>
                  <a:lnTo>
                    <a:pt x="257" y="20"/>
                  </a:lnTo>
                  <a:lnTo>
                    <a:pt x="252" y="13"/>
                  </a:lnTo>
                  <a:lnTo>
                    <a:pt x="256" y="14"/>
                  </a:lnTo>
                  <a:lnTo>
                    <a:pt x="265" y="4"/>
                  </a:lnTo>
                  <a:lnTo>
                    <a:pt x="271" y="0"/>
                  </a:lnTo>
                  <a:lnTo>
                    <a:pt x="295" y="28"/>
                  </a:lnTo>
                  <a:lnTo>
                    <a:pt x="325" y="165"/>
                  </a:lnTo>
                  <a:lnTo>
                    <a:pt x="321" y="175"/>
                  </a:lnTo>
                  <a:lnTo>
                    <a:pt x="314" y="176"/>
                  </a:lnTo>
                  <a:lnTo>
                    <a:pt x="306" y="153"/>
                  </a:lnTo>
                  <a:lnTo>
                    <a:pt x="299" y="153"/>
                  </a:lnTo>
                  <a:lnTo>
                    <a:pt x="295" y="186"/>
                  </a:lnTo>
                  <a:lnTo>
                    <a:pt x="301" y="196"/>
                  </a:lnTo>
                  <a:lnTo>
                    <a:pt x="301" y="210"/>
                  </a:lnTo>
                  <a:lnTo>
                    <a:pt x="286" y="235"/>
                  </a:lnTo>
                  <a:lnTo>
                    <a:pt x="267" y="330"/>
                  </a:lnTo>
                  <a:lnTo>
                    <a:pt x="266" y="331"/>
                  </a:lnTo>
                  <a:lnTo>
                    <a:pt x="176" y="614"/>
                  </a:lnTo>
                  <a:lnTo>
                    <a:pt x="169" y="623"/>
                  </a:lnTo>
                  <a:lnTo>
                    <a:pt x="160" y="626"/>
                  </a:lnTo>
                  <a:lnTo>
                    <a:pt x="154" y="625"/>
                  </a:lnTo>
                  <a:lnTo>
                    <a:pt x="127" y="631"/>
                  </a:lnTo>
                  <a:lnTo>
                    <a:pt x="99" y="646"/>
                  </a:lnTo>
                  <a:lnTo>
                    <a:pt x="88" y="648"/>
                  </a:lnTo>
                  <a:lnTo>
                    <a:pt x="40" y="614"/>
                  </a:lnTo>
                  <a:lnTo>
                    <a:pt x="27" y="597"/>
                  </a:lnTo>
                  <a:lnTo>
                    <a:pt x="20" y="554"/>
                  </a:lnTo>
                  <a:lnTo>
                    <a:pt x="24" y="546"/>
                  </a:lnTo>
                  <a:lnTo>
                    <a:pt x="15" y="521"/>
                  </a:lnTo>
                  <a:lnTo>
                    <a:pt x="8" y="514"/>
                  </a:lnTo>
                  <a:lnTo>
                    <a:pt x="1" y="502"/>
                  </a:lnTo>
                  <a:lnTo>
                    <a:pt x="0" y="464"/>
                  </a:lnTo>
                  <a:lnTo>
                    <a:pt x="18" y="434"/>
                  </a:lnTo>
                  <a:lnTo>
                    <a:pt x="25" y="431"/>
                  </a:lnTo>
                  <a:lnTo>
                    <a:pt x="47" y="381"/>
                  </a:lnTo>
                  <a:lnTo>
                    <a:pt x="54" y="372"/>
                  </a:lnTo>
                  <a:lnTo>
                    <a:pt x="58" y="363"/>
                  </a:lnTo>
                  <a:lnTo>
                    <a:pt x="57" y="354"/>
                  </a:lnTo>
                  <a:lnTo>
                    <a:pt x="60" y="350"/>
                  </a:lnTo>
                  <a:lnTo>
                    <a:pt x="41" y="290"/>
                  </a:lnTo>
                  <a:lnTo>
                    <a:pt x="40" y="265"/>
                  </a:lnTo>
                  <a:lnTo>
                    <a:pt x="31" y="252"/>
                  </a:lnTo>
                  <a:lnTo>
                    <a:pt x="54" y="206"/>
                  </a:lnTo>
                  <a:lnTo>
                    <a:pt x="54" y="1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2" name="Freeform 160"/>
            <p:cNvSpPr>
              <a:spLocks/>
            </p:cNvSpPr>
            <p:nvPr/>
          </p:nvSpPr>
          <p:spPr bwMode="auto">
            <a:xfrm>
              <a:off x="3848419" y="1547833"/>
              <a:ext cx="12186" cy="11132"/>
            </a:xfrm>
            <a:custGeom>
              <a:avLst/>
              <a:gdLst>
                <a:gd name="T0" fmla="*/ 1 w 10"/>
                <a:gd name="T1" fmla="*/ 1 h 11"/>
                <a:gd name="T2" fmla="*/ 1 w 10"/>
                <a:gd name="T3" fmla="*/ 0 h 11"/>
                <a:gd name="T4" fmla="*/ 2 w 10"/>
                <a:gd name="T5" fmla="*/ 1 h 11"/>
                <a:gd name="T6" fmla="*/ 2 w 10"/>
                <a:gd name="T7" fmla="*/ 2 h 11"/>
                <a:gd name="T8" fmla="*/ 1 w 10"/>
                <a:gd name="T9" fmla="*/ 2 h 11"/>
                <a:gd name="T10" fmla="*/ 0 w 10"/>
                <a:gd name="T11" fmla="*/ 1 h 11"/>
                <a:gd name="T12" fmla="*/ 1 w 10"/>
                <a:gd name="T13" fmla="*/ 0 h 11"/>
                <a:gd name="T14" fmla="*/ 1 w 10"/>
                <a:gd name="T15" fmla="*/ 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1"/>
                <a:gd name="T26" fmla="*/ 10 w 10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1">
                  <a:moveTo>
                    <a:pt x="8" y="2"/>
                  </a:moveTo>
                  <a:lnTo>
                    <a:pt x="7" y="0"/>
                  </a:lnTo>
                  <a:lnTo>
                    <a:pt x="10" y="6"/>
                  </a:lnTo>
                  <a:lnTo>
                    <a:pt x="10" y="11"/>
                  </a:lnTo>
                  <a:lnTo>
                    <a:pt x="1" y="11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3" name="Freeform 161"/>
            <p:cNvSpPr>
              <a:spLocks/>
            </p:cNvSpPr>
            <p:nvPr/>
          </p:nvSpPr>
          <p:spPr bwMode="auto">
            <a:xfrm>
              <a:off x="3848419" y="1547833"/>
              <a:ext cx="12186" cy="11132"/>
            </a:xfrm>
            <a:custGeom>
              <a:avLst/>
              <a:gdLst>
                <a:gd name="T0" fmla="*/ 1 w 10"/>
                <a:gd name="T1" fmla="*/ 1 h 11"/>
                <a:gd name="T2" fmla="*/ 1 w 10"/>
                <a:gd name="T3" fmla="*/ 0 h 11"/>
                <a:gd name="T4" fmla="*/ 2 w 10"/>
                <a:gd name="T5" fmla="*/ 1 h 11"/>
                <a:gd name="T6" fmla="*/ 2 w 10"/>
                <a:gd name="T7" fmla="*/ 2 h 11"/>
                <a:gd name="T8" fmla="*/ 1 w 10"/>
                <a:gd name="T9" fmla="*/ 2 h 11"/>
                <a:gd name="T10" fmla="*/ 0 w 10"/>
                <a:gd name="T11" fmla="*/ 1 h 11"/>
                <a:gd name="T12" fmla="*/ 1 w 10"/>
                <a:gd name="T13" fmla="*/ 0 h 11"/>
                <a:gd name="T14" fmla="*/ 1 w 10"/>
                <a:gd name="T15" fmla="*/ 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1"/>
                <a:gd name="T26" fmla="*/ 10 w 10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1">
                  <a:moveTo>
                    <a:pt x="8" y="2"/>
                  </a:moveTo>
                  <a:lnTo>
                    <a:pt x="7" y="0"/>
                  </a:lnTo>
                  <a:lnTo>
                    <a:pt x="10" y="6"/>
                  </a:lnTo>
                  <a:lnTo>
                    <a:pt x="10" y="11"/>
                  </a:lnTo>
                  <a:lnTo>
                    <a:pt x="1" y="11"/>
                  </a:lnTo>
                  <a:lnTo>
                    <a:pt x="0" y="4"/>
                  </a:lnTo>
                  <a:lnTo>
                    <a:pt x="6" y="0"/>
                  </a:lnTo>
                  <a:lnTo>
                    <a:pt x="8" y="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4" name="Freeform 162"/>
            <p:cNvSpPr>
              <a:spLocks/>
            </p:cNvSpPr>
            <p:nvPr/>
          </p:nvSpPr>
          <p:spPr bwMode="auto">
            <a:xfrm>
              <a:off x="5140147" y="1581229"/>
              <a:ext cx="81241" cy="209657"/>
            </a:xfrm>
            <a:custGeom>
              <a:avLst/>
              <a:gdLst>
                <a:gd name="T0" fmla="*/ 6 w 68"/>
                <a:gd name="T1" fmla="*/ 25 h 210"/>
                <a:gd name="T2" fmla="*/ 8 w 68"/>
                <a:gd name="T3" fmla="*/ 16 h 210"/>
                <a:gd name="T4" fmla="*/ 9 w 68"/>
                <a:gd name="T5" fmla="*/ 14 h 210"/>
                <a:gd name="T6" fmla="*/ 9 w 68"/>
                <a:gd name="T7" fmla="*/ 13 h 210"/>
                <a:gd name="T8" fmla="*/ 9 w 68"/>
                <a:gd name="T9" fmla="*/ 12 h 210"/>
                <a:gd name="T10" fmla="*/ 9 w 68"/>
                <a:gd name="T11" fmla="*/ 12 h 210"/>
                <a:gd name="T12" fmla="*/ 9 w 68"/>
                <a:gd name="T13" fmla="*/ 12 h 210"/>
                <a:gd name="T14" fmla="*/ 8 w 68"/>
                <a:gd name="T15" fmla="*/ 12 h 210"/>
                <a:gd name="T16" fmla="*/ 6 w 68"/>
                <a:gd name="T17" fmla="*/ 13 h 210"/>
                <a:gd name="T18" fmla="*/ 6 w 68"/>
                <a:gd name="T19" fmla="*/ 13 h 210"/>
                <a:gd name="T20" fmla="*/ 5 w 68"/>
                <a:gd name="T21" fmla="*/ 12 h 210"/>
                <a:gd name="T22" fmla="*/ 5 w 68"/>
                <a:gd name="T23" fmla="*/ 12 h 210"/>
                <a:gd name="T24" fmla="*/ 6 w 68"/>
                <a:gd name="T25" fmla="*/ 12 h 210"/>
                <a:gd name="T26" fmla="*/ 6 w 68"/>
                <a:gd name="T27" fmla="*/ 10 h 210"/>
                <a:gd name="T28" fmla="*/ 7 w 68"/>
                <a:gd name="T29" fmla="*/ 10 h 210"/>
                <a:gd name="T30" fmla="*/ 8 w 68"/>
                <a:gd name="T31" fmla="*/ 10 h 210"/>
                <a:gd name="T32" fmla="*/ 8 w 68"/>
                <a:gd name="T33" fmla="*/ 10 h 210"/>
                <a:gd name="T34" fmla="*/ 8 w 68"/>
                <a:gd name="T35" fmla="*/ 10 h 210"/>
                <a:gd name="T36" fmla="*/ 7 w 68"/>
                <a:gd name="T37" fmla="*/ 10 h 210"/>
                <a:gd name="T38" fmla="*/ 6 w 68"/>
                <a:gd name="T39" fmla="*/ 10 h 210"/>
                <a:gd name="T40" fmla="*/ 6 w 68"/>
                <a:gd name="T41" fmla="*/ 9 h 210"/>
                <a:gd name="T42" fmla="*/ 6 w 68"/>
                <a:gd name="T43" fmla="*/ 9 h 210"/>
                <a:gd name="T44" fmla="*/ 6 w 68"/>
                <a:gd name="T45" fmla="*/ 7 h 210"/>
                <a:gd name="T46" fmla="*/ 6 w 68"/>
                <a:gd name="T47" fmla="*/ 6 h 210"/>
                <a:gd name="T48" fmla="*/ 7 w 68"/>
                <a:gd name="T49" fmla="*/ 5 h 210"/>
                <a:gd name="T50" fmla="*/ 7 w 68"/>
                <a:gd name="T51" fmla="*/ 5 h 210"/>
                <a:gd name="T52" fmla="*/ 8 w 68"/>
                <a:gd name="T53" fmla="*/ 5 h 210"/>
                <a:gd name="T54" fmla="*/ 9 w 68"/>
                <a:gd name="T55" fmla="*/ 5 h 210"/>
                <a:gd name="T56" fmla="*/ 9 w 68"/>
                <a:gd name="T57" fmla="*/ 5 h 210"/>
                <a:gd name="T58" fmla="*/ 9 w 68"/>
                <a:gd name="T59" fmla="*/ 5 h 210"/>
                <a:gd name="T60" fmla="*/ 10 w 68"/>
                <a:gd name="T61" fmla="*/ 6 h 210"/>
                <a:gd name="T62" fmla="*/ 11 w 68"/>
                <a:gd name="T63" fmla="*/ 6 h 210"/>
                <a:gd name="T64" fmla="*/ 11 w 68"/>
                <a:gd name="T65" fmla="*/ 4 h 210"/>
                <a:gd name="T66" fmla="*/ 11 w 68"/>
                <a:gd name="T67" fmla="*/ 3 h 210"/>
                <a:gd name="T68" fmla="*/ 11 w 68"/>
                <a:gd name="T69" fmla="*/ 3 h 210"/>
                <a:gd name="T70" fmla="*/ 11 w 68"/>
                <a:gd name="T71" fmla="*/ 2 h 210"/>
                <a:gd name="T72" fmla="*/ 11 w 68"/>
                <a:gd name="T73" fmla="*/ 2 h 210"/>
                <a:gd name="T74" fmla="*/ 11 w 68"/>
                <a:gd name="T75" fmla="*/ 2 h 210"/>
                <a:gd name="T76" fmla="*/ 11 w 68"/>
                <a:gd name="T77" fmla="*/ 1 h 210"/>
                <a:gd name="T78" fmla="*/ 11 w 68"/>
                <a:gd name="T79" fmla="*/ 0 h 210"/>
                <a:gd name="T80" fmla="*/ 11 w 68"/>
                <a:gd name="T81" fmla="*/ 1 h 210"/>
                <a:gd name="T82" fmla="*/ 10 w 68"/>
                <a:gd name="T83" fmla="*/ 2 h 210"/>
                <a:gd name="T84" fmla="*/ 9 w 68"/>
                <a:gd name="T85" fmla="*/ 2 h 210"/>
                <a:gd name="T86" fmla="*/ 9 w 68"/>
                <a:gd name="T87" fmla="*/ 2 h 210"/>
                <a:gd name="T88" fmla="*/ 9 w 68"/>
                <a:gd name="T89" fmla="*/ 2 h 210"/>
                <a:gd name="T90" fmla="*/ 9 w 68"/>
                <a:gd name="T91" fmla="*/ 2 h 210"/>
                <a:gd name="T92" fmla="*/ 7 w 68"/>
                <a:gd name="T93" fmla="*/ 2 h 210"/>
                <a:gd name="T94" fmla="*/ 6 w 68"/>
                <a:gd name="T95" fmla="*/ 1 h 210"/>
                <a:gd name="T96" fmla="*/ 3 w 68"/>
                <a:gd name="T97" fmla="*/ 10 h 210"/>
                <a:gd name="T98" fmla="*/ 2 w 68"/>
                <a:gd name="T99" fmla="*/ 12 h 210"/>
                <a:gd name="T100" fmla="*/ 2 w 68"/>
                <a:gd name="T101" fmla="*/ 12 h 210"/>
                <a:gd name="T102" fmla="*/ 1 w 68"/>
                <a:gd name="T103" fmla="*/ 13 h 210"/>
                <a:gd name="T104" fmla="*/ 1 w 68"/>
                <a:gd name="T105" fmla="*/ 13 h 210"/>
                <a:gd name="T106" fmla="*/ 0 w 68"/>
                <a:gd name="T107" fmla="*/ 14 h 210"/>
                <a:gd name="T108" fmla="*/ 5 w 68"/>
                <a:gd name="T109" fmla="*/ 25 h 210"/>
                <a:gd name="T110" fmla="*/ 6 w 68"/>
                <a:gd name="T111" fmla="*/ 25 h 2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"/>
                <a:gd name="T169" fmla="*/ 0 h 210"/>
                <a:gd name="T170" fmla="*/ 68 w 68"/>
                <a:gd name="T171" fmla="*/ 210 h 2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" h="210">
                  <a:moveTo>
                    <a:pt x="37" y="207"/>
                  </a:moveTo>
                  <a:lnTo>
                    <a:pt x="51" y="132"/>
                  </a:lnTo>
                  <a:lnTo>
                    <a:pt x="59" y="116"/>
                  </a:lnTo>
                  <a:lnTo>
                    <a:pt x="57" y="111"/>
                  </a:lnTo>
                  <a:lnTo>
                    <a:pt x="59" y="100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46" y="103"/>
                  </a:lnTo>
                  <a:lnTo>
                    <a:pt x="37" y="105"/>
                  </a:lnTo>
                  <a:lnTo>
                    <a:pt x="36" y="107"/>
                  </a:lnTo>
                  <a:lnTo>
                    <a:pt x="32" y="103"/>
                  </a:lnTo>
                  <a:lnTo>
                    <a:pt x="32" y="99"/>
                  </a:lnTo>
                  <a:lnTo>
                    <a:pt x="36" y="96"/>
                  </a:lnTo>
                  <a:lnTo>
                    <a:pt x="39" y="85"/>
                  </a:lnTo>
                  <a:lnTo>
                    <a:pt x="42" y="82"/>
                  </a:lnTo>
                  <a:lnTo>
                    <a:pt x="47" y="82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5" y="78"/>
                  </a:lnTo>
                  <a:lnTo>
                    <a:pt x="37" y="78"/>
                  </a:lnTo>
                  <a:lnTo>
                    <a:pt x="38" y="74"/>
                  </a:lnTo>
                  <a:lnTo>
                    <a:pt x="36" y="70"/>
                  </a:lnTo>
                  <a:lnTo>
                    <a:pt x="36" y="57"/>
                  </a:lnTo>
                  <a:lnTo>
                    <a:pt x="41" y="52"/>
                  </a:lnTo>
                  <a:lnTo>
                    <a:pt x="42" y="44"/>
                  </a:lnTo>
                  <a:lnTo>
                    <a:pt x="43" y="42"/>
                  </a:lnTo>
                  <a:lnTo>
                    <a:pt x="46" y="41"/>
                  </a:lnTo>
                  <a:lnTo>
                    <a:pt x="52" y="42"/>
                  </a:lnTo>
                  <a:lnTo>
                    <a:pt x="56" y="41"/>
                  </a:lnTo>
                  <a:lnTo>
                    <a:pt x="57" y="46"/>
                  </a:lnTo>
                  <a:lnTo>
                    <a:pt x="60" y="49"/>
                  </a:lnTo>
                  <a:lnTo>
                    <a:pt x="63" y="49"/>
                  </a:lnTo>
                  <a:lnTo>
                    <a:pt x="63" y="33"/>
                  </a:lnTo>
                  <a:lnTo>
                    <a:pt x="68" y="28"/>
                  </a:lnTo>
                  <a:lnTo>
                    <a:pt x="65" y="22"/>
                  </a:lnTo>
                  <a:lnTo>
                    <a:pt x="67" y="17"/>
                  </a:lnTo>
                  <a:lnTo>
                    <a:pt x="65" y="14"/>
                  </a:lnTo>
                  <a:lnTo>
                    <a:pt x="68" y="11"/>
                  </a:lnTo>
                  <a:lnTo>
                    <a:pt x="67" y="1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2" y="13"/>
                  </a:lnTo>
                  <a:lnTo>
                    <a:pt x="58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1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19" y="86"/>
                  </a:lnTo>
                  <a:lnTo>
                    <a:pt x="11" y="95"/>
                  </a:lnTo>
                  <a:lnTo>
                    <a:pt x="14" y="99"/>
                  </a:lnTo>
                  <a:lnTo>
                    <a:pt x="6" y="108"/>
                  </a:lnTo>
                  <a:lnTo>
                    <a:pt x="6" y="112"/>
                  </a:lnTo>
                  <a:lnTo>
                    <a:pt x="0" y="115"/>
                  </a:lnTo>
                  <a:lnTo>
                    <a:pt x="32" y="210"/>
                  </a:lnTo>
                  <a:lnTo>
                    <a:pt x="37" y="20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5" name="Freeform 163"/>
            <p:cNvSpPr>
              <a:spLocks/>
            </p:cNvSpPr>
            <p:nvPr/>
          </p:nvSpPr>
          <p:spPr bwMode="auto">
            <a:xfrm>
              <a:off x="5140147" y="1581229"/>
              <a:ext cx="81241" cy="209657"/>
            </a:xfrm>
            <a:custGeom>
              <a:avLst/>
              <a:gdLst>
                <a:gd name="T0" fmla="*/ 6 w 68"/>
                <a:gd name="T1" fmla="*/ 25 h 210"/>
                <a:gd name="T2" fmla="*/ 8 w 68"/>
                <a:gd name="T3" fmla="*/ 16 h 210"/>
                <a:gd name="T4" fmla="*/ 9 w 68"/>
                <a:gd name="T5" fmla="*/ 14 h 210"/>
                <a:gd name="T6" fmla="*/ 9 w 68"/>
                <a:gd name="T7" fmla="*/ 13 h 210"/>
                <a:gd name="T8" fmla="*/ 9 w 68"/>
                <a:gd name="T9" fmla="*/ 12 h 210"/>
                <a:gd name="T10" fmla="*/ 9 w 68"/>
                <a:gd name="T11" fmla="*/ 12 h 210"/>
                <a:gd name="T12" fmla="*/ 9 w 68"/>
                <a:gd name="T13" fmla="*/ 12 h 210"/>
                <a:gd name="T14" fmla="*/ 8 w 68"/>
                <a:gd name="T15" fmla="*/ 12 h 210"/>
                <a:gd name="T16" fmla="*/ 6 w 68"/>
                <a:gd name="T17" fmla="*/ 13 h 210"/>
                <a:gd name="T18" fmla="*/ 6 w 68"/>
                <a:gd name="T19" fmla="*/ 13 h 210"/>
                <a:gd name="T20" fmla="*/ 5 w 68"/>
                <a:gd name="T21" fmla="*/ 12 h 210"/>
                <a:gd name="T22" fmla="*/ 5 w 68"/>
                <a:gd name="T23" fmla="*/ 12 h 210"/>
                <a:gd name="T24" fmla="*/ 6 w 68"/>
                <a:gd name="T25" fmla="*/ 12 h 210"/>
                <a:gd name="T26" fmla="*/ 6 w 68"/>
                <a:gd name="T27" fmla="*/ 10 h 210"/>
                <a:gd name="T28" fmla="*/ 7 w 68"/>
                <a:gd name="T29" fmla="*/ 10 h 210"/>
                <a:gd name="T30" fmla="*/ 8 w 68"/>
                <a:gd name="T31" fmla="*/ 10 h 210"/>
                <a:gd name="T32" fmla="*/ 8 w 68"/>
                <a:gd name="T33" fmla="*/ 10 h 210"/>
                <a:gd name="T34" fmla="*/ 8 w 68"/>
                <a:gd name="T35" fmla="*/ 10 h 210"/>
                <a:gd name="T36" fmla="*/ 7 w 68"/>
                <a:gd name="T37" fmla="*/ 10 h 210"/>
                <a:gd name="T38" fmla="*/ 6 w 68"/>
                <a:gd name="T39" fmla="*/ 10 h 210"/>
                <a:gd name="T40" fmla="*/ 6 w 68"/>
                <a:gd name="T41" fmla="*/ 9 h 210"/>
                <a:gd name="T42" fmla="*/ 6 w 68"/>
                <a:gd name="T43" fmla="*/ 9 h 210"/>
                <a:gd name="T44" fmla="*/ 6 w 68"/>
                <a:gd name="T45" fmla="*/ 7 h 210"/>
                <a:gd name="T46" fmla="*/ 6 w 68"/>
                <a:gd name="T47" fmla="*/ 6 h 210"/>
                <a:gd name="T48" fmla="*/ 7 w 68"/>
                <a:gd name="T49" fmla="*/ 5 h 210"/>
                <a:gd name="T50" fmla="*/ 7 w 68"/>
                <a:gd name="T51" fmla="*/ 5 h 210"/>
                <a:gd name="T52" fmla="*/ 8 w 68"/>
                <a:gd name="T53" fmla="*/ 5 h 210"/>
                <a:gd name="T54" fmla="*/ 9 w 68"/>
                <a:gd name="T55" fmla="*/ 5 h 210"/>
                <a:gd name="T56" fmla="*/ 9 w 68"/>
                <a:gd name="T57" fmla="*/ 5 h 210"/>
                <a:gd name="T58" fmla="*/ 9 w 68"/>
                <a:gd name="T59" fmla="*/ 5 h 210"/>
                <a:gd name="T60" fmla="*/ 10 w 68"/>
                <a:gd name="T61" fmla="*/ 6 h 210"/>
                <a:gd name="T62" fmla="*/ 11 w 68"/>
                <a:gd name="T63" fmla="*/ 6 h 210"/>
                <a:gd name="T64" fmla="*/ 11 w 68"/>
                <a:gd name="T65" fmla="*/ 4 h 210"/>
                <a:gd name="T66" fmla="*/ 11 w 68"/>
                <a:gd name="T67" fmla="*/ 3 h 210"/>
                <a:gd name="T68" fmla="*/ 11 w 68"/>
                <a:gd name="T69" fmla="*/ 3 h 210"/>
                <a:gd name="T70" fmla="*/ 11 w 68"/>
                <a:gd name="T71" fmla="*/ 2 h 210"/>
                <a:gd name="T72" fmla="*/ 11 w 68"/>
                <a:gd name="T73" fmla="*/ 2 h 210"/>
                <a:gd name="T74" fmla="*/ 11 w 68"/>
                <a:gd name="T75" fmla="*/ 2 h 210"/>
                <a:gd name="T76" fmla="*/ 11 w 68"/>
                <a:gd name="T77" fmla="*/ 1 h 210"/>
                <a:gd name="T78" fmla="*/ 11 w 68"/>
                <a:gd name="T79" fmla="*/ 0 h 210"/>
                <a:gd name="T80" fmla="*/ 11 w 68"/>
                <a:gd name="T81" fmla="*/ 1 h 210"/>
                <a:gd name="T82" fmla="*/ 10 w 68"/>
                <a:gd name="T83" fmla="*/ 2 h 210"/>
                <a:gd name="T84" fmla="*/ 9 w 68"/>
                <a:gd name="T85" fmla="*/ 2 h 210"/>
                <a:gd name="T86" fmla="*/ 9 w 68"/>
                <a:gd name="T87" fmla="*/ 2 h 210"/>
                <a:gd name="T88" fmla="*/ 9 w 68"/>
                <a:gd name="T89" fmla="*/ 2 h 210"/>
                <a:gd name="T90" fmla="*/ 9 w 68"/>
                <a:gd name="T91" fmla="*/ 2 h 210"/>
                <a:gd name="T92" fmla="*/ 7 w 68"/>
                <a:gd name="T93" fmla="*/ 2 h 210"/>
                <a:gd name="T94" fmla="*/ 6 w 68"/>
                <a:gd name="T95" fmla="*/ 1 h 210"/>
                <a:gd name="T96" fmla="*/ 3 w 68"/>
                <a:gd name="T97" fmla="*/ 10 h 210"/>
                <a:gd name="T98" fmla="*/ 2 w 68"/>
                <a:gd name="T99" fmla="*/ 12 h 210"/>
                <a:gd name="T100" fmla="*/ 2 w 68"/>
                <a:gd name="T101" fmla="*/ 12 h 210"/>
                <a:gd name="T102" fmla="*/ 1 w 68"/>
                <a:gd name="T103" fmla="*/ 13 h 210"/>
                <a:gd name="T104" fmla="*/ 1 w 68"/>
                <a:gd name="T105" fmla="*/ 13 h 210"/>
                <a:gd name="T106" fmla="*/ 0 w 68"/>
                <a:gd name="T107" fmla="*/ 14 h 210"/>
                <a:gd name="T108" fmla="*/ 5 w 68"/>
                <a:gd name="T109" fmla="*/ 25 h 210"/>
                <a:gd name="T110" fmla="*/ 6 w 68"/>
                <a:gd name="T111" fmla="*/ 25 h 2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"/>
                <a:gd name="T169" fmla="*/ 0 h 210"/>
                <a:gd name="T170" fmla="*/ 68 w 68"/>
                <a:gd name="T171" fmla="*/ 210 h 2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" h="210">
                  <a:moveTo>
                    <a:pt x="37" y="207"/>
                  </a:moveTo>
                  <a:lnTo>
                    <a:pt x="51" y="132"/>
                  </a:lnTo>
                  <a:lnTo>
                    <a:pt x="59" y="116"/>
                  </a:lnTo>
                  <a:lnTo>
                    <a:pt x="57" y="111"/>
                  </a:lnTo>
                  <a:lnTo>
                    <a:pt x="59" y="100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46" y="103"/>
                  </a:lnTo>
                  <a:lnTo>
                    <a:pt x="37" y="105"/>
                  </a:lnTo>
                  <a:lnTo>
                    <a:pt x="36" y="107"/>
                  </a:lnTo>
                  <a:lnTo>
                    <a:pt x="32" y="103"/>
                  </a:lnTo>
                  <a:lnTo>
                    <a:pt x="32" y="99"/>
                  </a:lnTo>
                  <a:lnTo>
                    <a:pt x="36" y="96"/>
                  </a:lnTo>
                  <a:lnTo>
                    <a:pt x="39" y="85"/>
                  </a:lnTo>
                  <a:lnTo>
                    <a:pt x="42" y="82"/>
                  </a:lnTo>
                  <a:lnTo>
                    <a:pt x="47" y="82"/>
                  </a:lnTo>
                  <a:lnTo>
                    <a:pt x="48" y="81"/>
                  </a:lnTo>
                  <a:lnTo>
                    <a:pt x="48" y="79"/>
                  </a:lnTo>
                  <a:lnTo>
                    <a:pt x="45" y="78"/>
                  </a:lnTo>
                  <a:lnTo>
                    <a:pt x="37" y="78"/>
                  </a:lnTo>
                  <a:lnTo>
                    <a:pt x="38" y="74"/>
                  </a:lnTo>
                  <a:lnTo>
                    <a:pt x="36" y="70"/>
                  </a:lnTo>
                  <a:lnTo>
                    <a:pt x="36" y="57"/>
                  </a:lnTo>
                  <a:lnTo>
                    <a:pt x="41" y="52"/>
                  </a:lnTo>
                  <a:lnTo>
                    <a:pt x="42" y="44"/>
                  </a:lnTo>
                  <a:lnTo>
                    <a:pt x="43" y="42"/>
                  </a:lnTo>
                  <a:lnTo>
                    <a:pt x="46" y="41"/>
                  </a:lnTo>
                  <a:lnTo>
                    <a:pt x="52" y="42"/>
                  </a:lnTo>
                  <a:lnTo>
                    <a:pt x="56" y="41"/>
                  </a:lnTo>
                  <a:lnTo>
                    <a:pt x="57" y="46"/>
                  </a:lnTo>
                  <a:lnTo>
                    <a:pt x="60" y="49"/>
                  </a:lnTo>
                  <a:lnTo>
                    <a:pt x="63" y="49"/>
                  </a:lnTo>
                  <a:lnTo>
                    <a:pt x="63" y="33"/>
                  </a:lnTo>
                  <a:lnTo>
                    <a:pt x="68" y="28"/>
                  </a:lnTo>
                  <a:lnTo>
                    <a:pt x="65" y="22"/>
                  </a:lnTo>
                  <a:lnTo>
                    <a:pt x="67" y="17"/>
                  </a:lnTo>
                  <a:lnTo>
                    <a:pt x="65" y="14"/>
                  </a:lnTo>
                  <a:lnTo>
                    <a:pt x="68" y="11"/>
                  </a:lnTo>
                  <a:lnTo>
                    <a:pt x="67" y="1"/>
                  </a:lnTo>
                  <a:lnTo>
                    <a:pt x="65" y="0"/>
                  </a:lnTo>
                  <a:lnTo>
                    <a:pt x="63" y="2"/>
                  </a:lnTo>
                  <a:lnTo>
                    <a:pt x="62" y="13"/>
                  </a:lnTo>
                  <a:lnTo>
                    <a:pt x="58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1"/>
                  </a:lnTo>
                  <a:lnTo>
                    <a:pt x="43" y="12"/>
                  </a:lnTo>
                  <a:lnTo>
                    <a:pt x="41" y="10"/>
                  </a:lnTo>
                  <a:lnTo>
                    <a:pt x="19" y="86"/>
                  </a:lnTo>
                  <a:lnTo>
                    <a:pt x="11" y="95"/>
                  </a:lnTo>
                  <a:lnTo>
                    <a:pt x="14" y="99"/>
                  </a:lnTo>
                  <a:lnTo>
                    <a:pt x="6" y="108"/>
                  </a:lnTo>
                  <a:lnTo>
                    <a:pt x="6" y="112"/>
                  </a:lnTo>
                  <a:lnTo>
                    <a:pt x="0" y="115"/>
                  </a:lnTo>
                  <a:lnTo>
                    <a:pt x="32" y="210"/>
                  </a:lnTo>
                  <a:lnTo>
                    <a:pt x="37" y="20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6" name="Freeform 164"/>
            <p:cNvSpPr>
              <a:spLocks/>
            </p:cNvSpPr>
            <p:nvPr/>
          </p:nvSpPr>
          <p:spPr bwMode="auto">
            <a:xfrm>
              <a:off x="5400116" y="1345599"/>
              <a:ext cx="532126" cy="456419"/>
            </a:xfrm>
            <a:custGeom>
              <a:avLst/>
              <a:gdLst>
                <a:gd name="T0" fmla="*/ 73 w 447"/>
                <a:gd name="T1" fmla="*/ 49 h 459"/>
                <a:gd name="T2" fmla="*/ 72 w 447"/>
                <a:gd name="T3" fmla="*/ 50 h 459"/>
                <a:gd name="T4" fmla="*/ 69 w 447"/>
                <a:gd name="T5" fmla="*/ 49 h 459"/>
                <a:gd name="T6" fmla="*/ 69 w 447"/>
                <a:gd name="T7" fmla="*/ 49 h 459"/>
                <a:gd name="T8" fmla="*/ 69 w 447"/>
                <a:gd name="T9" fmla="*/ 49 h 459"/>
                <a:gd name="T10" fmla="*/ 65 w 447"/>
                <a:gd name="T11" fmla="*/ 49 h 459"/>
                <a:gd name="T12" fmla="*/ 63 w 447"/>
                <a:gd name="T13" fmla="*/ 50 h 459"/>
                <a:gd name="T14" fmla="*/ 60 w 447"/>
                <a:gd name="T15" fmla="*/ 53 h 459"/>
                <a:gd name="T16" fmla="*/ 58 w 447"/>
                <a:gd name="T17" fmla="*/ 55 h 459"/>
                <a:gd name="T18" fmla="*/ 45 w 447"/>
                <a:gd name="T19" fmla="*/ 54 h 459"/>
                <a:gd name="T20" fmla="*/ 36 w 447"/>
                <a:gd name="T21" fmla="*/ 51 h 459"/>
                <a:gd name="T22" fmla="*/ 36 w 447"/>
                <a:gd name="T23" fmla="*/ 51 h 459"/>
                <a:gd name="T24" fmla="*/ 36 w 447"/>
                <a:gd name="T25" fmla="*/ 47 h 459"/>
                <a:gd name="T26" fmla="*/ 36 w 447"/>
                <a:gd name="T27" fmla="*/ 47 h 459"/>
                <a:gd name="T28" fmla="*/ 32 w 447"/>
                <a:gd name="T29" fmla="*/ 47 h 459"/>
                <a:gd name="T30" fmla="*/ 30 w 447"/>
                <a:gd name="T31" fmla="*/ 45 h 459"/>
                <a:gd name="T32" fmla="*/ 2 w 447"/>
                <a:gd name="T33" fmla="*/ 35 h 459"/>
                <a:gd name="T34" fmla="*/ 0 w 447"/>
                <a:gd name="T35" fmla="*/ 28 h 459"/>
                <a:gd name="T36" fmla="*/ 17 w 447"/>
                <a:gd name="T37" fmla="*/ 21 h 459"/>
                <a:gd name="T38" fmla="*/ 18 w 447"/>
                <a:gd name="T39" fmla="*/ 18 h 459"/>
                <a:gd name="T40" fmla="*/ 19 w 447"/>
                <a:gd name="T41" fmla="*/ 7 h 459"/>
                <a:gd name="T42" fmla="*/ 23 w 447"/>
                <a:gd name="T43" fmla="*/ 6 h 459"/>
                <a:gd name="T44" fmla="*/ 26 w 447"/>
                <a:gd name="T45" fmla="*/ 3 h 459"/>
                <a:gd name="T46" fmla="*/ 31 w 447"/>
                <a:gd name="T47" fmla="*/ 0 h 459"/>
                <a:gd name="T48" fmla="*/ 35 w 447"/>
                <a:gd name="T49" fmla="*/ 1 h 459"/>
                <a:gd name="T50" fmla="*/ 40 w 447"/>
                <a:gd name="T51" fmla="*/ 1 h 459"/>
                <a:gd name="T52" fmla="*/ 42 w 447"/>
                <a:gd name="T53" fmla="*/ 2 h 459"/>
                <a:gd name="T54" fmla="*/ 44 w 447"/>
                <a:gd name="T55" fmla="*/ 2 h 459"/>
                <a:gd name="T56" fmla="*/ 45 w 447"/>
                <a:gd name="T57" fmla="*/ 2 h 459"/>
                <a:gd name="T58" fmla="*/ 46 w 447"/>
                <a:gd name="T59" fmla="*/ 5 h 459"/>
                <a:gd name="T60" fmla="*/ 47 w 447"/>
                <a:gd name="T61" fmla="*/ 6 h 459"/>
                <a:gd name="T62" fmla="*/ 49 w 447"/>
                <a:gd name="T63" fmla="*/ 7 h 459"/>
                <a:gd name="T64" fmla="*/ 49 w 447"/>
                <a:gd name="T65" fmla="*/ 10 h 459"/>
                <a:gd name="T66" fmla="*/ 51 w 447"/>
                <a:gd name="T67" fmla="*/ 11 h 459"/>
                <a:gd name="T68" fmla="*/ 56 w 447"/>
                <a:gd name="T69" fmla="*/ 11 h 459"/>
                <a:gd name="T70" fmla="*/ 55 w 447"/>
                <a:gd name="T71" fmla="*/ 12 h 459"/>
                <a:gd name="T72" fmla="*/ 55 w 447"/>
                <a:gd name="T73" fmla="*/ 13 h 459"/>
                <a:gd name="T74" fmla="*/ 55 w 447"/>
                <a:gd name="T75" fmla="*/ 15 h 459"/>
                <a:gd name="T76" fmla="*/ 52 w 447"/>
                <a:gd name="T77" fmla="*/ 18 h 459"/>
                <a:gd name="T78" fmla="*/ 52 w 447"/>
                <a:gd name="T79" fmla="*/ 19 h 459"/>
                <a:gd name="T80" fmla="*/ 51 w 447"/>
                <a:gd name="T81" fmla="*/ 19 h 459"/>
                <a:gd name="T82" fmla="*/ 50 w 447"/>
                <a:gd name="T83" fmla="*/ 20 h 459"/>
                <a:gd name="T84" fmla="*/ 50 w 447"/>
                <a:gd name="T85" fmla="*/ 23 h 459"/>
                <a:gd name="T86" fmla="*/ 49 w 447"/>
                <a:gd name="T87" fmla="*/ 23 h 459"/>
                <a:gd name="T88" fmla="*/ 49 w 447"/>
                <a:gd name="T89" fmla="*/ 24 h 459"/>
                <a:gd name="T90" fmla="*/ 49 w 447"/>
                <a:gd name="T91" fmla="*/ 25 h 459"/>
                <a:gd name="T92" fmla="*/ 50 w 447"/>
                <a:gd name="T93" fmla="*/ 26 h 459"/>
                <a:gd name="T94" fmla="*/ 51 w 447"/>
                <a:gd name="T95" fmla="*/ 26 h 459"/>
                <a:gd name="T96" fmla="*/ 52 w 447"/>
                <a:gd name="T97" fmla="*/ 26 h 459"/>
                <a:gd name="T98" fmla="*/ 53 w 447"/>
                <a:gd name="T99" fmla="*/ 27 h 459"/>
                <a:gd name="T100" fmla="*/ 53 w 447"/>
                <a:gd name="T101" fmla="*/ 28 h 459"/>
                <a:gd name="T102" fmla="*/ 53 w 447"/>
                <a:gd name="T103" fmla="*/ 29 h 459"/>
                <a:gd name="T104" fmla="*/ 60 w 447"/>
                <a:gd name="T105" fmla="*/ 33 h 459"/>
                <a:gd name="T106" fmla="*/ 62 w 447"/>
                <a:gd name="T107" fmla="*/ 33 h 459"/>
                <a:gd name="T108" fmla="*/ 66 w 447"/>
                <a:gd name="T109" fmla="*/ 38 h 459"/>
                <a:gd name="T110" fmla="*/ 66 w 447"/>
                <a:gd name="T111" fmla="*/ 43 h 459"/>
                <a:gd name="T112" fmla="*/ 67 w 447"/>
                <a:gd name="T113" fmla="*/ 43 h 459"/>
                <a:gd name="T114" fmla="*/ 68 w 447"/>
                <a:gd name="T115" fmla="*/ 46 h 459"/>
                <a:gd name="T116" fmla="*/ 73 w 447"/>
                <a:gd name="T117" fmla="*/ 49 h 45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47"/>
                <a:gd name="T178" fmla="*/ 0 h 459"/>
                <a:gd name="T179" fmla="*/ 447 w 447"/>
                <a:gd name="T180" fmla="*/ 459 h 45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47" h="459">
                  <a:moveTo>
                    <a:pt x="447" y="409"/>
                  </a:moveTo>
                  <a:lnTo>
                    <a:pt x="441" y="418"/>
                  </a:lnTo>
                  <a:lnTo>
                    <a:pt x="425" y="410"/>
                  </a:lnTo>
                  <a:lnTo>
                    <a:pt x="424" y="411"/>
                  </a:lnTo>
                  <a:lnTo>
                    <a:pt x="422" y="413"/>
                  </a:lnTo>
                  <a:lnTo>
                    <a:pt x="401" y="409"/>
                  </a:lnTo>
                  <a:lnTo>
                    <a:pt x="388" y="414"/>
                  </a:lnTo>
                  <a:lnTo>
                    <a:pt x="371" y="445"/>
                  </a:lnTo>
                  <a:lnTo>
                    <a:pt x="356" y="459"/>
                  </a:lnTo>
                  <a:lnTo>
                    <a:pt x="275" y="454"/>
                  </a:lnTo>
                  <a:lnTo>
                    <a:pt x="222" y="431"/>
                  </a:lnTo>
                  <a:lnTo>
                    <a:pt x="220" y="428"/>
                  </a:lnTo>
                  <a:lnTo>
                    <a:pt x="220" y="395"/>
                  </a:lnTo>
                  <a:lnTo>
                    <a:pt x="218" y="393"/>
                  </a:lnTo>
                  <a:lnTo>
                    <a:pt x="194" y="390"/>
                  </a:lnTo>
                  <a:lnTo>
                    <a:pt x="187" y="375"/>
                  </a:lnTo>
                  <a:lnTo>
                    <a:pt x="14" y="295"/>
                  </a:lnTo>
                  <a:lnTo>
                    <a:pt x="0" y="233"/>
                  </a:lnTo>
                  <a:lnTo>
                    <a:pt x="103" y="172"/>
                  </a:lnTo>
                  <a:lnTo>
                    <a:pt x="112" y="150"/>
                  </a:lnTo>
                  <a:lnTo>
                    <a:pt x="117" y="61"/>
                  </a:lnTo>
                  <a:lnTo>
                    <a:pt x="143" y="51"/>
                  </a:lnTo>
                  <a:lnTo>
                    <a:pt x="158" y="26"/>
                  </a:lnTo>
                  <a:lnTo>
                    <a:pt x="191" y="0"/>
                  </a:lnTo>
                  <a:lnTo>
                    <a:pt x="210" y="8"/>
                  </a:lnTo>
                  <a:lnTo>
                    <a:pt x="249" y="8"/>
                  </a:lnTo>
                  <a:lnTo>
                    <a:pt x="256" y="17"/>
                  </a:lnTo>
                  <a:lnTo>
                    <a:pt x="270" y="19"/>
                  </a:lnTo>
                  <a:lnTo>
                    <a:pt x="276" y="13"/>
                  </a:lnTo>
                  <a:lnTo>
                    <a:pt x="280" y="40"/>
                  </a:lnTo>
                  <a:lnTo>
                    <a:pt x="288" y="54"/>
                  </a:lnTo>
                  <a:lnTo>
                    <a:pt x="297" y="61"/>
                  </a:lnTo>
                  <a:lnTo>
                    <a:pt x="304" y="81"/>
                  </a:lnTo>
                  <a:lnTo>
                    <a:pt x="312" y="89"/>
                  </a:lnTo>
                  <a:lnTo>
                    <a:pt x="344" y="94"/>
                  </a:lnTo>
                  <a:lnTo>
                    <a:pt x="338" y="100"/>
                  </a:lnTo>
                  <a:lnTo>
                    <a:pt x="334" y="112"/>
                  </a:lnTo>
                  <a:lnTo>
                    <a:pt x="338" y="127"/>
                  </a:lnTo>
                  <a:lnTo>
                    <a:pt x="319" y="154"/>
                  </a:lnTo>
                  <a:lnTo>
                    <a:pt x="319" y="160"/>
                  </a:lnTo>
                  <a:lnTo>
                    <a:pt x="312" y="163"/>
                  </a:lnTo>
                  <a:lnTo>
                    <a:pt x="309" y="169"/>
                  </a:lnTo>
                  <a:lnTo>
                    <a:pt x="306" y="190"/>
                  </a:lnTo>
                  <a:lnTo>
                    <a:pt x="304" y="195"/>
                  </a:lnTo>
                  <a:lnTo>
                    <a:pt x="300" y="197"/>
                  </a:lnTo>
                  <a:lnTo>
                    <a:pt x="303" y="210"/>
                  </a:lnTo>
                  <a:lnTo>
                    <a:pt x="308" y="214"/>
                  </a:lnTo>
                  <a:lnTo>
                    <a:pt x="315" y="214"/>
                  </a:lnTo>
                  <a:lnTo>
                    <a:pt x="318" y="221"/>
                  </a:lnTo>
                  <a:lnTo>
                    <a:pt x="323" y="226"/>
                  </a:lnTo>
                  <a:lnTo>
                    <a:pt x="328" y="237"/>
                  </a:lnTo>
                  <a:lnTo>
                    <a:pt x="329" y="246"/>
                  </a:lnTo>
                  <a:lnTo>
                    <a:pt x="371" y="274"/>
                  </a:lnTo>
                  <a:lnTo>
                    <a:pt x="382" y="277"/>
                  </a:lnTo>
                  <a:lnTo>
                    <a:pt x="407" y="319"/>
                  </a:lnTo>
                  <a:lnTo>
                    <a:pt x="403" y="359"/>
                  </a:lnTo>
                  <a:lnTo>
                    <a:pt x="414" y="365"/>
                  </a:lnTo>
                  <a:lnTo>
                    <a:pt x="417" y="381"/>
                  </a:lnTo>
                  <a:lnTo>
                    <a:pt x="447" y="40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7" name="Freeform 165"/>
            <p:cNvSpPr>
              <a:spLocks/>
            </p:cNvSpPr>
            <p:nvPr/>
          </p:nvSpPr>
          <p:spPr bwMode="auto">
            <a:xfrm>
              <a:off x="5400116" y="1345599"/>
              <a:ext cx="532126" cy="456419"/>
            </a:xfrm>
            <a:custGeom>
              <a:avLst/>
              <a:gdLst>
                <a:gd name="T0" fmla="*/ 73 w 447"/>
                <a:gd name="T1" fmla="*/ 49 h 459"/>
                <a:gd name="T2" fmla="*/ 72 w 447"/>
                <a:gd name="T3" fmla="*/ 50 h 459"/>
                <a:gd name="T4" fmla="*/ 69 w 447"/>
                <a:gd name="T5" fmla="*/ 49 h 459"/>
                <a:gd name="T6" fmla="*/ 69 w 447"/>
                <a:gd name="T7" fmla="*/ 49 h 459"/>
                <a:gd name="T8" fmla="*/ 69 w 447"/>
                <a:gd name="T9" fmla="*/ 49 h 459"/>
                <a:gd name="T10" fmla="*/ 65 w 447"/>
                <a:gd name="T11" fmla="*/ 49 h 459"/>
                <a:gd name="T12" fmla="*/ 63 w 447"/>
                <a:gd name="T13" fmla="*/ 50 h 459"/>
                <a:gd name="T14" fmla="*/ 60 w 447"/>
                <a:gd name="T15" fmla="*/ 53 h 459"/>
                <a:gd name="T16" fmla="*/ 58 w 447"/>
                <a:gd name="T17" fmla="*/ 55 h 459"/>
                <a:gd name="T18" fmla="*/ 45 w 447"/>
                <a:gd name="T19" fmla="*/ 54 h 459"/>
                <a:gd name="T20" fmla="*/ 36 w 447"/>
                <a:gd name="T21" fmla="*/ 51 h 459"/>
                <a:gd name="T22" fmla="*/ 36 w 447"/>
                <a:gd name="T23" fmla="*/ 51 h 459"/>
                <a:gd name="T24" fmla="*/ 36 w 447"/>
                <a:gd name="T25" fmla="*/ 47 h 459"/>
                <a:gd name="T26" fmla="*/ 36 w 447"/>
                <a:gd name="T27" fmla="*/ 47 h 459"/>
                <a:gd name="T28" fmla="*/ 32 w 447"/>
                <a:gd name="T29" fmla="*/ 47 h 459"/>
                <a:gd name="T30" fmla="*/ 30 w 447"/>
                <a:gd name="T31" fmla="*/ 45 h 459"/>
                <a:gd name="T32" fmla="*/ 2 w 447"/>
                <a:gd name="T33" fmla="*/ 35 h 459"/>
                <a:gd name="T34" fmla="*/ 2 w 447"/>
                <a:gd name="T35" fmla="*/ 35 h 459"/>
                <a:gd name="T36" fmla="*/ 0 w 447"/>
                <a:gd name="T37" fmla="*/ 28 h 459"/>
                <a:gd name="T38" fmla="*/ 17 w 447"/>
                <a:gd name="T39" fmla="*/ 21 h 459"/>
                <a:gd name="T40" fmla="*/ 18 w 447"/>
                <a:gd name="T41" fmla="*/ 18 h 459"/>
                <a:gd name="T42" fmla="*/ 19 w 447"/>
                <a:gd name="T43" fmla="*/ 7 h 459"/>
                <a:gd name="T44" fmla="*/ 23 w 447"/>
                <a:gd name="T45" fmla="*/ 6 h 459"/>
                <a:gd name="T46" fmla="*/ 26 w 447"/>
                <a:gd name="T47" fmla="*/ 3 h 459"/>
                <a:gd name="T48" fmla="*/ 31 w 447"/>
                <a:gd name="T49" fmla="*/ 0 h 459"/>
                <a:gd name="T50" fmla="*/ 35 w 447"/>
                <a:gd name="T51" fmla="*/ 1 h 459"/>
                <a:gd name="T52" fmla="*/ 40 w 447"/>
                <a:gd name="T53" fmla="*/ 1 h 459"/>
                <a:gd name="T54" fmla="*/ 42 w 447"/>
                <a:gd name="T55" fmla="*/ 2 h 459"/>
                <a:gd name="T56" fmla="*/ 44 w 447"/>
                <a:gd name="T57" fmla="*/ 2 h 459"/>
                <a:gd name="T58" fmla="*/ 45 w 447"/>
                <a:gd name="T59" fmla="*/ 2 h 459"/>
                <a:gd name="T60" fmla="*/ 46 w 447"/>
                <a:gd name="T61" fmla="*/ 5 h 459"/>
                <a:gd name="T62" fmla="*/ 47 w 447"/>
                <a:gd name="T63" fmla="*/ 6 h 459"/>
                <a:gd name="T64" fmla="*/ 49 w 447"/>
                <a:gd name="T65" fmla="*/ 7 h 459"/>
                <a:gd name="T66" fmla="*/ 49 w 447"/>
                <a:gd name="T67" fmla="*/ 10 h 459"/>
                <a:gd name="T68" fmla="*/ 51 w 447"/>
                <a:gd name="T69" fmla="*/ 11 h 459"/>
                <a:gd name="T70" fmla="*/ 56 w 447"/>
                <a:gd name="T71" fmla="*/ 11 h 459"/>
                <a:gd name="T72" fmla="*/ 55 w 447"/>
                <a:gd name="T73" fmla="*/ 12 h 459"/>
                <a:gd name="T74" fmla="*/ 55 w 447"/>
                <a:gd name="T75" fmla="*/ 13 h 459"/>
                <a:gd name="T76" fmla="*/ 55 w 447"/>
                <a:gd name="T77" fmla="*/ 15 h 459"/>
                <a:gd name="T78" fmla="*/ 52 w 447"/>
                <a:gd name="T79" fmla="*/ 18 h 459"/>
                <a:gd name="T80" fmla="*/ 52 w 447"/>
                <a:gd name="T81" fmla="*/ 19 h 459"/>
                <a:gd name="T82" fmla="*/ 51 w 447"/>
                <a:gd name="T83" fmla="*/ 19 h 459"/>
                <a:gd name="T84" fmla="*/ 50 w 447"/>
                <a:gd name="T85" fmla="*/ 20 h 459"/>
                <a:gd name="T86" fmla="*/ 50 w 447"/>
                <a:gd name="T87" fmla="*/ 23 h 459"/>
                <a:gd name="T88" fmla="*/ 49 w 447"/>
                <a:gd name="T89" fmla="*/ 23 h 459"/>
                <a:gd name="T90" fmla="*/ 49 w 447"/>
                <a:gd name="T91" fmla="*/ 24 h 459"/>
                <a:gd name="T92" fmla="*/ 49 w 447"/>
                <a:gd name="T93" fmla="*/ 25 h 459"/>
                <a:gd name="T94" fmla="*/ 50 w 447"/>
                <a:gd name="T95" fmla="*/ 26 h 459"/>
                <a:gd name="T96" fmla="*/ 51 w 447"/>
                <a:gd name="T97" fmla="*/ 26 h 459"/>
                <a:gd name="T98" fmla="*/ 52 w 447"/>
                <a:gd name="T99" fmla="*/ 26 h 459"/>
                <a:gd name="T100" fmla="*/ 53 w 447"/>
                <a:gd name="T101" fmla="*/ 27 h 459"/>
                <a:gd name="T102" fmla="*/ 53 w 447"/>
                <a:gd name="T103" fmla="*/ 28 h 459"/>
                <a:gd name="T104" fmla="*/ 53 w 447"/>
                <a:gd name="T105" fmla="*/ 29 h 459"/>
                <a:gd name="T106" fmla="*/ 60 w 447"/>
                <a:gd name="T107" fmla="*/ 33 h 459"/>
                <a:gd name="T108" fmla="*/ 62 w 447"/>
                <a:gd name="T109" fmla="*/ 33 h 459"/>
                <a:gd name="T110" fmla="*/ 66 w 447"/>
                <a:gd name="T111" fmla="*/ 38 h 459"/>
                <a:gd name="T112" fmla="*/ 66 w 447"/>
                <a:gd name="T113" fmla="*/ 43 h 459"/>
                <a:gd name="T114" fmla="*/ 67 w 447"/>
                <a:gd name="T115" fmla="*/ 43 h 459"/>
                <a:gd name="T116" fmla="*/ 68 w 447"/>
                <a:gd name="T117" fmla="*/ 46 h 459"/>
                <a:gd name="T118" fmla="*/ 73 w 447"/>
                <a:gd name="T119" fmla="*/ 49 h 45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47"/>
                <a:gd name="T181" fmla="*/ 0 h 459"/>
                <a:gd name="T182" fmla="*/ 447 w 447"/>
                <a:gd name="T183" fmla="*/ 459 h 45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47" h="459">
                  <a:moveTo>
                    <a:pt x="447" y="409"/>
                  </a:moveTo>
                  <a:lnTo>
                    <a:pt x="441" y="418"/>
                  </a:lnTo>
                  <a:lnTo>
                    <a:pt x="425" y="410"/>
                  </a:lnTo>
                  <a:lnTo>
                    <a:pt x="424" y="411"/>
                  </a:lnTo>
                  <a:lnTo>
                    <a:pt x="422" y="413"/>
                  </a:lnTo>
                  <a:lnTo>
                    <a:pt x="401" y="409"/>
                  </a:lnTo>
                  <a:lnTo>
                    <a:pt x="388" y="414"/>
                  </a:lnTo>
                  <a:lnTo>
                    <a:pt x="371" y="445"/>
                  </a:lnTo>
                  <a:lnTo>
                    <a:pt x="356" y="459"/>
                  </a:lnTo>
                  <a:lnTo>
                    <a:pt x="275" y="454"/>
                  </a:lnTo>
                  <a:lnTo>
                    <a:pt x="222" y="431"/>
                  </a:lnTo>
                  <a:lnTo>
                    <a:pt x="220" y="428"/>
                  </a:lnTo>
                  <a:lnTo>
                    <a:pt x="220" y="395"/>
                  </a:lnTo>
                  <a:lnTo>
                    <a:pt x="218" y="393"/>
                  </a:lnTo>
                  <a:lnTo>
                    <a:pt x="194" y="390"/>
                  </a:lnTo>
                  <a:lnTo>
                    <a:pt x="187" y="375"/>
                  </a:lnTo>
                  <a:lnTo>
                    <a:pt x="14" y="295"/>
                  </a:lnTo>
                  <a:lnTo>
                    <a:pt x="0" y="233"/>
                  </a:lnTo>
                  <a:lnTo>
                    <a:pt x="103" y="172"/>
                  </a:lnTo>
                  <a:lnTo>
                    <a:pt x="112" y="150"/>
                  </a:lnTo>
                  <a:lnTo>
                    <a:pt x="117" y="61"/>
                  </a:lnTo>
                  <a:lnTo>
                    <a:pt x="143" y="51"/>
                  </a:lnTo>
                  <a:lnTo>
                    <a:pt x="158" y="26"/>
                  </a:lnTo>
                  <a:lnTo>
                    <a:pt x="191" y="0"/>
                  </a:lnTo>
                  <a:lnTo>
                    <a:pt x="210" y="8"/>
                  </a:lnTo>
                  <a:lnTo>
                    <a:pt x="249" y="8"/>
                  </a:lnTo>
                  <a:lnTo>
                    <a:pt x="256" y="17"/>
                  </a:lnTo>
                  <a:lnTo>
                    <a:pt x="270" y="19"/>
                  </a:lnTo>
                  <a:lnTo>
                    <a:pt x="276" y="13"/>
                  </a:lnTo>
                  <a:lnTo>
                    <a:pt x="280" y="40"/>
                  </a:lnTo>
                  <a:lnTo>
                    <a:pt x="288" y="54"/>
                  </a:lnTo>
                  <a:lnTo>
                    <a:pt x="297" y="61"/>
                  </a:lnTo>
                  <a:lnTo>
                    <a:pt x="304" y="81"/>
                  </a:lnTo>
                  <a:lnTo>
                    <a:pt x="312" y="89"/>
                  </a:lnTo>
                  <a:lnTo>
                    <a:pt x="344" y="94"/>
                  </a:lnTo>
                  <a:lnTo>
                    <a:pt x="338" y="100"/>
                  </a:lnTo>
                  <a:lnTo>
                    <a:pt x="334" y="112"/>
                  </a:lnTo>
                  <a:lnTo>
                    <a:pt x="338" y="127"/>
                  </a:lnTo>
                  <a:lnTo>
                    <a:pt x="319" y="154"/>
                  </a:lnTo>
                  <a:lnTo>
                    <a:pt x="319" y="160"/>
                  </a:lnTo>
                  <a:lnTo>
                    <a:pt x="312" y="163"/>
                  </a:lnTo>
                  <a:lnTo>
                    <a:pt x="309" y="169"/>
                  </a:lnTo>
                  <a:lnTo>
                    <a:pt x="306" y="190"/>
                  </a:lnTo>
                  <a:lnTo>
                    <a:pt x="304" y="195"/>
                  </a:lnTo>
                  <a:lnTo>
                    <a:pt x="300" y="197"/>
                  </a:lnTo>
                  <a:lnTo>
                    <a:pt x="303" y="210"/>
                  </a:lnTo>
                  <a:lnTo>
                    <a:pt x="308" y="214"/>
                  </a:lnTo>
                  <a:lnTo>
                    <a:pt x="315" y="214"/>
                  </a:lnTo>
                  <a:lnTo>
                    <a:pt x="318" y="221"/>
                  </a:lnTo>
                  <a:lnTo>
                    <a:pt x="323" y="226"/>
                  </a:lnTo>
                  <a:lnTo>
                    <a:pt x="328" y="237"/>
                  </a:lnTo>
                  <a:lnTo>
                    <a:pt x="329" y="246"/>
                  </a:lnTo>
                  <a:lnTo>
                    <a:pt x="371" y="274"/>
                  </a:lnTo>
                  <a:lnTo>
                    <a:pt x="382" y="277"/>
                  </a:lnTo>
                  <a:lnTo>
                    <a:pt x="407" y="319"/>
                  </a:lnTo>
                  <a:lnTo>
                    <a:pt x="403" y="359"/>
                  </a:lnTo>
                  <a:lnTo>
                    <a:pt x="414" y="365"/>
                  </a:lnTo>
                  <a:lnTo>
                    <a:pt x="417" y="381"/>
                  </a:lnTo>
                  <a:lnTo>
                    <a:pt x="447" y="40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8" name="Freeform 166"/>
            <p:cNvSpPr>
              <a:spLocks/>
            </p:cNvSpPr>
            <p:nvPr/>
          </p:nvSpPr>
          <p:spPr bwMode="auto">
            <a:xfrm>
              <a:off x="6054103" y="1956012"/>
              <a:ext cx="44682" cy="81636"/>
            </a:xfrm>
            <a:custGeom>
              <a:avLst/>
              <a:gdLst>
                <a:gd name="T0" fmla="*/ 2 w 38"/>
                <a:gd name="T1" fmla="*/ 10 h 83"/>
                <a:gd name="T2" fmla="*/ 5 w 38"/>
                <a:gd name="T3" fmla="*/ 8 h 83"/>
                <a:gd name="T4" fmla="*/ 5 w 38"/>
                <a:gd name="T5" fmla="*/ 8 h 83"/>
                <a:gd name="T6" fmla="*/ 5 w 38"/>
                <a:gd name="T7" fmla="*/ 8 h 83"/>
                <a:gd name="T8" fmla="*/ 6 w 38"/>
                <a:gd name="T9" fmla="*/ 7 h 83"/>
                <a:gd name="T10" fmla="*/ 6 w 38"/>
                <a:gd name="T11" fmla="*/ 7 h 83"/>
                <a:gd name="T12" fmla="*/ 6 w 38"/>
                <a:gd name="T13" fmla="*/ 5 h 83"/>
                <a:gd name="T14" fmla="*/ 6 w 38"/>
                <a:gd name="T15" fmla="*/ 5 h 83"/>
                <a:gd name="T16" fmla="*/ 6 w 38"/>
                <a:gd name="T17" fmla="*/ 3 h 83"/>
                <a:gd name="T18" fmla="*/ 6 w 38"/>
                <a:gd name="T19" fmla="*/ 3 h 83"/>
                <a:gd name="T20" fmla="*/ 6 w 38"/>
                <a:gd name="T21" fmla="*/ 3 h 83"/>
                <a:gd name="T22" fmla="*/ 6 w 38"/>
                <a:gd name="T23" fmla="*/ 2 h 83"/>
                <a:gd name="T24" fmla="*/ 6 w 38"/>
                <a:gd name="T25" fmla="*/ 2 h 83"/>
                <a:gd name="T26" fmla="*/ 6 w 38"/>
                <a:gd name="T27" fmla="*/ 2 h 83"/>
                <a:gd name="T28" fmla="*/ 6 w 38"/>
                <a:gd name="T29" fmla="*/ 2 h 83"/>
                <a:gd name="T30" fmla="*/ 5 w 38"/>
                <a:gd name="T31" fmla="*/ 2 h 83"/>
                <a:gd name="T32" fmla="*/ 5 w 38"/>
                <a:gd name="T33" fmla="*/ 1 h 83"/>
                <a:gd name="T34" fmla="*/ 4 w 38"/>
                <a:gd name="T35" fmla="*/ 1 h 83"/>
                <a:gd name="T36" fmla="*/ 3 w 38"/>
                <a:gd name="T37" fmla="*/ 0 h 83"/>
                <a:gd name="T38" fmla="*/ 3 w 38"/>
                <a:gd name="T39" fmla="*/ 1 h 83"/>
                <a:gd name="T40" fmla="*/ 1 w 38"/>
                <a:gd name="T41" fmla="*/ 3 h 83"/>
                <a:gd name="T42" fmla="*/ 1 w 38"/>
                <a:gd name="T43" fmla="*/ 4 h 83"/>
                <a:gd name="T44" fmla="*/ 1 w 38"/>
                <a:gd name="T45" fmla="*/ 5 h 83"/>
                <a:gd name="T46" fmla="*/ 0 w 38"/>
                <a:gd name="T47" fmla="*/ 5 h 83"/>
                <a:gd name="T48" fmla="*/ 1 w 38"/>
                <a:gd name="T49" fmla="*/ 6 h 83"/>
                <a:gd name="T50" fmla="*/ 1 w 38"/>
                <a:gd name="T51" fmla="*/ 6 h 83"/>
                <a:gd name="T52" fmla="*/ 1 w 38"/>
                <a:gd name="T53" fmla="*/ 7 h 83"/>
                <a:gd name="T54" fmla="*/ 1 w 38"/>
                <a:gd name="T55" fmla="*/ 7 h 83"/>
                <a:gd name="T56" fmla="*/ 1 w 38"/>
                <a:gd name="T57" fmla="*/ 7 h 83"/>
                <a:gd name="T58" fmla="*/ 1 w 38"/>
                <a:gd name="T59" fmla="*/ 8 h 83"/>
                <a:gd name="T60" fmla="*/ 1 w 38"/>
                <a:gd name="T61" fmla="*/ 8 h 83"/>
                <a:gd name="T62" fmla="*/ 1 w 38"/>
                <a:gd name="T63" fmla="*/ 9 h 83"/>
                <a:gd name="T64" fmla="*/ 2 w 38"/>
                <a:gd name="T65" fmla="*/ 10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83"/>
                <a:gd name="T101" fmla="*/ 38 w 38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83">
                  <a:moveTo>
                    <a:pt x="14" y="83"/>
                  </a:moveTo>
                  <a:lnTo>
                    <a:pt x="31" y="76"/>
                  </a:lnTo>
                  <a:lnTo>
                    <a:pt x="32" y="74"/>
                  </a:lnTo>
                  <a:lnTo>
                    <a:pt x="33" y="68"/>
                  </a:lnTo>
                  <a:lnTo>
                    <a:pt x="37" y="62"/>
                  </a:lnTo>
                  <a:lnTo>
                    <a:pt x="38" y="59"/>
                  </a:lnTo>
                  <a:lnTo>
                    <a:pt x="37" y="47"/>
                  </a:lnTo>
                  <a:lnTo>
                    <a:pt x="35" y="43"/>
                  </a:lnTo>
                  <a:lnTo>
                    <a:pt x="35" y="28"/>
                  </a:lnTo>
                  <a:lnTo>
                    <a:pt x="36" y="27"/>
                  </a:lnTo>
                  <a:lnTo>
                    <a:pt x="35" y="25"/>
                  </a:lnTo>
                  <a:lnTo>
                    <a:pt x="37" y="21"/>
                  </a:lnTo>
                  <a:lnTo>
                    <a:pt x="37" y="18"/>
                  </a:lnTo>
                  <a:lnTo>
                    <a:pt x="38" y="14"/>
                  </a:lnTo>
                  <a:lnTo>
                    <a:pt x="36" y="13"/>
                  </a:lnTo>
                  <a:lnTo>
                    <a:pt x="31" y="12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7" y="3"/>
                  </a:lnTo>
                  <a:lnTo>
                    <a:pt x="7" y="30"/>
                  </a:lnTo>
                  <a:lnTo>
                    <a:pt x="1" y="36"/>
                  </a:lnTo>
                  <a:lnTo>
                    <a:pt x="1" y="43"/>
                  </a:lnTo>
                  <a:lnTo>
                    <a:pt x="0" y="46"/>
                  </a:lnTo>
                  <a:lnTo>
                    <a:pt x="2" y="49"/>
                  </a:lnTo>
                  <a:lnTo>
                    <a:pt x="1" y="53"/>
                  </a:lnTo>
                  <a:lnTo>
                    <a:pt x="4" y="61"/>
                  </a:lnTo>
                  <a:lnTo>
                    <a:pt x="2" y="64"/>
                  </a:lnTo>
                  <a:lnTo>
                    <a:pt x="4" y="66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9" y="82"/>
                  </a:lnTo>
                  <a:lnTo>
                    <a:pt x="14" y="8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59" name="Freeform 167"/>
            <p:cNvSpPr>
              <a:spLocks/>
            </p:cNvSpPr>
            <p:nvPr/>
          </p:nvSpPr>
          <p:spPr bwMode="auto">
            <a:xfrm>
              <a:off x="6054103" y="1956012"/>
              <a:ext cx="44682" cy="81636"/>
            </a:xfrm>
            <a:custGeom>
              <a:avLst/>
              <a:gdLst>
                <a:gd name="T0" fmla="*/ 2 w 38"/>
                <a:gd name="T1" fmla="*/ 10 h 83"/>
                <a:gd name="T2" fmla="*/ 5 w 38"/>
                <a:gd name="T3" fmla="*/ 8 h 83"/>
                <a:gd name="T4" fmla="*/ 5 w 38"/>
                <a:gd name="T5" fmla="*/ 8 h 83"/>
                <a:gd name="T6" fmla="*/ 5 w 38"/>
                <a:gd name="T7" fmla="*/ 8 h 83"/>
                <a:gd name="T8" fmla="*/ 6 w 38"/>
                <a:gd name="T9" fmla="*/ 7 h 83"/>
                <a:gd name="T10" fmla="*/ 6 w 38"/>
                <a:gd name="T11" fmla="*/ 7 h 83"/>
                <a:gd name="T12" fmla="*/ 6 w 38"/>
                <a:gd name="T13" fmla="*/ 5 h 83"/>
                <a:gd name="T14" fmla="*/ 6 w 38"/>
                <a:gd name="T15" fmla="*/ 5 h 83"/>
                <a:gd name="T16" fmla="*/ 6 w 38"/>
                <a:gd name="T17" fmla="*/ 3 h 83"/>
                <a:gd name="T18" fmla="*/ 6 w 38"/>
                <a:gd name="T19" fmla="*/ 3 h 83"/>
                <a:gd name="T20" fmla="*/ 6 w 38"/>
                <a:gd name="T21" fmla="*/ 3 h 83"/>
                <a:gd name="T22" fmla="*/ 6 w 38"/>
                <a:gd name="T23" fmla="*/ 2 h 83"/>
                <a:gd name="T24" fmla="*/ 6 w 38"/>
                <a:gd name="T25" fmla="*/ 2 h 83"/>
                <a:gd name="T26" fmla="*/ 6 w 38"/>
                <a:gd name="T27" fmla="*/ 2 h 83"/>
                <a:gd name="T28" fmla="*/ 6 w 38"/>
                <a:gd name="T29" fmla="*/ 2 h 83"/>
                <a:gd name="T30" fmla="*/ 5 w 38"/>
                <a:gd name="T31" fmla="*/ 2 h 83"/>
                <a:gd name="T32" fmla="*/ 5 w 38"/>
                <a:gd name="T33" fmla="*/ 1 h 83"/>
                <a:gd name="T34" fmla="*/ 4 w 38"/>
                <a:gd name="T35" fmla="*/ 1 h 83"/>
                <a:gd name="T36" fmla="*/ 3 w 38"/>
                <a:gd name="T37" fmla="*/ 0 h 83"/>
                <a:gd name="T38" fmla="*/ 3 w 38"/>
                <a:gd name="T39" fmla="*/ 1 h 83"/>
                <a:gd name="T40" fmla="*/ 1 w 38"/>
                <a:gd name="T41" fmla="*/ 3 h 83"/>
                <a:gd name="T42" fmla="*/ 1 w 38"/>
                <a:gd name="T43" fmla="*/ 4 h 83"/>
                <a:gd name="T44" fmla="*/ 1 w 38"/>
                <a:gd name="T45" fmla="*/ 5 h 83"/>
                <a:gd name="T46" fmla="*/ 0 w 38"/>
                <a:gd name="T47" fmla="*/ 5 h 83"/>
                <a:gd name="T48" fmla="*/ 1 w 38"/>
                <a:gd name="T49" fmla="*/ 6 h 83"/>
                <a:gd name="T50" fmla="*/ 1 w 38"/>
                <a:gd name="T51" fmla="*/ 6 h 83"/>
                <a:gd name="T52" fmla="*/ 1 w 38"/>
                <a:gd name="T53" fmla="*/ 7 h 83"/>
                <a:gd name="T54" fmla="*/ 1 w 38"/>
                <a:gd name="T55" fmla="*/ 7 h 83"/>
                <a:gd name="T56" fmla="*/ 1 w 38"/>
                <a:gd name="T57" fmla="*/ 7 h 83"/>
                <a:gd name="T58" fmla="*/ 1 w 38"/>
                <a:gd name="T59" fmla="*/ 8 h 83"/>
                <a:gd name="T60" fmla="*/ 1 w 38"/>
                <a:gd name="T61" fmla="*/ 8 h 83"/>
                <a:gd name="T62" fmla="*/ 1 w 38"/>
                <a:gd name="T63" fmla="*/ 9 h 83"/>
                <a:gd name="T64" fmla="*/ 2 w 38"/>
                <a:gd name="T65" fmla="*/ 10 h 8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8"/>
                <a:gd name="T100" fmla="*/ 0 h 83"/>
                <a:gd name="T101" fmla="*/ 38 w 38"/>
                <a:gd name="T102" fmla="*/ 83 h 8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8" h="83">
                  <a:moveTo>
                    <a:pt x="14" y="83"/>
                  </a:moveTo>
                  <a:lnTo>
                    <a:pt x="31" y="76"/>
                  </a:lnTo>
                  <a:lnTo>
                    <a:pt x="32" y="74"/>
                  </a:lnTo>
                  <a:lnTo>
                    <a:pt x="33" y="68"/>
                  </a:lnTo>
                  <a:lnTo>
                    <a:pt x="37" y="62"/>
                  </a:lnTo>
                  <a:lnTo>
                    <a:pt x="38" y="59"/>
                  </a:lnTo>
                  <a:lnTo>
                    <a:pt x="37" y="47"/>
                  </a:lnTo>
                  <a:lnTo>
                    <a:pt x="35" y="43"/>
                  </a:lnTo>
                  <a:lnTo>
                    <a:pt x="35" y="28"/>
                  </a:lnTo>
                  <a:lnTo>
                    <a:pt x="36" y="27"/>
                  </a:lnTo>
                  <a:lnTo>
                    <a:pt x="35" y="25"/>
                  </a:lnTo>
                  <a:lnTo>
                    <a:pt x="37" y="21"/>
                  </a:lnTo>
                  <a:lnTo>
                    <a:pt x="37" y="18"/>
                  </a:lnTo>
                  <a:lnTo>
                    <a:pt x="38" y="14"/>
                  </a:lnTo>
                  <a:lnTo>
                    <a:pt x="36" y="13"/>
                  </a:lnTo>
                  <a:lnTo>
                    <a:pt x="31" y="12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7" y="3"/>
                  </a:lnTo>
                  <a:lnTo>
                    <a:pt x="7" y="30"/>
                  </a:lnTo>
                  <a:lnTo>
                    <a:pt x="1" y="36"/>
                  </a:lnTo>
                  <a:lnTo>
                    <a:pt x="1" y="43"/>
                  </a:lnTo>
                  <a:lnTo>
                    <a:pt x="0" y="46"/>
                  </a:lnTo>
                  <a:lnTo>
                    <a:pt x="2" y="49"/>
                  </a:lnTo>
                  <a:lnTo>
                    <a:pt x="1" y="53"/>
                  </a:lnTo>
                  <a:lnTo>
                    <a:pt x="4" y="61"/>
                  </a:lnTo>
                  <a:lnTo>
                    <a:pt x="2" y="64"/>
                  </a:lnTo>
                  <a:lnTo>
                    <a:pt x="4" y="66"/>
                  </a:lnTo>
                  <a:lnTo>
                    <a:pt x="4" y="70"/>
                  </a:lnTo>
                  <a:lnTo>
                    <a:pt x="2" y="72"/>
                  </a:lnTo>
                  <a:lnTo>
                    <a:pt x="9" y="82"/>
                  </a:lnTo>
                  <a:lnTo>
                    <a:pt x="14" y="8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0" name="Freeform 168"/>
            <p:cNvSpPr>
              <a:spLocks/>
            </p:cNvSpPr>
            <p:nvPr/>
          </p:nvSpPr>
          <p:spPr bwMode="auto">
            <a:xfrm>
              <a:off x="2983206" y="2497778"/>
              <a:ext cx="412296" cy="257895"/>
            </a:xfrm>
            <a:custGeom>
              <a:avLst/>
              <a:gdLst>
                <a:gd name="T0" fmla="*/ 35 w 346"/>
                <a:gd name="T1" fmla="*/ 1 h 257"/>
                <a:gd name="T2" fmla="*/ 23 w 346"/>
                <a:gd name="T3" fmla="*/ 6 h 257"/>
                <a:gd name="T4" fmla="*/ 11 w 346"/>
                <a:gd name="T5" fmla="*/ 10 h 257"/>
                <a:gd name="T6" fmla="*/ 6 w 346"/>
                <a:gd name="T7" fmla="*/ 17 h 257"/>
                <a:gd name="T8" fmla="*/ 0 w 346"/>
                <a:gd name="T9" fmla="*/ 23 h 257"/>
                <a:gd name="T10" fmla="*/ 1 w 346"/>
                <a:gd name="T11" fmla="*/ 27 h 257"/>
                <a:gd name="T12" fmla="*/ 1 w 346"/>
                <a:gd name="T13" fmla="*/ 28 h 257"/>
                <a:gd name="T14" fmla="*/ 1 w 346"/>
                <a:gd name="T15" fmla="*/ 28 h 257"/>
                <a:gd name="T16" fmla="*/ 2 w 346"/>
                <a:gd name="T17" fmla="*/ 29 h 257"/>
                <a:gd name="T18" fmla="*/ 2 w 346"/>
                <a:gd name="T19" fmla="*/ 30 h 257"/>
                <a:gd name="T20" fmla="*/ 3 w 346"/>
                <a:gd name="T21" fmla="*/ 30 h 257"/>
                <a:gd name="T22" fmla="*/ 4 w 346"/>
                <a:gd name="T23" fmla="*/ 30 h 257"/>
                <a:gd name="T24" fmla="*/ 5 w 346"/>
                <a:gd name="T25" fmla="*/ 30 h 257"/>
                <a:gd name="T26" fmla="*/ 5 w 346"/>
                <a:gd name="T27" fmla="*/ 30 h 257"/>
                <a:gd name="T28" fmla="*/ 6 w 346"/>
                <a:gd name="T29" fmla="*/ 31 h 257"/>
                <a:gd name="T30" fmla="*/ 7 w 346"/>
                <a:gd name="T31" fmla="*/ 30 h 257"/>
                <a:gd name="T32" fmla="*/ 14 w 346"/>
                <a:gd name="T33" fmla="*/ 30 h 257"/>
                <a:gd name="T34" fmla="*/ 15 w 346"/>
                <a:gd name="T35" fmla="*/ 29 h 257"/>
                <a:gd name="T36" fmla="*/ 17 w 346"/>
                <a:gd name="T37" fmla="*/ 30 h 257"/>
                <a:gd name="T38" fmla="*/ 18 w 346"/>
                <a:gd name="T39" fmla="*/ 32 h 257"/>
                <a:gd name="T40" fmla="*/ 19 w 346"/>
                <a:gd name="T41" fmla="*/ 31 h 257"/>
                <a:gd name="T42" fmla="*/ 18 w 346"/>
                <a:gd name="T43" fmla="*/ 29 h 257"/>
                <a:gd name="T44" fmla="*/ 18 w 346"/>
                <a:gd name="T45" fmla="*/ 27 h 257"/>
                <a:gd name="T46" fmla="*/ 18 w 346"/>
                <a:gd name="T47" fmla="*/ 26 h 257"/>
                <a:gd name="T48" fmla="*/ 17 w 346"/>
                <a:gd name="T49" fmla="*/ 24 h 257"/>
                <a:gd name="T50" fmla="*/ 18 w 346"/>
                <a:gd name="T51" fmla="*/ 23 h 257"/>
                <a:gd name="T52" fmla="*/ 33 w 346"/>
                <a:gd name="T53" fmla="*/ 24 h 257"/>
                <a:gd name="T54" fmla="*/ 38 w 346"/>
                <a:gd name="T55" fmla="*/ 23 h 257"/>
                <a:gd name="T56" fmla="*/ 42 w 346"/>
                <a:gd name="T57" fmla="*/ 23 h 257"/>
                <a:gd name="T58" fmla="*/ 43 w 346"/>
                <a:gd name="T59" fmla="*/ 24 h 257"/>
                <a:gd name="T60" fmla="*/ 45 w 346"/>
                <a:gd name="T61" fmla="*/ 23 h 257"/>
                <a:gd name="T62" fmla="*/ 47 w 346"/>
                <a:gd name="T63" fmla="*/ 23 h 257"/>
                <a:gd name="T64" fmla="*/ 47 w 346"/>
                <a:gd name="T65" fmla="*/ 22 h 257"/>
                <a:gd name="T66" fmla="*/ 48 w 346"/>
                <a:gd name="T67" fmla="*/ 22 h 257"/>
                <a:gd name="T68" fmla="*/ 49 w 346"/>
                <a:gd name="T69" fmla="*/ 21 h 257"/>
                <a:gd name="T70" fmla="*/ 50 w 346"/>
                <a:gd name="T71" fmla="*/ 20 h 257"/>
                <a:gd name="T72" fmla="*/ 53 w 346"/>
                <a:gd name="T73" fmla="*/ 20 h 257"/>
                <a:gd name="T74" fmla="*/ 54 w 346"/>
                <a:gd name="T75" fmla="*/ 21 h 257"/>
                <a:gd name="T76" fmla="*/ 56 w 346"/>
                <a:gd name="T77" fmla="*/ 19 h 257"/>
                <a:gd name="T78" fmla="*/ 56 w 346"/>
                <a:gd name="T79" fmla="*/ 18 h 257"/>
                <a:gd name="T80" fmla="*/ 56 w 346"/>
                <a:gd name="T81" fmla="*/ 18 h 257"/>
                <a:gd name="T82" fmla="*/ 55 w 346"/>
                <a:gd name="T83" fmla="*/ 16 h 257"/>
                <a:gd name="T84" fmla="*/ 55 w 346"/>
                <a:gd name="T85" fmla="*/ 15 h 257"/>
                <a:gd name="T86" fmla="*/ 55 w 346"/>
                <a:gd name="T87" fmla="*/ 15 h 257"/>
                <a:gd name="T88" fmla="*/ 55 w 346"/>
                <a:gd name="T89" fmla="*/ 14 h 257"/>
                <a:gd name="T90" fmla="*/ 53 w 346"/>
                <a:gd name="T91" fmla="*/ 13 h 257"/>
                <a:gd name="T92" fmla="*/ 52 w 346"/>
                <a:gd name="T93" fmla="*/ 14 h 257"/>
                <a:gd name="T94" fmla="*/ 49 w 346"/>
                <a:gd name="T95" fmla="*/ 13 h 257"/>
                <a:gd name="T96" fmla="*/ 41 w 346"/>
                <a:gd name="T97" fmla="*/ 5 h 257"/>
                <a:gd name="T98" fmla="*/ 41 w 346"/>
                <a:gd name="T99" fmla="*/ 4 h 257"/>
                <a:gd name="T100" fmla="*/ 39 w 346"/>
                <a:gd name="T101" fmla="*/ 3 h 257"/>
                <a:gd name="T102" fmla="*/ 40 w 346"/>
                <a:gd name="T103" fmla="*/ 1 h 25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46"/>
                <a:gd name="T157" fmla="*/ 0 h 257"/>
                <a:gd name="T158" fmla="*/ 346 w 346"/>
                <a:gd name="T159" fmla="*/ 257 h 25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46" h="257">
                  <a:moveTo>
                    <a:pt x="245" y="0"/>
                  </a:moveTo>
                  <a:lnTo>
                    <a:pt x="217" y="1"/>
                  </a:lnTo>
                  <a:lnTo>
                    <a:pt x="150" y="42"/>
                  </a:lnTo>
                  <a:lnTo>
                    <a:pt x="140" y="55"/>
                  </a:lnTo>
                  <a:lnTo>
                    <a:pt x="125" y="66"/>
                  </a:lnTo>
                  <a:lnTo>
                    <a:pt x="67" y="81"/>
                  </a:lnTo>
                  <a:lnTo>
                    <a:pt x="60" y="86"/>
                  </a:lnTo>
                  <a:lnTo>
                    <a:pt x="37" y="136"/>
                  </a:lnTo>
                  <a:lnTo>
                    <a:pt x="11" y="157"/>
                  </a:lnTo>
                  <a:lnTo>
                    <a:pt x="0" y="187"/>
                  </a:lnTo>
                  <a:lnTo>
                    <a:pt x="0" y="217"/>
                  </a:lnTo>
                  <a:lnTo>
                    <a:pt x="1" y="218"/>
                  </a:lnTo>
                  <a:lnTo>
                    <a:pt x="2" y="219"/>
                  </a:lnTo>
                  <a:lnTo>
                    <a:pt x="2" y="223"/>
                  </a:lnTo>
                  <a:lnTo>
                    <a:pt x="3" y="224"/>
                  </a:lnTo>
                  <a:lnTo>
                    <a:pt x="5" y="225"/>
                  </a:lnTo>
                  <a:lnTo>
                    <a:pt x="8" y="230"/>
                  </a:lnTo>
                  <a:lnTo>
                    <a:pt x="10" y="231"/>
                  </a:lnTo>
                  <a:lnTo>
                    <a:pt x="11" y="233"/>
                  </a:lnTo>
                  <a:lnTo>
                    <a:pt x="11" y="238"/>
                  </a:lnTo>
                  <a:lnTo>
                    <a:pt x="14" y="238"/>
                  </a:lnTo>
                  <a:lnTo>
                    <a:pt x="17" y="241"/>
                  </a:lnTo>
                  <a:lnTo>
                    <a:pt x="17" y="244"/>
                  </a:lnTo>
                  <a:lnTo>
                    <a:pt x="23" y="247"/>
                  </a:lnTo>
                  <a:lnTo>
                    <a:pt x="24" y="246"/>
                  </a:lnTo>
                  <a:lnTo>
                    <a:pt x="28" y="246"/>
                  </a:lnTo>
                  <a:lnTo>
                    <a:pt x="29" y="244"/>
                  </a:lnTo>
                  <a:lnTo>
                    <a:pt x="30" y="244"/>
                  </a:lnTo>
                  <a:lnTo>
                    <a:pt x="32" y="247"/>
                  </a:lnTo>
                  <a:lnTo>
                    <a:pt x="38" y="250"/>
                  </a:lnTo>
                  <a:lnTo>
                    <a:pt x="40" y="248"/>
                  </a:lnTo>
                  <a:lnTo>
                    <a:pt x="43" y="243"/>
                  </a:lnTo>
                  <a:lnTo>
                    <a:pt x="72" y="235"/>
                  </a:lnTo>
                  <a:lnTo>
                    <a:pt x="87" y="239"/>
                  </a:lnTo>
                  <a:lnTo>
                    <a:pt x="92" y="235"/>
                  </a:lnTo>
                  <a:lnTo>
                    <a:pt x="93" y="235"/>
                  </a:lnTo>
                  <a:lnTo>
                    <a:pt x="98" y="243"/>
                  </a:lnTo>
                  <a:lnTo>
                    <a:pt x="102" y="244"/>
                  </a:lnTo>
                  <a:lnTo>
                    <a:pt x="107" y="255"/>
                  </a:lnTo>
                  <a:lnTo>
                    <a:pt x="109" y="257"/>
                  </a:lnTo>
                  <a:lnTo>
                    <a:pt x="114" y="257"/>
                  </a:lnTo>
                  <a:lnTo>
                    <a:pt x="116" y="255"/>
                  </a:lnTo>
                  <a:lnTo>
                    <a:pt x="113" y="249"/>
                  </a:lnTo>
                  <a:lnTo>
                    <a:pt x="113" y="236"/>
                  </a:lnTo>
                  <a:lnTo>
                    <a:pt x="111" y="228"/>
                  </a:lnTo>
                  <a:lnTo>
                    <a:pt x="112" y="218"/>
                  </a:lnTo>
                  <a:lnTo>
                    <a:pt x="109" y="217"/>
                  </a:lnTo>
                  <a:lnTo>
                    <a:pt x="109" y="210"/>
                  </a:lnTo>
                  <a:lnTo>
                    <a:pt x="107" y="208"/>
                  </a:lnTo>
                  <a:lnTo>
                    <a:pt x="104" y="200"/>
                  </a:lnTo>
                  <a:lnTo>
                    <a:pt x="105" y="194"/>
                  </a:lnTo>
                  <a:lnTo>
                    <a:pt x="108" y="187"/>
                  </a:lnTo>
                  <a:lnTo>
                    <a:pt x="200" y="191"/>
                  </a:lnTo>
                  <a:lnTo>
                    <a:pt x="203" y="190"/>
                  </a:lnTo>
                  <a:lnTo>
                    <a:pt x="214" y="183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57" y="186"/>
                  </a:lnTo>
                  <a:lnTo>
                    <a:pt x="261" y="190"/>
                  </a:lnTo>
                  <a:lnTo>
                    <a:pt x="263" y="190"/>
                  </a:lnTo>
                  <a:lnTo>
                    <a:pt x="265" y="188"/>
                  </a:lnTo>
                  <a:lnTo>
                    <a:pt x="277" y="188"/>
                  </a:lnTo>
                  <a:lnTo>
                    <a:pt x="281" y="184"/>
                  </a:lnTo>
                  <a:lnTo>
                    <a:pt x="285" y="184"/>
                  </a:lnTo>
                  <a:lnTo>
                    <a:pt x="286" y="180"/>
                  </a:lnTo>
                  <a:lnTo>
                    <a:pt x="288" y="178"/>
                  </a:lnTo>
                  <a:lnTo>
                    <a:pt x="289" y="176"/>
                  </a:lnTo>
                  <a:lnTo>
                    <a:pt x="291" y="175"/>
                  </a:lnTo>
                  <a:lnTo>
                    <a:pt x="294" y="175"/>
                  </a:lnTo>
                  <a:lnTo>
                    <a:pt x="300" y="165"/>
                  </a:lnTo>
                  <a:lnTo>
                    <a:pt x="302" y="164"/>
                  </a:lnTo>
                  <a:lnTo>
                    <a:pt x="307" y="164"/>
                  </a:lnTo>
                  <a:lnTo>
                    <a:pt x="314" y="166"/>
                  </a:lnTo>
                  <a:lnTo>
                    <a:pt x="322" y="164"/>
                  </a:lnTo>
                  <a:lnTo>
                    <a:pt x="327" y="166"/>
                  </a:lnTo>
                  <a:lnTo>
                    <a:pt x="331" y="165"/>
                  </a:lnTo>
                  <a:lnTo>
                    <a:pt x="341" y="155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5" y="148"/>
                  </a:lnTo>
                  <a:lnTo>
                    <a:pt x="346" y="145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32" y="128"/>
                  </a:lnTo>
                  <a:lnTo>
                    <a:pt x="331" y="125"/>
                  </a:lnTo>
                  <a:lnTo>
                    <a:pt x="332" y="123"/>
                  </a:lnTo>
                  <a:lnTo>
                    <a:pt x="335" y="121"/>
                  </a:lnTo>
                  <a:lnTo>
                    <a:pt x="339" y="122"/>
                  </a:lnTo>
                  <a:lnTo>
                    <a:pt x="340" y="120"/>
                  </a:lnTo>
                  <a:lnTo>
                    <a:pt x="334" y="109"/>
                  </a:lnTo>
                  <a:lnTo>
                    <a:pt x="329" y="107"/>
                  </a:lnTo>
                  <a:lnTo>
                    <a:pt x="326" y="108"/>
                  </a:lnTo>
                  <a:lnTo>
                    <a:pt x="322" y="111"/>
                  </a:lnTo>
                  <a:lnTo>
                    <a:pt x="318" y="113"/>
                  </a:lnTo>
                  <a:lnTo>
                    <a:pt x="314" y="113"/>
                  </a:lnTo>
                  <a:lnTo>
                    <a:pt x="300" y="107"/>
                  </a:lnTo>
                  <a:lnTo>
                    <a:pt x="253" y="47"/>
                  </a:lnTo>
                  <a:lnTo>
                    <a:pt x="250" y="40"/>
                  </a:lnTo>
                  <a:lnTo>
                    <a:pt x="250" y="33"/>
                  </a:lnTo>
                  <a:lnTo>
                    <a:pt x="249" y="31"/>
                  </a:lnTo>
                  <a:lnTo>
                    <a:pt x="241" y="25"/>
                  </a:lnTo>
                  <a:lnTo>
                    <a:pt x="240" y="22"/>
                  </a:lnTo>
                  <a:lnTo>
                    <a:pt x="243" y="14"/>
                  </a:lnTo>
                  <a:lnTo>
                    <a:pt x="243" y="4"/>
                  </a:lnTo>
                  <a:lnTo>
                    <a:pt x="24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1" name="Freeform 169"/>
            <p:cNvSpPr>
              <a:spLocks/>
            </p:cNvSpPr>
            <p:nvPr/>
          </p:nvSpPr>
          <p:spPr bwMode="auto">
            <a:xfrm>
              <a:off x="2983206" y="2497778"/>
              <a:ext cx="412296" cy="257895"/>
            </a:xfrm>
            <a:custGeom>
              <a:avLst/>
              <a:gdLst>
                <a:gd name="T0" fmla="*/ 35 w 346"/>
                <a:gd name="T1" fmla="*/ 1 h 257"/>
                <a:gd name="T2" fmla="*/ 23 w 346"/>
                <a:gd name="T3" fmla="*/ 6 h 257"/>
                <a:gd name="T4" fmla="*/ 11 w 346"/>
                <a:gd name="T5" fmla="*/ 10 h 257"/>
                <a:gd name="T6" fmla="*/ 6 w 346"/>
                <a:gd name="T7" fmla="*/ 17 h 257"/>
                <a:gd name="T8" fmla="*/ 0 w 346"/>
                <a:gd name="T9" fmla="*/ 23 h 257"/>
                <a:gd name="T10" fmla="*/ 1 w 346"/>
                <a:gd name="T11" fmla="*/ 27 h 257"/>
                <a:gd name="T12" fmla="*/ 1 w 346"/>
                <a:gd name="T13" fmla="*/ 28 h 257"/>
                <a:gd name="T14" fmla="*/ 1 w 346"/>
                <a:gd name="T15" fmla="*/ 28 h 257"/>
                <a:gd name="T16" fmla="*/ 2 w 346"/>
                <a:gd name="T17" fmla="*/ 29 h 257"/>
                <a:gd name="T18" fmla="*/ 2 w 346"/>
                <a:gd name="T19" fmla="*/ 30 h 257"/>
                <a:gd name="T20" fmla="*/ 3 w 346"/>
                <a:gd name="T21" fmla="*/ 30 h 257"/>
                <a:gd name="T22" fmla="*/ 4 w 346"/>
                <a:gd name="T23" fmla="*/ 30 h 257"/>
                <a:gd name="T24" fmla="*/ 5 w 346"/>
                <a:gd name="T25" fmla="*/ 30 h 257"/>
                <a:gd name="T26" fmla="*/ 5 w 346"/>
                <a:gd name="T27" fmla="*/ 30 h 257"/>
                <a:gd name="T28" fmla="*/ 6 w 346"/>
                <a:gd name="T29" fmla="*/ 31 h 257"/>
                <a:gd name="T30" fmla="*/ 7 w 346"/>
                <a:gd name="T31" fmla="*/ 30 h 257"/>
                <a:gd name="T32" fmla="*/ 14 w 346"/>
                <a:gd name="T33" fmla="*/ 30 h 257"/>
                <a:gd name="T34" fmla="*/ 15 w 346"/>
                <a:gd name="T35" fmla="*/ 29 h 257"/>
                <a:gd name="T36" fmla="*/ 17 w 346"/>
                <a:gd name="T37" fmla="*/ 30 h 257"/>
                <a:gd name="T38" fmla="*/ 18 w 346"/>
                <a:gd name="T39" fmla="*/ 32 h 257"/>
                <a:gd name="T40" fmla="*/ 19 w 346"/>
                <a:gd name="T41" fmla="*/ 31 h 257"/>
                <a:gd name="T42" fmla="*/ 18 w 346"/>
                <a:gd name="T43" fmla="*/ 29 h 257"/>
                <a:gd name="T44" fmla="*/ 18 w 346"/>
                <a:gd name="T45" fmla="*/ 27 h 257"/>
                <a:gd name="T46" fmla="*/ 18 w 346"/>
                <a:gd name="T47" fmla="*/ 26 h 257"/>
                <a:gd name="T48" fmla="*/ 17 w 346"/>
                <a:gd name="T49" fmla="*/ 24 h 257"/>
                <a:gd name="T50" fmla="*/ 18 w 346"/>
                <a:gd name="T51" fmla="*/ 23 h 257"/>
                <a:gd name="T52" fmla="*/ 33 w 346"/>
                <a:gd name="T53" fmla="*/ 24 h 257"/>
                <a:gd name="T54" fmla="*/ 38 w 346"/>
                <a:gd name="T55" fmla="*/ 23 h 257"/>
                <a:gd name="T56" fmla="*/ 42 w 346"/>
                <a:gd name="T57" fmla="*/ 23 h 257"/>
                <a:gd name="T58" fmla="*/ 43 w 346"/>
                <a:gd name="T59" fmla="*/ 24 h 257"/>
                <a:gd name="T60" fmla="*/ 45 w 346"/>
                <a:gd name="T61" fmla="*/ 23 h 257"/>
                <a:gd name="T62" fmla="*/ 47 w 346"/>
                <a:gd name="T63" fmla="*/ 23 h 257"/>
                <a:gd name="T64" fmla="*/ 47 w 346"/>
                <a:gd name="T65" fmla="*/ 22 h 257"/>
                <a:gd name="T66" fmla="*/ 48 w 346"/>
                <a:gd name="T67" fmla="*/ 22 h 257"/>
                <a:gd name="T68" fmla="*/ 49 w 346"/>
                <a:gd name="T69" fmla="*/ 21 h 257"/>
                <a:gd name="T70" fmla="*/ 50 w 346"/>
                <a:gd name="T71" fmla="*/ 20 h 257"/>
                <a:gd name="T72" fmla="*/ 53 w 346"/>
                <a:gd name="T73" fmla="*/ 20 h 257"/>
                <a:gd name="T74" fmla="*/ 54 w 346"/>
                <a:gd name="T75" fmla="*/ 21 h 257"/>
                <a:gd name="T76" fmla="*/ 56 w 346"/>
                <a:gd name="T77" fmla="*/ 19 h 257"/>
                <a:gd name="T78" fmla="*/ 56 w 346"/>
                <a:gd name="T79" fmla="*/ 18 h 257"/>
                <a:gd name="T80" fmla="*/ 56 w 346"/>
                <a:gd name="T81" fmla="*/ 18 h 257"/>
                <a:gd name="T82" fmla="*/ 55 w 346"/>
                <a:gd name="T83" fmla="*/ 16 h 257"/>
                <a:gd name="T84" fmla="*/ 55 w 346"/>
                <a:gd name="T85" fmla="*/ 15 h 257"/>
                <a:gd name="T86" fmla="*/ 55 w 346"/>
                <a:gd name="T87" fmla="*/ 15 h 257"/>
                <a:gd name="T88" fmla="*/ 55 w 346"/>
                <a:gd name="T89" fmla="*/ 14 h 257"/>
                <a:gd name="T90" fmla="*/ 53 w 346"/>
                <a:gd name="T91" fmla="*/ 13 h 257"/>
                <a:gd name="T92" fmla="*/ 52 w 346"/>
                <a:gd name="T93" fmla="*/ 14 h 257"/>
                <a:gd name="T94" fmla="*/ 49 w 346"/>
                <a:gd name="T95" fmla="*/ 13 h 257"/>
                <a:gd name="T96" fmla="*/ 41 w 346"/>
                <a:gd name="T97" fmla="*/ 5 h 257"/>
                <a:gd name="T98" fmla="*/ 41 w 346"/>
                <a:gd name="T99" fmla="*/ 4 h 257"/>
                <a:gd name="T100" fmla="*/ 39 w 346"/>
                <a:gd name="T101" fmla="*/ 3 h 257"/>
                <a:gd name="T102" fmla="*/ 40 w 346"/>
                <a:gd name="T103" fmla="*/ 1 h 25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46"/>
                <a:gd name="T157" fmla="*/ 0 h 257"/>
                <a:gd name="T158" fmla="*/ 346 w 346"/>
                <a:gd name="T159" fmla="*/ 257 h 25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46" h="257">
                  <a:moveTo>
                    <a:pt x="245" y="0"/>
                  </a:moveTo>
                  <a:lnTo>
                    <a:pt x="217" y="1"/>
                  </a:lnTo>
                  <a:lnTo>
                    <a:pt x="150" y="42"/>
                  </a:lnTo>
                  <a:lnTo>
                    <a:pt x="140" y="55"/>
                  </a:lnTo>
                  <a:lnTo>
                    <a:pt x="125" y="66"/>
                  </a:lnTo>
                  <a:lnTo>
                    <a:pt x="67" y="81"/>
                  </a:lnTo>
                  <a:lnTo>
                    <a:pt x="60" y="86"/>
                  </a:lnTo>
                  <a:lnTo>
                    <a:pt x="37" y="136"/>
                  </a:lnTo>
                  <a:lnTo>
                    <a:pt x="11" y="157"/>
                  </a:lnTo>
                  <a:lnTo>
                    <a:pt x="0" y="187"/>
                  </a:lnTo>
                  <a:lnTo>
                    <a:pt x="0" y="217"/>
                  </a:lnTo>
                  <a:lnTo>
                    <a:pt x="1" y="218"/>
                  </a:lnTo>
                  <a:lnTo>
                    <a:pt x="2" y="219"/>
                  </a:lnTo>
                  <a:lnTo>
                    <a:pt x="2" y="223"/>
                  </a:lnTo>
                  <a:lnTo>
                    <a:pt x="3" y="224"/>
                  </a:lnTo>
                  <a:lnTo>
                    <a:pt x="5" y="225"/>
                  </a:lnTo>
                  <a:lnTo>
                    <a:pt x="8" y="230"/>
                  </a:lnTo>
                  <a:lnTo>
                    <a:pt x="10" y="231"/>
                  </a:lnTo>
                  <a:lnTo>
                    <a:pt x="11" y="233"/>
                  </a:lnTo>
                  <a:lnTo>
                    <a:pt x="11" y="238"/>
                  </a:lnTo>
                  <a:lnTo>
                    <a:pt x="14" y="238"/>
                  </a:lnTo>
                  <a:lnTo>
                    <a:pt x="17" y="241"/>
                  </a:lnTo>
                  <a:lnTo>
                    <a:pt x="17" y="244"/>
                  </a:lnTo>
                  <a:lnTo>
                    <a:pt x="23" y="247"/>
                  </a:lnTo>
                  <a:lnTo>
                    <a:pt x="24" y="246"/>
                  </a:lnTo>
                  <a:lnTo>
                    <a:pt x="28" y="246"/>
                  </a:lnTo>
                  <a:lnTo>
                    <a:pt x="29" y="244"/>
                  </a:lnTo>
                  <a:lnTo>
                    <a:pt x="30" y="244"/>
                  </a:lnTo>
                  <a:lnTo>
                    <a:pt x="32" y="247"/>
                  </a:lnTo>
                  <a:lnTo>
                    <a:pt x="38" y="250"/>
                  </a:lnTo>
                  <a:lnTo>
                    <a:pt x="40" y="248"/>
                  </a:lnTo>
                  <a:lnTo>
                    <a:pt x="43" y="243"/>
                  </a:lnTo>
                  <a:lnTo>
                    <a:pt x="72" y="235"/>
                  </a:lnTo>
                  <a:lnTo>
                    <a:pt x="87" y="239"/>
                  </a:lnTo>
                  <a:lnTo>
                    <a:pt x="92" y="235"/>
                  </a:lnTo>
                  <a:lnTo>
                    <a:pt x="93" y="235"/>
                  </a:lnTo>
                  <a:lnTo>
                    <a:pt x="98" y="243"/>
                  </a:lnTo>
                  <a:lnTo>
                    <a:pt x="102" y="244"/>
                  </a:lnTo>
                  <a:lnTo>
                    <a:pt x="107" y="255"/>
                  </a:lnTo>
                  <a:lnTo>
                    <a:pt x="109" y="257"/>
                  </a:lnTo>
                  <a:lnTo>
                    <a:pt x="114" y="257"/>
                  </a:lnTo>
                  <a:lnTo>
                    <a:pt x="116" y="255"/>
                  </a:lnTo>
                  <a:lnTo>
                    <a:pt x="113" y="249"/>
                  </a:lnTo>
                  <a:lnTo>
                    <a:pt x="113" y="236"/>
                  </a:lnTo>
                  <a:lnTo>
                    <a:pt x="111" y="228"/>
                  </a:lnTo>
                  <a:lnTo>
                    <a:pt x="112" y="218"/>
                  </a:lnTo>
                  <a:lnTo>
                    <a:pt x="109" y="217"/>
                  </a:lnTo>
                  <a:lnTo>
                    <a:pt x="109" y="210"/>
                  </a:lnTo>
                  <a:lnTo>
                    <a:pt x="107" y="208"/>
                  </a:lnTo>
                  <a:lnTo>
                    <a:pt x="104" y="200"/>
                  </a:lnTo>
                  <a:lnTo>
                    <a:pt x="105" y="194"/>
                  </a:lnTo>
                  <a:lnTo>
                    <a:pt x="108" y="187"/>
                  </a:lnTo>
                  <a:lnTo>
                    <a:pt x="200" y="191"/>
                  </a:lnTo>
                  <a:lnTo>
                    <a:pt x="203" y="190"/>
                  </a:lnTo>
                  <a:lnTo>
                    <a:pt x="214" y="183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57" y="186"/>
                  </a:lnTo>
                  <a:lnTo>
                    <a:pt x="261" y="190"/>
                  </a:lnTo>
                  <a:lnTo>
                    <a:pt x="263" y="190"/>
                  </a:lnTo>
                  <a:lnTo>
                    <a:pt x="265" y="188"/>
                  </a:lnTo>
                  <a:lnTo>
                    <a:pt x="277" y="188"/>
                  </a:lnTo>
                  <a:lnTo>
                    <a:pt x="281" y="184"/>
                  </a:lnTo>
                  <a:lnTo>
                    <a:pt x="285" y="184"/>
                  </a:lnTo>
                  <a:lnTo>
                    <a:pt x="286" y="180"/>
                  </a:lnTo>
                  <a:lnTo>
                    <a:pt x="288" y="178"/>
                  </a:lnTo>
                  <a:lnTo>
                    <a:pt x="289" y="176"/>
                  </a:lnTo>
                  <a:lnTo>
                    <a:pt x="291" y="175"/>
                  </a:lnTo>
                  <a:lnTo>
                    <a:pt x="294" y="175"/>
                  </a:lnTo>
                  <a:lnTo>
                    <a:pt x="300" y="165"/>
                  </a:lnTo>
                  <a:lnTo>
                    <a:pt x="302" y="164"/>
                  </a:lnTo>
                  <a:lnTo>
                    <a:pt x="307" y="164"/>
                  </a:lnTo>
                  <a:lnTo>
                    <a:pt x="314" y="166"/>
                  </a:lnTo>
                  <a:lnTo>
                    <a:pt x="322" y="164"/>
                  </a:lnTo>
                  <a:lnTo>
                    <a:pt x="327" y="166"/>
                  </a:lnTo>
                  <a:lnTo>
                    <a:pt x="331" y="165"/>
                  </a:lnTo>
                  <a:lnTo>
                    <a:pt x="341" y="155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5" y="148"/>
                  </a:lnTo>
                  <a:lnTo>
                    <a:pt x="346" y="145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32" y="128"/>
                  </a:lnTo>
                  <a:lnTo>
                    <a:pt x="331" y="125"/>
                  </a:lnTo>
                  <a:lnTo>
                    <a:pt x="332" y="123"/>
                  </a:lnTo>
                  <a:lnTo>
                    <a:pt x="335" y="121"/>
                  </a:lnTo>
                  <a:lnTo>
                    <a:pt x="339" y="122"/>
                  </a:lnTo>
                  <a:lnTo>
                    <a:pt x="340" y="120"/>
                  </a:lnTo>
                  <a:lnTo>
                    <a:pt x="334" y="109"/>
                  </a:lnTo>
                  <a:lnTo>
                    <a:pt x="329" y="107"/>
                  </a:lnTo>
                  <a:lnTo>
                    <a:pt x="326" y="108"/>
                  </a:lnTo>
                  <a:lnTo>
                    <a:pt x="322" y="111"/>
                  </a:lnTo>
                  <a:lnTo>
                    <a:pt x="318" y="113"/>
                  </a:lnTo>
                  <a:lnTo>
                    <a:pt x="314" y="113"/>
                  </a:lnTo>
                  <a:lnTo>
                    <a:pt x="300" y="107"/>
                  </a:lnTo>
                  <a:lnTo>
                    <a:pt x="253" y="47"/>
                  </a:lnTo>
                  <a:lnTo>
                    <a:pt x="250" y="40"/>
                  </a:lnTo>
                  <a:lnTo>
                    <a:pt x="250" y="33"/>
                  </a:lnTo>
                  <a:lnTo>
                    <a:pt x="249" y="31"/>
                  </a:lnTo>
                  <a:lnTo>
                    <a:pt x="241" y="25"/>
                  </a:lnTo>
                  <a:lnTo>
                    <a:pt x="240" y="22"/>
                  </a:lnTo>
                  <a:lnTo>
                    <a:pt x="243" y="14"/>
                  </a:lnTo>
                  <a:lnTo>
                    <a:pt x="243" y="4"/>
                  </a:lnTo>
                  <a:lnTo>
                    <a:pt x="24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2" name="Freeform 170"/>
            <p:cNvSpPr>
              <a:spLocks/>
            </p:cNvSpPr>
            <p:nvPr/>
          </p:nvSpPr>
          <p:spPr bwMode="auto">
            <a:xfrm>
              <a:off x="2440926" y="2603534"/>
              <a:ext cx="402141" cy="256040"/>
            </a:xfrm>
            <a:custGeom>
              <a:avLst/>
              <a:gdLst>
                <a:gd name="T0" fmla="*/ 24 w 337"/>
                <a:gd name="T1" fmla="*/ 2 h 256"/>
                <a:gd name="T2" fmla="*/ 21 w 337"/>
                <a:gd name="T3" fmla="*/ 2 h 256"/>
                <a:gd name="T4" fmla="*/ 18 w 337"/>
                <a:gd name="T5" fmla="*/ 2 h 256"/>
                <a:gd name="T6" fmla="*/ 15 w 337"/>
                <a:gd name="T7" fmla="*/ 2 h 256"/>
                <a:gd name="T8" fmla="*/ 13 w 337"/>
                <a:gd name="T9" fmla="*/ 1 h 256"/>
                <a:gd name="T10" fmla="*/ 11 w 337"/>
                <a:gd name="T11" fmla="*/ 2 h 256"/>
                <a:gd name="T12" fmla="*/ 9 w 337"/>
                <a:gd name="T13" fmla="*/ 3 h 256"/>
                <a:gd name="T14" fmla="*/ 10 w 337"/>
                <a:gd name="T15" fmla="*/ 4 h 256"/>
                <a:gd name="T16" fmla="*/ 6 w 337"/>
                <a:gd name="T17" fmla="*/ 6 h 256"/>
                <a:gd name="T18" fmla="*/ 1 w 337"/>
                <a:gd name="T19" fmla="*/ 10 h 256"/>
                <a:gd name="T20" fmla="*/ 1 w 337"/>
                <a:gd name="T21" fmla="*/ 11 h 256"/>
                <a:gd name="T22" fmla="*/ 2 w 337"/>
                <a:gd name="T23" fmla="*/ 10 h 256"/>
                <a:gd name="T24" fmla="*/ 4 w 337"/>
                <a:gd name="T25" fmla="*/ 13 h 256"/>
                <a:gd name="T26" fmla="*/ 10 w 337"/>
                <a:gd name="T27" fmla="*/ 18 h 256"/>
                <a:gd name="T28" fmla="*/ 12 w 337"/>
                <a:gd name="T29" fmla="*/ 20 h 256"/>
                <a:gd name="T30" fmla="*/ 15 w 337"/>
                <a:gd name="T31" fmla="*/ 21 h 256"/>
                <a:gd name="T32" fmla="*/ 18 w 337"/>
                <a:gd name="T33" fmla="*/ 19 h 256"/>
                <a:gd name="T34" fmla="*/ 19 w 337"/>
                <a:gd name="T35" fmla="*/ 16 h 256"/>
                <a:gd name="T36" fmla="*/ 24 w 337"/>
                <a:gd name="T37" fmla="*/ 16 h 256"/>
                <a:gd name="T38" fmla="*/ 31 w 337"/>
                <a:gd name="T39" fmla="*/ 17 h 256"/>
                <a:gd name="T40" fmla="*/ 32 w 337"/>
                <a:gd name="T41" fmla="*/ 18 h 256"/>
                <a:gd name="T42" fmla="*/ 33 w 337"/>
                <a:gd name="T43" fmla="*/ 19 h 256"/>
                <a:gd name="T44" fmla="*/ 33 w 337"/>
                <a:gd name="T45" fmla="*/ 20 h 256"/>
                <a:gd name="T46" fmla="*/ 34 w 337"/>
                <a:gd name="T47" fmla="*/ 22 h 256"/>
                <a:gd name="T48" fmla="*/ 33 w 337"/>
                <a:gd name="T49" fmla="*/ 25 h 256"/>
                <a:gd name="T50" fmla="*/ 36 w 337"/>
                <a:gd name="T51" fmla="*/ 24 h 256"/>
                <a:gd name="T52" fmla="*/ 36 w 337"/>
                <a:gd name="T53" fmla="*/ 24 h 256"/>
                <a:gd name="T54" fmla="*/ 39 w 337"/>
                <a:gd name="T55" fmla="*/ 24 h 256"/>
                <a:gd name="T56" fmla="*/ 41 w 337"/>
                <a:gd name="T57" fmla="*/ 25 h 256"/>
                <a:gd name="T58" fmla="*/ 43 w 337"/>
                <a:gd name="T59" fmla="*/ 28 h 256"/>
                <a:gd name="T60" fmla="*/ 42 w 337"/>
                <a:gd name="T61" fmla="*/ 30 h 256"/>
                <a:gd name="T62" fmla="*/ 43 w 337"/>
                <a:gd name="T63" fmla="*/ 30 h 256"/>
                <a:gd name="T64" fmla="*/ 46 w 337"/>
                <a:gd name="T65" fmla="*/ 31 h 256"/>
                <a:gd name="T66" fmla="*/ 48 w 337"/>
                <a:gd name="T67" fmla="*/ 29 h 256"/>
                <a:gd name="T68" fmla="*/ 50 w 337"/>
                <a:gd name="T69" fmla="*/ 29 h 256"/>
                <a:gd name="T70" fmla="*/ 53 w 337"/>
                <a:gd name="T71" fmla="*/ 27 h 256"/>
                <a:gd name="T72" fmla="*/ 53 w 337"/>
                <a:gd name="T73" fmla="*/ 26 h 256"/>
                <a:gd name="T74" fmla="*/ 52 w 337"/>
                <a:gd name="T75" fmla="*/ 25 h 256"/>
                <a:gd name="T76" fmla="*/ 52 w 337"/>
                <a:gd name="T77" fmla="*/ 24 h 256"/>
                <a:gd name="T78" fmla="*/ 55 w 337"/>
                <a:gd name="T79" fmla="*/ 25 h 256"/>
                <a:gd name="T80" fmla="*/ 56 w 337"/>
                <a:gd name="T81" fmla="*/ 24 h 256"/>
                <a:gd name="T82" fmla="*/ 54 w 337"/>
                <a:gd name="T83" fmla="*/ 23 h 256"/>
                <a:gd name="T84" fmla="*/ 55 w 337"/>
                <a:gd name="T85" fmla="*/ 21 h 256"/>
                <a:gd name="T86" fmla="*/ 54 w 337"/>
                <a:gd name="T87" fmla="*/ 19 h 256"/>
                <a:gd name="T88" fmla="*/ 52 w 337"/>
                <a:gd name="T89" fmla="*/ 16 h 256"/>
                <a:gd name="T90" fmla="*/ 53 w 337"/>
                <a:gd name="T91" fmla="*/ 14 h 256"/>
                <a:gd name="T92" fmla="*/ 52 w 337"/>
                <a:gd name="T93" fmla="*/ 13 h 256"/>
                <a:gd name="T94" fmla="*/ 49 w 337"/>
                <a:gd name="T95" fmla="*/ 9 h 256"/>
                <a:gd name="T96" fmla="*/ 48 w 337"/>
                <a:gd name="T97" fmla="*/ 9 h 256"/>
                <a:gd name="T98" fmla="*/ 50 w 337"/>
                <a:gd name="T99" fmla="*/ 8 h 256"/>
                <a:gd name="T100" fmla="*/ 50 w 337"/>
                <a:gd name="T101" fmla="*/ 7 h 256"/>
                <a:gd name="T102" fmla="*/ 47 w 337"/>
                <a:gd name="T103" fmla="*/ 6 h 256"/>
                <a:gd name="T104" fmla="*/ 46 w 337"/>
                <a:gd name="T105" fmla="*/ 3 h 256"/>
                <a:gd name="T106" fmla="*/ 46 w 337"/>
                <a:gd name="T107" fmla="*/ 3 h 256"/>
                <a:gd name="T108" fmla="*/ 45 w 337"/>
                <a:gd name="T109" fmla="*/ 1 h 256"/>
                <a:gd name="T110" fmla="*/ 43 w 337"/>
                <a:gd name="T111" fmla="*/ 1 h 256"/>
                <a:gd name="T112" fmla="*/ 41 w 337"/>
                <a:gd name="T113" fmla="*/ 3 h 256"/>
                <a:gd name="T114" fmla="*/ 37 w 337"/>
                <a:gd name="T115" fmla="*/ 3 h 256"/>
                <a:gd name="T116" fmla="*/ 34 w 337"/>
                <a:gd name="T117" fmla="*/ 3 h 256"/>
                <a:gd name="T118" fmla="*/ 31 w 337"/>
                <a:gd name="T119" fmla="*/ 3 h 256"/>
                <a:gd name="T120" fmla="*/ 29 w 337"/>
                <a:gd name="T121" fmla="*/ 4 h 256"/>
                <a:gd name="T122" fmla="*/ 28 w 337"/>
                <a:gd name="T123" fmla="*/ 2 h 2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7"/>
                <a:gd name="T187" fmla="*/ 0 h 256"/>
                <a:gd name="T188" fmla="*/ 337 w 337"/>
                <a:gd name="T189" fmla="*/ 256 h 2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7" h="256">
                  <a:moveTo>
                    <a:pt x="172" y="13"/>
                  </a:moveTo>
                  <a:lnTo>
                    <a:pt x="163" y="12"/>
                  </a:lnTo>
                  <a:lnTo>
                    <a:pt x="158" y="14"/>
                  </a:lnTo>
                  <a:lnTo>
                    <a:pt x="145" y="13"/>
                  </a:lnTo>
                  <a:lnTo>
                    <a:pt x="144" y="14"/>
                  </a:lnTo>
                  <a:lnTo>
                    <a:pt x="137" y="14"/>
                  </a:lnTo>
                  <a:lnTo>
                    <a:pt x="132" y="16"/>
                  </a:lnTo>
                  <a:lnTo>
                    <a:pt x="126" y="17"/>
                  </a:lnTo>
                  <a:lnTo>
                    <a:pt x="121" y="14"/>
                  </a:lnTo>
                  <a:lnTo>
                    <a:pt x="118" y="15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8"/>
                  </a:lnTo>
                  <a:lnTo>
                    <a:pt x="100" y="9"/>
                  </a:lnTo>
                  <a:lnTo>
                    <a:pt x="99" y="11"/>
                  </a:lnTo>
                  <a:lnTo>
                    <a:pt x="94" y="11"/>
                  </a:lnTo>
                  <a:lnTo>
                    <a:pt x="94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8" y="4"/>
                  </a:lnTo>
                  <a:lnTo>
                    <a:pt x="75" y="1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67" y="11"/>
                  </a:lnTo>
                  <a:lnTo>
                    <a:pt x="67" y="15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7" y="21"/>
                  </a:lnTo>
                  <a:lnTo>
                    <a:pt x="55" y="22"/>
                  </a:lnTo>
                  <a:lnTo>
                    <a:pt x="54" y="25"/>
                  </a:lnTo>
                  <a:lnTo>
                    <a:pt x="58" y="28"/>
                  </a:lnTo>
                  <a:lnTo>
                    <a:pt x="62" y="33"/>
                  </a:lnTo>
                  <a:lnTo>
                    <a:pt x="63" y="47"/>
                  </a:lnTo>
                  <a:lnTo>
                    <a:pt x="57" y="47"/>
                  </a:lnTo>
                  <a:lnTo>
                    <a:pt x="54" y="49"/>
                  </a:lnTo>
                  <a:lnTo>
                    <a:pt x="38" y="50"/>
                  </a:lnTo>
                  <a:lnTo>
                    <a:pt x="22" y="56"/>
                  </a:lnTo>
                  <a:lnTo>
                    <a:pt x="17" y="60"/>
                  </a:lnTo>
                  <a:lnTo>
                    <a:pt x="9" y="77"/>
                  </a:lnTo>
                  <a:lnTo>
                    <a:pt x="5" y="80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1"/>
                  </a:lnTo>
                  <a:lnTo>
                    <a:pt x="7" y="90"/>
                  </a:lnTo>
                  <a:lnTo>
                    <a:pt x="11" y="84"/>
                  </a:lnTo>
                  <a:lnTo>
                    <a:pt x="14" y="83"/>
                  </a:lnTo>
                  <a:lnTo>
                    <a:pt x="17" y="94"/>
                  </a:lnTo>
                  <a:lnTo>
                    <a:pt x="24" y="96"/>
                  </a:lnTo>
                  <a:lnTo>
                    <a:pt x="25" y="97"/>
                  </a:lnTo>
                  <a:lnTo>
                    <a:pt x="25" y="108"/>
                  </a:lnTo>
                  <a:lnTo>
                    <a:pt x="33" y="121"/>
                  </a:lnTo>
                  <a:lnTo>
                    <a:pt x="54" y="133"/>
                  </a:lnTo>
                  <a:lnTo>
                    <a:pt x="62" y="140"/>
                  </a:lnTo>
                  <a:lnTo>
                    <a:pt x="62" y="149"/>
                  </a:lnTo>
                  <a:lnTo>
                    <a:pt x="69" y="151"/>
                  </a:lnTo>
                  <a:lnTo>
                    <a:pt x="72" y="155"/>
                  </a:lnTo>
                  <a:lnTo>
                    <a:pt x="74" y="157"/>
                  </a:lnTo>
                  <a:lnTo>
                    <a:pt x="74" y="161"/>
                  </a:lnTo>
                  <a:lnTo>
                    <a:pt x="77" y="163"/>
                  </a:lnTo>
                  <a:lnTo>
                    <a:pt x="80" y="167"/>
                  </a:lnTo>
                  <a:lnTo>
                    <a:pt x="87" y="170"/>
                  </a:lnTo>
                  <a:lnTo>
                    <a:pt x="94" y="169"/>
                  </a:lnTo>
                  <a:lnTo>
                    <a:pt x="96" y="167"/>
                  </a:lnTo>
                  <a:lnTo>
                    <a:pt x="100" y="160"/>
                  </a:lnTo>
                  <a:lnTo>
                    <a:pt x="104" y="158"/>
                  </a:lnTo>
                  <a:lnTo>
                    <a:pt x="106" y="157"/>
                  </a:lnTo>
                  <a:lnTo>
                    <a:pt x="106" y="153"/>
                  </a:lnTo>
                  <a:lnTo>
                    <a:pt x="111" y="151"/>
                  </a:lnTo>
                  <a:lnTo>
                    <a:pt x="118" y="140"/>
                  </a:lnTo>
                  <a:lnTo>
                    <a:pt x="118" y="133"/>
                  </a:lnTo>
                  <a:lnTo>
                    <a:pt x="120" y="132"/>
                  </a:lnTo>
                  <a:lnTo>
                    <a:pt x="128" y="131"/>
                  </a:lnTo>
                  <a:lnTo>
                    <a:pt x="131" y="133"/>
                  </a:lnTo>
                  <a:lnTo>
                    <a:pt x="143" y="131"/>
                  </a:lnTo>
                  <a:lnTo>
                    <a:pt x="144" y="126"/>
                  </a:lnTo>
                  <a:lnTo>
                    <a:pt x="176" y="128"/>
                  </a:lnTo>
                  <a:lnTo>
                    <a:pt x="179" y="134"/>
                  </a:lnTo>
                  <a:lnTo>
                    <a:pt x="184" y="136"/>
                  </a:lnTo>
                  <a:lnTo>
                    <a:pt x="187" y="141"/>
                  </a:lnTo>
                  <a:lnTo>
                    <a:pt x="191" y="144"/>
                  </a:lnTo>
                  <a:lnTo>
                    <a:pt x="192" y="146"/>
                  </a:lnTo>
                  <a:lnTo>
                    <a:pt x="194" y="148"/>
                  </a:lnTo>
                  <a:lnTo>
                    <a:pt x="193" y="151"/>
                  </a:lnTo>
                  <a:lnTo>
                    <a:pt x="193" y="153"/>
                  </a:lnTo>
                  <a:lnTo>
                    <a:pt x="199" y="155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0" y="161"/>
                  </a:lnTo>
                  <a:lnTo>
                    <a:pt x="201" y="164"/>
                  </a:lnTo>
                  <a:lnTo>
                    <a:pt x="200" y="165"/>
                  </a:lnTo>
                  <a:lnTo>
                    <a:pt x="201" y="169"/>
                  </a:lnTo>
                  <a:lnTo>
                    <a:pt x="202" y="171"/>
                  </a:lnTo>
                  <a:lnTo>
                    <a:pt x="206" y="173"/>
                  </a:lnTo>
                  <a:lnTo>
                    <a:pt x="208" y="176"/>
                  </a:lnTo>
                  <a:lnTo>
                    <a:pt x="209" y="185"/>
                  </a:lnTo>
                  <a:lnTo>
                    <a:pt x="208" y="186"/>
                  </a:lnTo>
                  <a:lnTo>
                    <a:pt x="204" y="187"/>
                  </a:lnTo>
                  <a:lnTo>
                    <a:pt x="200" y="202"/>
                  </a:lnTo>
                  <a:lnTo>
                    <a:pt x="200" y="204"/>
                  </a:lnTo>
                  <a:lnTo>
                    <a:pt x="210" y="200"/>
                  </a:lnTo>
                  <a:lnTo>
                    <a:pt x="215" y="196"/>
                  </a:lnTo>
                  <a:lnTo>
                    <a:pt x="216" y="196"/>
                  </a:lnTo>
                  <a:lnTo>
                    <a:pt x="217" y="198"/>
                  </a:lnTo>
                  <a:lnTo>
                    <a:pt x="217" y="201"/>
                  </a:lnTo>
                  <a:lnTo>
                    <a:pt x="221" y="201"/>
                  </a:lnTo>
                  <a:lnTo>
                    <a:pt x="223" y="196"/>
                  </a:lnTo>
                  <a:lnTo>
                    <a:pt x="226" y="194"/>
                  </a:lnTo>
                  <a:lnTo>
                    <a:pt x="233" y="199"/>
                  </a:lnTo>
                  <a:lnTo>
                    <a:pt x="235" y="199"/>
                  </a:lnTo>
                  <a:lnTo>
                    <a:pt x="237" y="197"/>
                  </a:lnTo>
                  <a:lnTo>
                    <a:pt x="244" y="194"/>
                  </a:lnTo>
                  <a:lnTo>
                    <a:pt x="246" y="195"/>
                  </a:lnTo>
                  <a:lnTo>
                    <a:pt x="246" y="196"/>
                  </a:lnTo>
                  <a:lnTo>
                    <a:pt x="248" y="200"/>
                  </a:lnTo>
                  <a:lnTo>
                    <a:pt x="255" y="203"/>
                  </a:lnTo>
                  <a:lnTo>
                    <a:pt x="255" y="209"/>
                  </a:lnTo>
                  <a:lnTo>
                    <a:pt x="258" y="214"/>
                  </a:lnTo>
                  <a:lnTo>
                    <a:pt x="259" y="227"/>
                  </a:lnTo>
                  <a:lnTo>
                    <a:pt x="261" y="229"/>
                  </a:lnTo>
                  <a:lnTo>
                    <a:pt x="261" y="241"/>
                  </a:lnTo>
                  <a:lnTo>
                    <a:pt x="259" y="243"/>
                  </a:lnTo>
                  <a:lnTo>
                    <a:pt x="256" y="246"/>
                  </a:lnTo>
                  <a:lnTo>
                    <a:pt x="255" y="247"/>
                  </a:lnTo>
                  <a:lnTo>
                    <a:pt x="256" y="248"/>
                  </a:lnTo>
                  <a:lnTo>
                    <a:pt x="259" y="248"/>
                  </a:lnTo>
                  <a:lnTo>
                    <a:pt x="262" y="246"/>
                  </a:lnTo>
                  <a:lnTo>
                    <a:pt x="264" y="246"/>
                  </a:lnTo>
                  <a:lnTo>
                    <a:pt x="273" y="256"/>
                  </a:lnTo>
                  <a:lnTo>
                    <a:pt x="276" y="254"/>
                  </a:lnTo>
                  <a:lnTo>
                    <a:pt x="279" y="252"/>
                  </a:lnTo>
                  <a:lnTo>
                    <a:pt x="286" y="252"/>
                  </a:lnTo>
                  <a:lnTo>
                    <a:pt x="286" y="248"/>
                  </a:lnTo>
                  <a:lnTo>
                    <a:pt x="290" y="243"/>
                  </a:lnTo>
                  <a:lnTo>
                    <a:pt x="291" y="237"/>
                  </a:lnTo>
                  <a:lnTo>
                    <a:pt x="293" y="235"/>
                  </a:lnTo>
                  <a:lnTo>
                    <a:pt x="298" y="235"/>
                  </a:lnTo>
                  <a:lnTo>
                    <a:pt x="301" y="240"/>
                  </a:lnTo>
                  <a:lnTo>
                    <a:pt x="304" y="239"/>
                  </a:lnTo>
                  <a:lnTo>
                    <a:pt x="315" y="239"/>
                  </a:lnTo>
                  <a:lnTo>
                    <a:pt x="316" y="236"/>
                  </a:lnTo>
                  <a:lnTo>
                    <a:pt x="320" y="230"/>
                  </a:lnTo>
                  <a:lnTo>
                    <a:pt x="321" y="219"/>
                  </a:lnTo>
                  <a:lnTo>
                    <a:pt x="325" y="216"/>
                  </a:lnTo>
                  <a:lnTo>
                    <a:pt x="324" y="214"/>
                  </a:lnTo>
                  <a:lnTo>
                    <a:pt x="323" y="214"/>
                  </a:lnTo>
                  <a:lnTo>
                    <a:pt x="323" y="213"/>
                  </a:lnTo>
                  <a:lnTo>
                    <a:pt x="323" y="210"/>
                  </a:lnTo>
                  <a:lnTo>
                    <a:pt x="320" y="209"/>
                  </a:lnTo>
                  <a:lnTo>
                    <a:pt x="313" y="209"/>
                  </a:lnTo>
                  <a:lnTo>
                    <a:pt x="312" y="208"/>
                  </a:lnTo>
                  <a:lnTo>
                    <a:pt x="314" y="204"/>
                  </a:lnTo>
                  <a:lnTo>
                    <a:pt x="313" y="200"/>
                  </a:lnTo>
                  <a:lnTo>
                    <a:pt x="311" y="199"/>
                  </a:lnTo>
                  <a:lnTo>
                    <a:pt x="319" y="196"/>
                  </a:lnTo>
                  <a:lnTo>
                    <a:pt x="326" y="196"/>
                  </a:lnTo>
                  <a:lnTo>
                    <a:pt x="329" y="199"/>
                  </a:lnTo>
                  <a:lnTo>
                    <a:pt x="331" y="200"/>
                  </a:lnTo>
                  <a:lnTo>
                    <a:pt x="334" y="199"/>
                  </a:lnTo>
                  <a:lnTo>
                    <a:pt x="336" y="204"/>
                  </a:lnTo>
                  <a:lnTo>
                    <a:pt x="337" y="204"/>
                  </a:lnTo>
                  <a:lnTo>
                    <a:pt x="337" y="192"/>
                  </a:lnTo>
                  <a:lnTo>
                    <a:pt x="334" y="188"/>
                  </a:lnTo>
                  <a:lnTo>
                    <a:pt x="334" y="184"/>
                  </a:lnTo>
                  <a:lnTo>
                    <a:pt x="331" y="184"/>
                  </a:lnTo>
                  <a:lnTo>
                    <a:pt x="329" y="182"/>
                  </a:lnTo>
                  <a:lnTo>
                    <a:pt x="327" y="183"/>
                  </a:lnTo>
                  <a:lnTo>
                    <a:pt x="330" y="176"/>
                  </a:lnTo>
                  <a:lnTo>
                    <a:pt x="332" y="172"/>
                  </a:lnTo>
                  <a:lnTo>
                    <a:pt x="334" y="171"/>
                  </a:lnTo>
                  <a:lnTo>
                    <a:pt x="334" y="170"/>
                  </a:lnTo>
                  <a:lnTo>
                    <a:pt x="331" y="166"/>
                  </a:lnTo>
                  <a:lnTo>
                    <a:pt x="328" y="166"/>
                  </a:lnTo>
                  <a:lnTo>
                    <a:pt x="330" y="155"/>
                  </a:lnTo>
                  <a:lnTo>
                    <a:pt x="324" y="155"/>
                  </a:lnTo>
                  <a:lnTo>
                    <a:pt x="318" y="151"/>
                  </a:lnTo>
                  <a:lnTo>
                    <a:pt x="316" y="150"/>
                  </a:lnTo>
                  <a:lnTo>
                    <a:pt x="316" y="129"/>
                  </a:lnTo>
                  <a:lnTo>
                    <a:pt x="319" y="126"/>
                  </a:lnTo>
                  <a:lnTo>
                    <a:pt x="319" y="124"/>
                  </a:lnTo>
                  <a:lnTo>
                    <a:pt x="325" y="118"/>
                  </a:lnTo>
                  <a:lnTo>
                    <a:pt x="325" y="114"/>
                  </a:lnTo>
                  <a:lnTo>
                    <a:pt x="324" y="111"/>
                  </a:lnTo>
                  <a:lnTo>
                    <a:pt x="319" y="109"/>
                  </a:lnTo>
                  <a:lnTo>
                    <a:pt x="318" y="105"/>
                  </a:lnTo>
                  <a:lnTo>
                    <a:pt x="312" y="105"/>
                  </a:lnTo>
                  <a:lnTo>
                    <a:pt x="310" y="100"/>
                  </a:lnTo>
                  <a:lnTo>
                    <a:pt x="308" y="77"/>
                  </a:lnTo>
                  <a:lnTo>
                    <a:pt x="304" y="76"/>
                  </a:lnTo>
                  <a:lnTo>
                    <a:pt x="300" y="77"/>
                  </a:lnTo>
                  <a:lnTo>
                    <a:pt x="295" y="83"/>
                  </a:lnTo>
                  <a:lnTo>
                    <a:pt x="293" y="83"/>
                  </a:lnTo>
                  <a:lnTo>
                    <a:pt x="293" y="76"/>
                  </a:lnTo>
                  <a:lnTo>
                    <a:pt x="294" y="75"/>
                  </a:lnTo>
                  <a:lnTo>
                    <a:pt x="298" y="73"/>
                  </a:lnTo>
                  <a:lnTo>
                    <a:pt x="298" y="70"/>
                  </a:lnTo>
                  <a:lnTo>
                    <a:pt x="302" y="69"/>
                  </a:lnTo>
                  <a:lnTo>
                    <a:pt x="303" y="66"/>
                  </a:lnTo>
                  <a:lnTo>
                    <a:pt x="307" y="66"/>
                  </a:lnTo>
                  <a:lnTo>
                    <a:pt x="306" y="61"/>
                  </a:lnTo>
                  <a:lnTo>
                    <a:pt x="306" y="60"/>
                  </a:lnTo>
                  <a:lnTo>
                    <a:pt x="301" y="60"/>
                  </a:lnTo>
                  <a:lnTo>
                    <a:pt x="298" y="57"/>
                  </a:lnTo>
                  <a:lnTo>
                    <a:pt x="295" y="55"/>
                  </a:lnTo>
                  <a:lnTo>
                    <a:pt x="291" y="48"/>
                  </a:lnTo>
                  <a:lnTo>
                    <a:pt x="288" y="49"/>
                  </a:lnTo>
                  <a:lnTo>
                    <a:pt x="287" y="49"/>
                  </a:lnTo>
                  <a:lnTo>
                    <a:pt x="287" y="34"/>
                  </a:lnTo>
                  <a:lnTo>
                    <a:pt x="284" y="31"/>
                  </a:lnTo>
                  <a:lnTo>
                    <a:pt x="282" y="29"/>
                  </a:lnTo>
                  <a:lnTo>
                    <a:pt x="283" y="24"/>
                  </a:lnTo>
                  <a:lnTo>
                    <a:pt x="281" y="23"/>
                  </a:lnTo>
                  <a:lnTo>
                    <a:pt x="278" y="23"/>
                  </a:lnTo>
                  <a:lnTo>
                    <a:pt x="277" y="22"/>
                  </a:lnTo>
                  <a:lnTo>
                    <a:pt x="278" y="13"/>
                  </a:lnTo>
                  <a:lnTo>
                    <a:pt x="278" y="11"/>
                  </a:lnTo>
                  <a:lnTo>
                    <a:pt x="275" y="9"/>
                  </a:lnTo>
                  <a:lnTo>
                    <a:pt x="273" y="9"/>
                  </a:lnTo>
                  <a:lnTo>
                    <a:pt x="271" y="12"/>
                  </a:lnTo>
                  <a:lnTo>
                    <a:pt x="269" y="12"/>
                  </a:lnTo>
                  <a:lnTo>
                    <a:pt x="264" y="9"/>
                  </a:lnTo>
                  <a:lnTo>
                    <a:pt x="262" y="9"/>
                  </a:lnTo>
                  <a:lnTo>
                    <a:pt x="261" y="10"/>
                  </a:lnTo>
                  <a:lnTo>
                    <a:pt x="261" y="17"/>
                  </a:lnTo>
                  <a:lnTo>
                    <a:pt x="258" y="19"/>
                  </a:lnTo>
                  <a:lnTo>
                    <a:pt x="247" y="23"/>
                  </a:lnTo>
                  <a:lnTo>
                    <a:pt x="247" y="27"/>
                  </a:lnTo>
                  <a:lnTo>
                    <a:pt x="245" y="32"/>
                  </a:lnTo>
                  <a:lnTo>
                    <a:pt x="233" y="27"/>
                  </a:lnTo>
                  <a:lnTo>
                    <a:pt x="226" y="23"/>
                  </a:lnTo>
                  <a:lnTo>
                    <a:pt x="218" y="21"/>
                  </a:lnTo>
                  <a:lnTo>
                    <a:pt x="216" y="22"/>
                  </a:lnTo>
                  <a:lnTo>
                    <a:pt x="213" y="26"/>
                  </a:lnTo>
                  <a:lnTo>
                    <a:pt x="208" y="28"/>
                  </a:lnTo>
                  <a:lnTo>
                    <a:pt x="206" y="33"/>
                  </a:lnTo>
                  <a:lnTo>
                    <a:pt x="203" y="36"/>
                  </a:lnTo>
                  <a:lnTo>
                    <a:pt x="199" y="34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80" y="28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69" y="29"/>
                  </a:lnTo>
                  <a:lnTo>
                    <a:pt x="166" y="25"/>
                  </a:lnTo>
                  <a:lnTo>
                    <a:pt x="166" y="22"/>
                  </a:lnTo>
                  <a:lnTo>
                    <a:pt x="169" y="19"/>
                  </a:lnTo>
                  <a:lnTo>
                    <a:pt x="169" y="16"/>
                  </a:lnTo>
                  <a:lnTo>
                    <a:pt x="172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3" name="Freeform 171"/>
            <p:cNvSpPr>
              <a:spLocks/>
            </p:cNvSpPr>
            <p:nvPr/>
          </p:nvSpPr>
          <p:spPr bwMode="auto">
            <a:xfrm>
              <a:off x="2440926" y="2603534"/>
              <a:ext cx="402141" cy="256040"/>
            </a:xfrm>
            <a:custGeom>
              <a:avLst/>
              <a:gdLst>
                <a:gd name="T0" fmla="*/ 24 w 337"/>
                <a:gd name="T1" fmla="*/ 2 h 256"/>
                <a:gd name="T2" fmla="*/ 21 w 337"/>
                <a:gd name="T3" fmla="*/ 2 h 256"/>
                <a:gd name="T4" fmla="*/ 18 w 337"/>
                <a:gd name="T5" fmla="*/ 2 h 256"/>
                <a:gd name="T6" fmla="*/ 15 w 337"/>
                <a:gd name="T7" fmla="*/ 2 h 256"/>
                <a:gd name="T8" fmla="*/ 13 w 337"/>
                <a:gd name="T9" fmla="*/ 1 h 256"/>
                <a:gd name="T10" fmla="*/ 11 w 337"/>
                <a:gd name="T11" fmla="*/ 2 h 256"/>
                <a:gd name="T12" fmla="*/ 9 w 337"/>
                <a:gd name="T13" fmla="*/ 3 h 256"/>
                <a:gd name="T14" fmla="*/ 10 w 337"/>
                <a:gd name="T15" fmla="*/ 4 h 256"/>
                <a:gd name="T16" fmla="*/ 6 w 337"/>
                <a:gd name="T17" fmla="*/ 6 h 256"/>
                <a:gd name="T18" fmla="*/ 1 w 337"/>
                <a:gd name="T19" fmla="*/ 10 h 256"/>
                <a:gd name="T20" fmla="*/ 1 w 337"/>
                <a:gd name="T21" fmla="*/ 11 h 256"/>
                <a:gd name="T22" fmla="*/ 2 w 337"/>
                <a:gd name="T23" fmla="*/ 10 h 256"/>
                <a:gd name="T24" fmla="*/ 4 w 337"/>
                <a:gd name="T25" fmla="*/ 13 h 256"/>
                <a:gd name="T26" fmla="*/ 10 w 337"/>
                <a:gd name="T27" fmla="*/ 18 h 256"/>
                <a:gd name="T28" fmla="*/ 12 w 337"/>
                <a:gd name="T29" fmla="*/ 20 h 256"/>
                <a:gd name="T30" fmla="*/ 15 w 337"/>
                <a:gd name="T31" fmla="*/ 21 h 256"/>
                <a:gd name="T32" fmla="*/ 18 w 337"/>
                <a:gd name="T33" fmla="*/ 19 h 256"/>
                <a:gd name="T34" fmla="*/ 19 w 337"/>
                <a:gd name="T35" fmla="*/ 16 h 256"/>
                <a:gd name="T36" fmla="*/ 24 w 337"/>
                <a:gd name="T37" fmla="*/ 16 h 256"/>
                <a:gd name="T38" fmla="*/ 31 w 337"/>
                <a:gd name="T39" fmla="*/ 17 h 256"/>
                <a:gd name="T40" fmla="*/ 32 w 337"/>
                <a:gd name="T41" fmla="*/ 18 h 256"/>
                <a:gd name="T42" fmla="*/ 33 w 337"/>
                <a:gd name="T43" fmla="*/ 19 h 256"/>
                <a:gd name="T44" fmla="*/ 33 w 337"/>
                <a:gd name="T45" fmla="*/ 20 h 256"/>
                <a:gd name="T46" fmla="*/ 34 w 337"/>
                <a:gd name="T47" fmla="*/ 22 h 256"/>
                <a:gd name="T48" fmla="*/ 33 w 337"/>
                <a:gd name="T49" fmla="*/ 25 h 256"/>
                <a:gd name="T50" fmla="*/ 36 w 337"/>
                <a:gd name="T51" fmla="*/ 24 h 256"/>
                <a:gd name="T52" fmla="*/ 36 w 337"/>
                <a:gd name="T53" fmla="*/ 24 h 256"/>
                <a:gd name="T54" fmla="*/ 39 w 337"/>
                <a:gd name="T55" fmla="*/ 24 h 256"/>
                <a:gd name="T56" fmla="*/ 41 w 337"/>
                <a:gd name="T57" fmla="*/ 25 h 256"/>
                <a:gd name="T58" fmla="*/ 43 w 337"/>
                <a:gd name="T59" fmla="*/ 28 h 256"/>
                <a:gd name="T60" fmla="*/ 42 w 337"/>
                <a:gd name="T61" fmla="*/ 30 h 256"/>
                <a:gd name="T62" fmla="*/ 43 w 337"/>
                <a:gd name="T63" fmla="*/ 30 h 256"/>
                <a:gd name="T64" fmla="*/ 46 w 337"/>
                <a:gd name="T65" fmla="*/ 31 h 256"/>
                <a:gd name="T66" fmla="*/ 48 w 337"/>
                <a:gd name="T67" fmla="*/ 29 h 256"/>
                <a:gd name="T68" fmla="*/ 50 w 337"/>
                <a:gd name="T69" fmla="*/ 29 h 256"/>
                <a:gd name="T70" fmla="*/ 53 w 337"/>
                <a:gd name="T71" fmla="*/ 27 h 256"/>
                <a:gd name="T72" fmla="*/ 53 w 337"/>
                <a:gd name="T73" fmla="*/ 26 h 256"/>
                <a:gd name="T74" fmla="*/ 52 w 337"/>
                <a:gd name="T75" fmla="*/ 25 h 256"/>
                <a:gd name="T76" fmla="*/ 52 w 337"/>
                <a:gd name="T77" fmla="*/ 24 h 256"/>
                <a:gd name="T78" fmla="*/ 55 w 337"/>
                <a:gd name="T79" fmla="*/ 25 h 256"/>
                <a:gd name="T80" fmla="*/ 56 w 337"/>
                <a:gd name="T81" fmla="*/ 24 h 256"/>
                <a:gd name="T82" fmla="*/ 54 w 337"/>
                <a:gd name="T83" fmla="*/ 23 h 256"/>
                <a:gd name="T84" fmla="*/ 55 w 337"/>
                <a:gd name="T85" fmla="*/ 21 h 256"/>
                <a:gd name="T86" fmla="*/ 54 w 337"/>
                <a:gd name="T87" fmla="*/ 19 h 256"/>
                <a:gd name="T88" fmla="*/ 52 w 337"/>
                <a:gd name="T89" fmla="*/ 16 h 256"/>
                <a:gd name="T90" fmla="*/ 53 w 337"/>
                <a:gd name="T91" fmla="*/ 14 h 256"/>
                <a:gd name="T92" fmla="*/ 52 w 337"/>
                <a:gd name="T93" fmla="*/ 13 h 256"/>
                <a:gd name="T94" fmla="*/ 49 w 337"/>
                <a:gd name="T95" fmla="*/ 9 h 256"/>
                <a:gd name="T96" fmla="*/ 48 w 337"/>
                <a:gd name="T97" fmla="*/ 9 h 256"/>
                <a:gd name="T98" fmla="*/ 50 w 337"/>
                <a:gd name="T99" fmla="*/ 8 h 256"/>
                <a:gd name="T100" fmla="*/ 50 w 337"/>
                <a:gd name="T101" fmla="*/ 7 h 256"/>
                <a:gd name="T102" fmla="*/ 47 w 337"/>
                <a:gd name="T103" fmla="*/ 6 h 256"/>
                <a:gd name="T104" fmla="*/ 46 w 337"/>
                <a:gd name="T105" fmla="*/ 3 h 256"/>
                <a:gd name="T106" fmla="*/ 46 w 337"/>
                <a:gd name="T107" fmla="*/ 3 h 256"/>
                <a:gd name="T108" fmla="*/ 45 w 337"/>
                <a:gd name="T109" fmla="*/ 1 h 256"/>
                <a:gd name="T110" fmla="*/ 43 w 337"/>
                <a:gd name="T111" fmla="*/ 1 h 256"/>
                <a:gd name="T112" fmla="*/ 41 w 337"/>
                <a:gd name="T113" fmla="*/ 3 h 256"/>
                <a:gd name="T114" fmla="*/ 37 w 337"/>
                <a:gd name="T115" fmla="*/ 3 h 256"/>
                <a:gd name="T116" fmla="*/ 34 w 337"/>
                <a:gd name="T117" fmla="*/ 3 h 256"/>
                <a:gd name="T118" fmla="*/ 31 w 337"/>
                <a:gd name="T119" fmla="*/ 3 h 256"/>
                <a:gd name="T120" fmla="*/ 29 w 337"/>
                <a:gd name="T121" fmla="*/ 4 h 256"/>
                <a:gd name="T122" fmla="*/ 28 w 337"/>
                <a:gd name="T123" fmla="*/ 2 h 2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7"/>
                <a:gd name="T187" fmla="*/ 0 h 256"/>
                <a:gd name="T188" fmla="*/ 337 w 337"/>
                <a:gd name="T189" fmla="*/ 256 h 2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7" h="256">
                  <a:moveTo>
                    <a:pt x="172" y="13"/>
                  </a:moveTo>
                  <a:lnTo>
                    <a:pt x="163" y="12"/>
                  </a:lnTo>
                  <a:lnTo>
                    <a:pt x="158" y="14"/>
                  </a:lnTo>
                  <a:lnTo>
                    <a:pt x="145" y="13"/>
                  </a:lnTo>
                  <a:lnTo>
                    <a:pt x="144" y="14"/>
                  </a:lnTo>
                  <a:lnTo>
                    <a:pt x="137" y="14"/>
                  </a:lnTo>
                  <a:lnTo>
                    <a:pt x="132" y="16"/>
                  </a:lnTo>
                  <a:lnTo>
                    <a:pt x="126" y="17"/>
                  </a:lnTo>
                  <a:lnTo>
                    <a:pt x="121" y="14"/>
                  </a:lnTo>
                  <a:lnTo>
                    <a:pt x="118" y="15"/>
                  </a:lnTo>
                  <a:lnTo>
                    <a:pt x="112" y="13"/>
                  </a:lnTo>
                  <a:lnTo>
                    <a:pt x="107" y="13"/>
                  </a:lnTo>
                  <a:lnTo>
                    <a:pt x="101" y="8"/>
                  </a:lnTo>
                  <a:lnTo>
                    <a:pt x="100" y="9"/>
                  </a:lnTo>
                  <a:lnTo>
                    <a:pt x="99" y="11"/>
                  </a:lnTo>
                  <a:lnTo>
                    <a:pt x="94" y="11"/>
                  </a:lnTo>
                  <a:lnTo>
                    <a:pt x="94" y="6"/>
                  </a:lnTo>
                  <a:lnTo>
                    <a:pt x="90" y="3"/>
                  </a:lnTo>
                  <a:lnTo>
                    <a:pt x="84" y="2"/>
                  </a:lnTo>
                  <a:lnTo>
                    <a:pt x="78" y="4"/>
                  </a:lnTo>
                  <a:lnTo>
                    <a:pt x="75" y="1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67" y="11"/>
                  </a:lnTo>
                  <a:lnTo>
                    <a:pt x="67" y="15"/>
                  </a:lnTo>
                  <a:lnTo>
                    <a:pt x="65" y="19"/>
                  </a:lnTo>
                  <a:lnTo>
                    <a:pt x="62" y="21"/>
                  </a:lnTo>
                  <a:lnTo>
                    <a:pt x="57" y="21"/>
                  </a:lnTo>
                  <a:lnTo>
                    <a:pt x="55" y="22"/>
                  </a:lnTo>
                  <a:lnTo>
                    <a:pt x="54" y="25"/>
                  </a:lnTo>
                  <a:lnTo>
                    <a:pt x="58" y="28"/>
                  </a:lnTo>
                  <a:lnTo>
                    <a:pt x="62" y="33"/>
                  </a:lnTo>
                  <a:lnTo>
                    <a:pt x="63" y="47"/>
                  </a:lnTo>
                  <a:lnTo>
                    <a:pt x="57" y="47"/>
                  </a:lnTo>
                  <a:lnTo>
                    <a:pt x="54" y="49"/>
                  </a:lnTo>
                  <a:lnTo>
                    <a:pt x="38" y="50"/>
                  </a:lnTo>
                  <a:lnTo>
                    <a:pt x="22" y="56"/>
                  </a:lnTo>
                  <a:lnTo>
                    <a:pt x="17" y="60"/>
                  </a:lnTo>
                  <a:lnTo>
                    <a:pt x="9" y="77"/>
                  </a:lnTo>
                  <a:lnTo>
                    <a:pt x="5" y="80"/>
                  </a:lnTo>
                  <a:lnTo>
                    <a:pt x="0" y="82"/>
                  </a:lnTo>
                  <a:lnTo>
                    <a:pt x="1" y="90"/>
                  </a:lnTo>
                  <a:lnTo>
                    <a:pt x="4" y="91"/>
                  </a:lnTo>
                  <a:lnTo>
                    <a:pt x="6" y="91"/>
                  </a:lnTo>
                  <a:lnTo>
                    <a:pt x="7" y="90"/>
                  </a:lnTo>
                  <a:lnTo>
                    <a:pt x="11" y="84"/>
                  </a:lnTo>
                  <a:lnTo>
                    <a:pt x="14" y="83"/>
                  </a:lnTo>
                  <a:lnTo>
                    <a:pt x="17" y="94"/>
                  </a:lnTo>
                  <a:lnTo>
                    <a:pt x="24" y="96"/>
                  </a:lnTo>
                  <a:lnTo>
                    <a:pt x="25" y="97"/>
                  </a:lnTo>
                  <a:lnTo>
                    <a:pt x="25" y="108"/>
                  </a:lnTo>
                  <a:lnTo>
                    <a:pt x="33" y="121"/>
                  </a:lnTo>
                  <a:lnTo>
                    <a:pt x="54" y="133"/>
                  </a:lnTo>
                  <a:lnTo>
                    <a:pt x="62" y="140"/>
                  </a:lnTo>
                  <a:lnTo>
                    <a:pt x="62" y="149"/>
                  </a:lnTo>
                  <a:lnTo>
                    <a:pt x="69" y="151"/>
                  </a:lnTo>
                  <a:lnTo>
                    <a:pt x="72" y="155"/>
                  </a:lnTo>
                  <a:lnTo>
                    <a:pt x="74" y="157"/>
                  </a:lnTo>
                  <a:lnTo>
                    <a:pt x="74" y="161"/>
                  </a:lnTo>
                  <a:lnTo>
                    <a:pt x="77" y="163"/>
                  </a:lnTo>
                  <a:lnTo>
                    <a:pt x="80" y="167"/>
                  </a:lnTo>
                  <a:lnTo>
                    <a:pt x="87" y="170"/>
                  </a:lnTo>
                  <a:lnTo>
                    <a:pt x="94" y="169"/>
                  </a:lnTo>
                  <a:lnTo>
                    <a:pt x="96" y="167"/>
                  </a:lnTo>
                  <a:lnTo>
                    <a:pt x="100" y="160"/>
                  </a:lnTo>
                  <a:lnTo>
                    <a:pt x="104" y="158"/>
                  </a:lnTo>
                  <a:lnTo>
                    <a:pt x="106" y="157"/>
                  </a:lnTo>
                  <a:lnTo>
                    <a:pt x="106" y="153"/>
                  </a:lnTo>
                  <a:lnTo>
                    <a:pt x="111" y="151"/>
                  </a:lnTo>
                  <a:lnTo>
                    <a:pt x="118" y="140"/>
                  </a:lnTo>
                  <a:lnTo>
                    <a:pt x="118" y="133"/>
                  </a:lnTo>
                  <a:lnTo>
                    <a:pt x="120" y="132"/>
                  </a:lnTo>
                  <a:lnTo>
                    <a:pt x="128" y="131"/>
                  </a:lnTo>
                  <a:lnTo>
                    <a:pt x="131" y="133"/>
                  </a:lnTo>
                  <a:lnTo>
                    <a:pt x="143" y="131"/>
                  </a:lnTo>
                  <a:lnTo>
                    <a:pt x="144" y="126"/>
                  </a:lnTo>
                  <a:lnTo>
                    <a:pt x="176" y="128"/>
                  </a:lnTo>
                  <a:lnTo>
                    <a:pt x="179" y="134"/>
                  </a:lnTo>
                  <a:lnTo>
                    <a:pt x="184" y="136"/>
                  </a:lnTo>
                  <a:lnTo>
                    <a:pt x="187" y="141"/>
                  </a:lnTo>
                  <a:lnTo>
                    <a:pt x="191" y="144"/>
                  </a:lnTo>
                  <a:lnTo>
                    <a:pt x="192" y="146"/>
                  </a:lnTo>
                  <a:lnTo>
                    <a:pt x="194" y="148"/>
                  </a:lnTo>
                  <a:lnTo>
                    <a:pt x="193" y="151"/>
                  </a:lnTo>
                  <a:lnTo>
                    <a:pt x="193" y="153"/>
                  </a:lnTo>
                  <a:lnTo>
                    <a:pt x="199" y="155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0" y="161"/>
                  </a:lnTo>
                  <a:lnTo>
                    <a:pt x="201" y="164"/>
                  </a:lnTo>
                  <a:lnTo>
                    <a:pt x="200" y="165"/>
                  </a:lnTo>
                  <a:lnTo>
                    <a:pt x="201" y="169"/>
                  </a:lnTo>
                  <a:lnTo>
                    <a:pt x="202" y="171"/>
                  </a:lnTo>
                  <a:lnTo>
                    <a:pt x="206" y="173"/>
                  </a:lnTo>
                  <a:lnTo>
                    <a:pt x="208" y="176"/>
                  </a:lnTo>
                  <a:lnTo>
                    <a:pt x="209" y="185"/>
                  </a:lnTo>
                  <a:lnTo>
                    <a:pt x="208" y="186"/>
                  </a:lnTo>
                  <a:lnTo>
                    <a:pt x="204" y="187"/>
                  </a:lnTo>
                  <a:lnTo>
                    <a:pt x="200" y="202"/>
                  </a:lnTo>
                  <a:lnTo>
                    <a:pt x="200" y="204"/>
                  </a:lnTo>
                  <a:lnTo>
                    <a:pt x="210" y="200"/>
                  </a:lnTo>
                  <a:lnTo>
                    <a:pt x="215" y="196"/>
                  </a:lnTo>
                  <a:lnTo>
                    <a:pt x="216" y="196"/>
                  </a:lnTo>
                  <a:lnTo>
                    <a:pt x="217" y="198"/>
                  </a:lnTo>
                  <a:lnTo>
                    <a:pt x="217" y="201"/>
                  </a:lnTo>
                  <a:lnTo>
                    <a:pt x="221" y="201"/>
                  </a:lnTo>
                  <a:lnTo>
                    <a:pt x="223" y="196"/>
                  </a:lnTo>
                  <a:lnTo>
                    <a:pt x="226" y="194"/>
                  </a:lnTo>
                  <a:lnTo>
                    <a:pt x="233" y="199"/>
                  </a:lnTo>
                  <a:lnTo>
                    <a:pt x="235" y="199"/>
                  </a:lnTo>
                  <a:lnTo>
                    <a:pt x="237" y="197"/>
                  </a:lnTo>
                  <a:lnTo>
                    <a:pt x="244" y="194"/>
                  </a:lnTo>
                  <a:lnTo>
                    <a:pt x="246" y="195"/>
                  </a:lnTo>
                  <a:lnTo>
                    <a:pt x="246" y="196"/>
                  </a:lnTo>
                  <a:lnTo>
                    <a:pt x="248" y="200"/>
                  </a:lnTo>
                  <a:lnTo>
                    <a:pt x="255" y="203"/>
                  </a:lnTo>
                  <a:lnTo>
                    <a:pt x="255" y="209"/>
                  </a:lnTo>
                  <a:lnTo>
                    <a:pt x="258" y="214"/>
                  </a:lnTo>
                  <a:lnTo>
                    <a:pt x="259" y="227"/>
                  </a:lnTo>
                  <a:lnTo>
                    <a:pt x="261" y="229"/>
                  </a:lnTo>
                  <a:lnTo>
                    <a:pt x="261" y="241"/>
                  </a:lnTo>
                  <a:lnTo>
                    <a:pt x="259" y="243"/>
                  </a:lnTo>
                  <a:lnTo>
                    <a:pt x="256" y="246"/>
                  </a:lnTo>
                  <a:lnTo>
                    <a:pt x="255" y="247"/>
                  </a:lnTo>
                  <a:lnTo>
                    <a:pt x="256" y="248"/>
                  </a:lnTo>
                  <a:lnTo>
                    <a:pt x="259" y="248"/>
                  </a:lnTo>
                  <a:lnTo>
                    <a:pt x="262" y="246"/>
                  </a:lnTo>
                  <a:lnTo>
                    <a:pt x="264" y="246"/>
                  </a:lnTo>
                  <a:lnTo>
                    <a:pt x="273" y="256"/>
                  </a:lnTo>
                  <a:lnTo>
                    <a:pt x="276" y="254"/>
                  </a:lnTo>
                  <a:lnTo>
                    <a:pt x="279" y="252"/>
                  </a:lnTo>
                  <a:lnTo>
                    <a:pt x="286" y="252"/>
                  </a:lnTo>
                  <a:lnTo>
                    <a:pt x="286" y="248"/>
                  </a:lnTo>
                  <a:lnTo>
                    <a:pt x="290" y="243"/>
                  </a:lnTo>
                  <a:lnTo>
                    <a:pt x="291" y="237"/>
                  </a:lnTo>
                  <a:lnTo>
                    <a:pt x="293" y="235"/>
                  </a:lnTo>
                  <a:lnTo>
                    <a:pt x="298" y="235"/>
                  </a:lnTo>
                  <a:lnTo>
                    <a:pt x="301" y="240"/>
                  </a:lnTo>
                  <a:lnTo>
                    <a:pt x="304" y="239"/>
                  </a:lnTo>
                  <a:lnTo>
                    <a:pt x="315" y="239"/>
                  </a:lnTo>
                  <a:lnTo>
                    <a:pt x="316" y="236"/>
                  </a:lnTo>
                  <a:lnTo>
                    <a:pt x="320" y="230"/>
                  </a:lnTo>
                  <a:lnTo>
                    <a:pt x="321" y="219"/>
                  </a:lnTo>
                  <a:lnTo>
                    <a:pt x="325" y="216"/>
                  </a:lnTo>
                  <a:lnTo>
                    <a:pt x="324" y="214"/>
                  </a:lnTo>
                  <a:lnTo>
                    <a:pt x="323" y="214"/>
                  </a:lnTo>
                  <a:lnTo>
                    <a:pt x="323" y="213"/>
                  </a:lnTo>
                  <a:lnTo>
                    <a:pt x="323" y="210"/>
                  </a:lnTo>
                  <a:lnTo>
                    <a:pt x="320" y="209"/>
                  </a:lnTo>
                  <a:lnTo>
                    <a:pt x="313" y="209"/>
                  </a:lnTo>
                  <a:lnTo>
                    <a:pt x="312" y="208"/>
                  </a:lnTo>
                  <a:lnTo>
                    <a:pt x="314" y="204"/>
                  </a:lnTo>
                  <a:lnTo>
                    <a:pt x="313" y="200"/>
                  </a:lnTo>
                  <a:lnTo>
                    <a:pt x="311" y="199"/>
                  </a:lnTo>
                  <a:lnTo>
                    <a:pt x="319" y="196"/>
                  </a:lnTo>
                  <a:lnTo>
                    <a:pt x="326" y="196"/>
                  </a:lnTo>
                  <a:lnTo>
                    <a:pt x="329" y="199"/>
                  </a:lnTo>
                  <a:lnTo>
                    <a:pt x="331" y="200"/>
                  </a:lnTo>
                  <a:lnTo>
                    <a:pt x="334" y="199"/>
                  </a:lnTo>
                  <a:lnTo>
                    <a:pt x="336" y="204"/>
                  </a:lnTo>
                  <a:lnTo>
                    <a:pt x="337" y="204"/>
                  </a:lnTo>
                  <a:lnTo>
                    <a:pt x="337" y="192"/>
                  </a:lnTo>
                  <a:lnTo>
                    <a:pt x="334" y="188"/>
                  </a:lnTo>
                  <a:lnTo>
                    <a:pt x="334" y="184"/>
                  </a:lnTo>
                  <a:lnTo>
                    <a:pt x="331" y="184"/>
                  </a:lnTo>
                  <a:lnTo>
                    <a:pt x="329" y="182"/>
                  </a:lnTo>
                  <a:lnTo>
                    <a:pt x="327" y="183"/>
                  </a:lnTo>
                  <a:lnTo>
                    <a:pt x="330" y="176"/>
                  </a:lnTo>
                  <a:lnTo>
                    <a:pt x="332" y="172"/>
                  </a:lnTo>
                  <a:lnTo>
                    <a:pt x="334" y="171"/>
                  </a:lnTo>
                  <a:lnTo>
                    <a:pt x="334" y="170"/>
                  </a:lnTo>
                  <a:lnTo>
                    <a:pt x="331" y="166"/>
                  </a:lnTo>
                  <a:lnTo>
                    <a:pt x="328" y="166"/>
                  </a:lnTo>
                  <a:lnTo>
                    <a:pt x="330" y="155"/>
                  </a:lnTo>
                  <a:lnTo>
                    <a:pt x="324" y="155"/>
                  </a:lnTo>
                  <a:lnTo>
                    <a:pt x="318" y="151"/>
                  </a:lnTo>
                  <a:lnTo>
                    <a:pt x="316" y="150"/>
                  </a:lnTo>
                  <a:lnTo>
                    <a:pt x="316" y="129"/>
                  </a:lnTo>
                  <a:lnTo>
                    <a:pt x="319" y="126"/>
                  </a:lnTo>
                  <a:lnTo>
                    <a:pt x="319" y="124"/>
                  </a:lnTo>
                  <a:lnTo>
                    <a:pt x="325" y="118"/>
                  </a:lnTo>
                  <a:lnTo>
                    <a:pt x="325" y="114"/>
                  </a:lnTo>
                  <a:lnTo>
                    <a:pt x="324" y="111"/>
                  </a:lnTo>
                  <a:lnTo>
                    <a:pt x="319" y="109"/>
                  </a:lnTo>
                  <a:lnTo>
                    <a:pt x="318" y="105"/>
                  </a:lnTo>
                  <a:lnTo>
                    <a:pt x="312" y="105"/>
                  </a:lnTo>
                  <a:lnTo>
                    <a:pt x="310" y="100"/>
                  </a:lnTo>
                  <a:lnTo>
                    <a:pt x="308" y="77"/>
                  </a:lnTo>
                  <a:lnTo>
                    <a:pt x="304" y="76"/>
                  </a:lnTo>
                  <a:lnTo>
                    <a:pt x="300" y="77"/>
                  </a:lnTo>
                  <a:lnTo>
                    <a:pt x="295" y="83"/>
                  </a:lnTo>
                  <a:lnTo>
                    <a:pt x="293" y="83"/>
                  </a:lnTo>
                  <a:lnTo>
                    <a:pt x="293" y="76"/>
                  </a:lnTo>
                  <a:lnTo>
                    <a:pt x="294" y="75"/>
                  </a:lnTo>
                  <a:lnTo>
                    <a:pt x="298" y="73"/>
                  </a:lnTo>
                  <a:lnTo>
                    <a:pt x="298" y="70"/>
                  </a:lnTo>
                  <a:lnTo>
                    <a:pt x="302" y="69"/>
                  </a:lnTo>
                  <a:lnTo>
                    <a:pt x="303" y="66"/>
                  </a:lnTo>
                  <a:lnTo>
                    <a:pt x="307" y="66"/>
                  </a:lnTo>
                  <a:lnTo>
                    <a:pt x="306" y="61"/>
                  </a:lnTo>
                  <a:lnTo>
                    <a:pt x="306" y="60"/>
                  </a:lnTo>
                  <a:lnTo>
                    <a:pt x="301" y="60"/>
                  </a:lnTo>
                  <a:lnTo>
                    <a:pt x="298" y="57"/>
                  </a:lnTo>
                  <a:lnTo>
                    <a:pt x="295" y="55"/>
                  </a:lnTo>
                  <a:lnTo>
                    <a:pt x="291" y="48"/>
                  </a:lnTo>
                  <a:lnTo>
                    <a:pt x="288" y="49"/>
                  </a:lnTo>
                  <a:lnTo>
                    <a:pt x="287" y="49"/>
                  </a:lnTo>
                  <a:lnTo>
                    <a:pt x="287" y="34"/>
                  </a:lnTo>
                  <a:lnTo>
                    <a:pt x="284" y="31"/>
                  </a:lnTo>
                  <a:lnTo>
                    <a:pt x="282" y="29"/>
                  </a:lnTo>
                  <a:lnTo>
                    <a:pt x="283" y="24"/>
                  </a:lnTo>
                  <a:lnTo>
                    <a:pt x="281" y="23"/>
                  </a:lnTo>
                  <a:lnTo>
                    <a:pt x="278" y="23"/>
                  </a:lnTo>
                  <a:lnTo>
                    <a:pt x="277" y="22"/>
                  </a:lnTo>
                  <a:lnTo>
                    <a:pt x="278" y="13"/>
                  </a:lnTo>
                  <a:lnTo>
                    <a:pt x="278" y="11"/>
                  </a:lnTo>
                  <a:lnTo>
                    <a:pt x="275" y="9"/>
                  </a:lnTo>
                  <a:lnTo>
                    <a:pt x="273" y="9"/>
                  </a:lnTo>
                  <a:lnTo>
                    <a:pt x="271" y="12"/>
                  </a:lnTo>
                  <a:lnTo>
                    <a:pt x="269" y="12"/>
                  </a:lnTo>
                  <a:lnTo>
                    <a:pt x="264" y="9"/>
                  </a:lnTo>
                  <a:lnTo>
                    <a:pt x="262" y="9"/>
                  </a:lnTo>
                  <a:lnTo>
                    <a:pt x="261" y="10"/>
                  </a:lnTo>
                  <a:lnTo>
                    <a:pt x="261" y="17"/>
                  </a:lnTo>
                  <a:lnTo>
                    <a:pt x="258" y="19"/>
                  </a:lnTo>
                  <a:lnTo>
                    <a:pt x="247" y="23"/>
                  </a:lnTo>
                  <a:lnTo>
                    <a:pt x="247" y="27"/>
                  </a:lnTo>
                  <a:lnTo>
                    <a:pt x="245" y="32"/>
                  </a:lnTo>
                  <a:lnTo>
                    <a:pt x="233" y="27"/>
                  </a:lnTo>
                  <a:lnTo>
                    <a:pt x="226" y="23"/>
                  </a:lnTo>
                  <a:lnTo>
                    <a:pt x="218" y="21"/>
                  </a:lnTo>
                  <a:lnTo>
                    <a:pt x="216" y="22"/>
                  </a:lnTo>
                  <a:lnTo>
                    <a:pt x="213" y="26"/>
                  </a:lnTo>
                  <a:lnTo>
                    <a:pt x="208" y="28"/>
                  </a:lnTo>
                  <a:lnTo>
                    <a:pt x="206" y="33"/>
                  </a:lnTo>
                  <a:lnTo>
                    <a:pt x="203" y="36"/>
                  </a:lnTo>
                  <a:lnTo>
                    <a:pt x="199" y="34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80" y="28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69" y="29"/>
                  </a:lnTo>
                  <a:lnTo>
                    <a:pt x="166" y="25"/>
                  </a:lnTo>
                  <a:lnTo>
                    <a:pt x="166" y="22"/>
                  </a:lnTo>
                  <a:lnTo>
                    <a:pt x="169" y="19"/>
                  </a:lnTo>
                  <a:lnTo>
                    <a:pt x="169" y="16"/>
                  </a:lnTo>
                  <a:lnTo>
                    <a:pt x="172" y="1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4" name="Freeform 172"/>
            <p:cNvSpPr>
              <a:spLocks/>
            </p:cNvSpPr>
            <p:nvPr/>
          </p:nvSpPr>
          <p:spPr bwMode="auto">
            <a:xfrm>
              <a:off x="3669689" y="1358585"/>
              <a:ext cx="219350" cy="382205"/>
            </a:xfrm>
            <a:custGeom>
              <a:avLst/>
              <a:gdLst>
                <a:gd name="T0" fmla="*/ 18 w 182"/>
                <a:gd name="T1" fmla="*/ 45 h 386"/>
                <a:gd name="T2" fmla="*/ 21 w 182"/>
                <a:gd name="T3" fmla="*/ 43 h 386"/>
                <a:gd name="T4" fmla="*/ 21 w 182"/>
                <a:gd name="T5" fmla="*/ 39 h 386"/>
                <a:gd name="T6" fmla="*/ 21 w 182"/>
                <a:gd name="T7" fmla="*/ 37 h 386"/>
                <a:gd name="T8" fmla="*/ 26 w 182"/>
                <a:gd name="T9" fmla="*/ 35 h 386"/>
                <a:gd name="T10" fmla="*/ 31 w 182"/>
                <a:gd name="T11" fmla="*/ 31 h 386"/>
                <a:gd name="T12" fmla="*/ 30 w 182"/>
                <a:gd name="T13" fmla="*/ 27 h 386"/>
                <a:gd name="T14" fmla="*/ 29 w 182"/>
                <a:gd name="T15" fmla="*/ 27 h 386"/>
                <a:gd name="T16" fmla="*/ 28 w 182"/>
                <a:gd name="T17" fmla="*/ 27 h 386"/>
                <a:gd name="T18" fmla="*/ 27 w 182"/>
                <a:gd name="T19" fmla="*/ 25 h 386"/>
                <a:gd name="T20" fmla="*/ 25 w 182"/>
                <a:gd name="T21" fmla="*/ 25 h 386"/>
                <a:gd name="T22" fmla="*/ 23 w 182"/>
                <a:gd name="T23" fmla="*/ 25 h 386"/>
                <a:gd name="T24" fmla="*/ 20 w 182"/>
                <a:gd name="T25" fmla="*/ 23 h 386"/>
                <a:gd name="T26" fmla="*/ 20 w 182"/>
                <a:gd name="T27" fmla="*/ 21 h 386"/>
                <a:gd name="T28" fmla="*/ 22 w 182"/>
                <a:gd name="T29" fmla="*/ 20 h 386"/>
                <a:gd name="T30" fmla="*/ 24 w 182"/>
                <a:gd name="T31" fmla="*/ 19 h 386"/>
                <a:gd name="T32" fmla="*/ 27 w 182"/>
                <a:gd name="T33" fmla="*/ 17 h 386"/>
                <a:gd name="T34" fmla="*/ 29 w 182"/>
                <a:gd name="T35" fmla="*/ 11 h 386"/>
                <a:gd name="T36" fmla="*/ 27 w 182"/>
                <a:gd name="T37" fmla="*/ 10 h 386"/>
                <a:gd name="T38" fmla="*/ 25 w 182"/>
                <a:gd name="T39" fmla="*/ 10 h 386"/>
                <a:gd name="T40" fmla="*/ 25 w 182"/>
                <a:gd name="T41" fmla="*/ 6 h 386"/>
                <a:gd name="T42" fmla="*/ 28 w 182"/>
                <a:gd name="T43" fmla="*/ 5 h 386"/>
                <a:gd name="T44" fmla="*/ 29 w 182"/>
                <a:gd name="T45" fmla="*/ 2 h 386"/>
                <a:gd name="T46" fmla="*/ 27 w 182"/>
                <a:gd name="T47" fmla="*/ 3 h 386"/>
                <a:gd name="T48" fmla="*/ 25 w 182"/>
                <a:gd name="T49" fmla="*/ 3 h 386"/>
                <a:gd name="T50" fmla="*/ 23 w 182"/>
                <a:gd name="T51" fmla="*/ 3 h 386"/>
                <a:gd name="T52" fmla="*/ 22 w 182"/>
                <a:gd name="T53" fmla="*/ 1 h 386"/>
                <a:gd name="T54" fmla="*/ 18 w 182"/>
                <a:gd name="T55" fmla="*/ 0 h 386"/>
                <a:gd name="T56" fmla="*/ 12 w 182"/>
                <a:gd name="T57" fmla="*/ 2 h 386"/>
                <a:gd name="T58" fmla="*/ 11 w 182"/>
                <a:gd name="T59" fmla="*/ 3 h 386"/>
                <a:gd name="T60" fmla="*/ 7 w 182"/>
                <a:gd name="T61" fmla="*/ 5 h 386"/>
                <a:gd name="T62" fmla="*/ 8 w 182"/>
                <a:gd name="T63" fmla="*/ 6 h 386"/>
                <a:gd name="T64" fmla="*/ 8 w 182"/>
                <a:gd name="T65" fmla="*/ 13 h 386"/>
                <a:gd name="T66" fmla="*/ 7 w 182"/>
                <a:gd name="T67" fmla="*/ 18 h 386"/>
                <a:gd name="T68" fmla="*/ 4 w 182"/>
                <a:gd name="T69" fmla="*/ 20 h 386"/>
                <a:gd name="T70" fmla="*/ 2 w 182"/>
                <a:gd name="T71" fmla="*/ 21 h 386"/>
                <a:gd name="T72" fmla="*/ 1 w 182"/>
                <a:gd name="T73" fmla="*/ 22 h 386"/>
                <a:gd name="T74" fmla="*/ 2 w 182"/>
                <a:gd name="T75" fmla="*/ 27 h 386"/>
                <a:gd name="T76" fmla="*/ 5 w 182"/>
                <a:gd name="T77" fmla="*/ 28 h 386"/>
                <a:gd name="T78" fmla="*/ 7 w 182"/>
                <a:gd name="T79" fmla="*/ 32 h 386"/>
                <a:gd name="T80" fmla="*/ 13 w 182"/>
                <a:gd name="T81" fmla="*/ 35 h 3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2"/>
                <a:gd name="T124" fmla="*/ 0 h 386"/>
                <a:gd name="T125" fmla="*/ 182 w 182"/>
                <a:gd name="T126" fmla="*/ 386 h 38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2" h="386">
                  <a:moveTo>
                    <a:pt x="92" y="386"/>
                  </a:moveTo>
                  <a:lnTo>
                    <a:pt x="103" y="385"/>
                  </a:lnTo>
                  <a:lnTo>
                    <a:pt x="121" y="370"/>
                  </a:lnTo>
                  <a:lnTo>
                    <a:pt x="126" y="362"/>
                  </a:lnTo>
                  <a:lnTo>
                    <a:pt x="126" y="355"/>
                  </a:lnTo>
                  <a:lnTo>
                    <a:pt x="121" y="331"/>
                  </a:lnTo>
                  <a:lnTo>
                    <a:pt x="122" y="324"/>
                  </a:lnTo>
                  <a:lnTo>
                    <a:pt x="126" y="315"/>
                  </a:lnTo>
                  <a:lnTo>
                    <a:pt x="145" y="305"/>
                  </a:lnTo>
                  <a:lnTo>
                    <a:pt x="148" y="297"/>
                  </a:lnTo>
                  <a:lnTo>
                    <a:pt x="178" y="275"/>
                  </a:lnTo>
                  <a:lnTo>
                    <a:pt x="182" y="267"/>
                  </a:lnTo>
                  <a:lnTo>
                    <a:pt x="181" y="234"/>
                  </a:lnTo>
                  <a:lnTo>
                    <a:pt x="177" y="231"/>
                  </a:lnTo>
                  <a:lnTo>
                    <a:pt x="174" y="232"/>
                  </a:lnTo>
                  <a:lnTo>
                    <a:pt x="169" y="232"/>
                  </a:lnTo>
                  <a:lnTo>
                    <a:pt x="166" y="228"/>
                  </a:lnTo>
                  <a:lnTo>
                    <a:pt x="166" y="225"/>
                  </a:lnTo>
                  <a:lnTo>
                    <a:pt x="159" y="209"/>
                  </a:lnTo>
                  <a:lnTo>
                    <a:pt x="155" y="209"/>
                  </a:lnTo>
                  <a:lnTo>
                    <a:pt x="148" y="214"/>
                  </a:lnTo>
                  <a:lnTo>
                    <a:pt x="144" y="210"/>
                  </a:lnTo>
                  <a:lnTo>
                    <a:pt x="142" y="205"/>
                  </a:lnTo>
                  <a:lnTo>
                    <a:pt x="137" y="207"/>
                  </a:lnTo>
                  <a:lnTo>
                    <a:pt x="133" y="207"/>
                  </a:lnTo>
                  <a:lnTo>
                    <a:pt x="118" y="199"/>
                  </a:lnTo>
                  <a:lnTo>
                    <a:pt x="115" y="190"/>
                  </a:lnTo>
                  <a:lnTo>
                    <a:pt x="115" y="180"/>
                  </a:lnTo>
                  <a:lnTo>
                    <a:pt x="125" y="182"/>
                  </a:lnTo>
                  <a:lnTo>
                    <a:pt x="127" y="169"/>
                  </a:lnTo>
                  <a:lnTo>
                    <a:pt x="134" y="167"/>
                  </a:lnTo>
                  <a:lnTo>
                    <a:pt x="139" y="162"/>
                  </a:lnTo>
                  <a:lnTo>
                    <a:pt x="144" y="160"/>
                  </a:lnTo>
                  <a:lnTo>
                    <a:pt x="160" y="144"/>
                  </a:lnTo>
                  <a:lnTo>
                    <a:pt x="173" y="117"/>
                  </a:lnTo>
                  <a:lnTo>
                    <a:pt x="169" y="97"/>
                  </a:lnTo>
                  <a:lnTo>
                    <a:pt x="161" y="93"/>
                  </a:lnTo>
                  <a:lnTo>
                    <a:pt x="159" y="86"/>
                  </a:lnTo>
                  <a:lnTo>
                    <a:pt x="151" y="84"/>
                  </a:lnTo>
                  <a:lnTo>
                    <a:pt x="147" y="78"/>
                  </a:lnTo>
                  <a:lnTo>
                    <a:pt x="144" y="66"/>
                  </a:lnTo>
                  <a:lnTo>
                    <a:pt x="146" y="54"/>
                  </a:lnTo>
                  <a:lnTo>
                    <a:pt x="153" y="49"/>
                  </a:lnTo>
                  <a:lnTo>
                    <a:pt x="163" y="45"/>
                  </a:lnTo>
                  <a:lnTo>
                    <a:pt x="173" y="25"/>
                  </a:lnTo>
                  <a:lnTo>
                    <a:pt x="168" y="15"/>
                  </a:lnTo>
                  <a:lnTo>
                    <a:pt x="161" y="15"/>
                  </a:lnTo>
                  <a:lnTo>
                    <a:pt x="157" y="22"/>
                  </a:lnTo>
                  <a:lnTo>
                    <a:pt x="152" y="26"/>
                  </a:lnTo>
                  <a:lnTo>
                    <a:pt x="146" y="29"/>
                  </a:lnTo>
                  <a:lnTo>
                    <a:pt x="143" y="33"/>
                  </a:lnTo>
                  <a:lnTo>
                    <a:pt x="134" y="29"/>
                  </a:lnTo>
                  <a:lnTo>
                    <a:pt x="136" y="19"/>
                  </a:lnTo>
                  <a:lnTo>
                    <a:pt x="129" y="7"/>
                  </a:lnTo>
                  <a:lnTo>
                    <a:pt x="131" y="5"/>
                  </a:lnTo>
                  <a:lnTo>
                    <a:pt x="107" y="0"/>
                  </a:lnTo>
                  <a:lnTo>
                    <a:pt x="86" y="5"/>
                  </a:lnTo>
                  <a:lnTo>
                    <a:pt x="69" y="15"/>
                  </a:lnTo>
                  <a:lnTo>
                    <a:pt x="66" y="19"/>
                  </a:lnTo>
                  <a:lnTo>
                    <a:pt x="62" y="20"/>
                  </a:lnTo>
                  <a:lnTo>
                    <a:pt x="61" y="25"/>
                  </a:lnTo>
                  <a:lnTo>
                    <a:pt x="44" y="41"/>
                  </a:lnTo>
                  <a:lnTo>
                    <a:pt x="42" y="45"/>
                  </a:lnTo>
                  <a:lnTo>
                    <a:pt x="48" y="47"/>
                  </a:lnTo>
                  <a:lnTo>
                    <a:pt x="49" y="50"/>
                  </a:lnTo>
                  <a:lnTo>
                    <a:pt x="46" y="111"/>
                  </a:lnTo>
                  <a:lnTo>
                    <a:pt x="50" y="117"/>
                  </a:lnTo>
                  <a:lnTo>
                    <a:pt x="41" y="153"/>
                  </a:lnTo>
                  <a:lnTo>
                    <a:pt x="24" y="165"/>
                  </a:lnTo>
                  <a:lnTo>
                    <a:pt x="22" y="173"/>
                  </a:lnTo>
                  <a:lnTo>
                    <a:pt x="15" y="177"/>
                  </a:lnTo>
                  <a:lnTo>
                    <a:pt x="12" y="181"/>
                  </a:lnTo>
                  <a:lnTo>
                    <a:pt x="11" y="183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11" y="227"/>
                  </a:lnTo>
                  <a:lnTo>
                    <a:pt x="27" y="233"/>
                  </a:lnTo>
                  <a:lnTo>
                    <a:pt x="31" y="238"/>
                  </a:lnTo>
                  <a:lnTo>
                    <a:pt x="38" y="255"/>
                  </a:lnTo>
                  <a:lnTo>
                    <a:pt x="38" y="270"/>
                  </a:lnTo>
                  <a:lnTo>
                    <a:pt x="74" y="291"/>
                  </a:lnTo>
                  <a:lnTo>
                    <a:pt x="76" y="291"/>
                  </a:lnTo>
                  <a:lnTo>
                    <a:pt x="92" y="38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5" name="Freeform 173"/>
            <p:cNvSpPr>
              <a:spLocks/>
            </p:cNvSpPr>
            <p:nvPr/>
          </p:nvSpPr>
          <p:spPr bwMode="auto">
            <a:xfrm>
              <a:off x="3669689" y="1358585"/>
              <a:ext cx="219350" cy="382205"/>
            </a:xfrm>
            <a:custGeom>
              <a:avLst/>
              <a:gdLst>
                <a:gd name="T0" fmla="*/ 18 w 182"/>
                <a:gd name="T1" fmla="*/ 45 h 386"/>
                <a:gd name="T2" fmla="*/ 21 w 182"/>
                <a:gd name="T3" fmla="*/ 43 h 386"/>
                <a:gd name="T4" fmla="*/ 21 w 182"/>
                <a:gd name="T5" fmla="*/ 39 h 386"/>
                <a:gd name="T6" fmla="*/ 21 w 182"/>
                <a:gd name="T7" fmla="*/ 37 h 386"/>
                <a:gd name="T8" fmla="*/ 26 w 182"/>
                <a:gd name="T9" fmla="*/ 35 h 386"/>
                <a:gd name="T10" fmla="*/ 31 w 182"/>
                <a:gd name="T11" fmla="*/ 31 h 386"/>
                <a:gd name="T12" fmla="*/ 30 w 182"/>
                <a:gd name="T13" fmla="*/ 27 h 386"/>
                <a:gd name="T14" fmla="*/ 29 w 182"/>
                <a:gd name="T15" fmla="*/ 27 h 386"/>
                <a:gd name="T16" fmla="*/ 28 w 182"/>
                <a:gd name="T17" fmla="*/ 27 h 386"/>
                <a:gd name="T18" fmla="*/ 27 w 182"/>
                <a:gd name="T19" fmla="*/ 25 h 386"/>
                <a:gd name="T20" fmla="*/ 25 w 182"/>
                <a:gd name="T21" fmla="*/ 25 h 386"/>
                <a:gd name="T22" fmla="*/ 23 w 182"/>
                <a:gd name="T23" fmla="*/ 25 h 386"/>
                <a:gd name="T24" fmla="*/ 20 w 182"/>
                <a:gd name="T25" fmla="*/ 23 h 386"/>
                <a:gd name="T26" fmla="*/ 20 w 182"/>
                <a:gd name="T27" fmla="*/ 21 h 386"/>
                <a:gd name="T28" fmla="*/ 22 w 182"/>
                <a:gd name="T29" fmla="*/ 20 h 386"/>
                <a:gd name="T30" fmla="*/ 24 w 182"/>
                <a:gd name="T31" fmla="*/ 19 h 386"/>
                <a:gd name="T32" fmla="*/ 27 w 182"/>
                <a:gd name="T33" fmla="*/ 17 h 386"/>
                <a:gd name="T34" fmla="*/ 29 w 182"/>
                <a:gd name="T35" fmla="*/ 11 h 386"/>
                <a:gd name="T36" fmla="*/ 27 w 182"/>
                <a:gd name="T37" fmla="*/ 10 h 386"/>
                <a:gd name="T38" fmla="*/ 25 w 182"/>
                <a:gd name="T39" fmla="*/ 10 h 386"/>
                <a:gd name="T40" fmla="*/ 25 w 182"/>
                <a:gd name="T41" fmla="*/ 6 h 386"/>
                <a:gd name="T42" fmla="*/ 28 w 182"/>
                <a:gd name="T43" fmla="*/ 5 h 386"/>
                <a:gd name="T44" fmla="*/ 29 w 182"/>
                <a:gd name="T45" fmla="*/ 2 h 386"/>
                <a:gd name="T46" fmla="*/ 27 w 182"/>
                <a:gd name="T47" fmla="*/ 3 h 386"/>
                <a:gd name="T48" fmla="*/ 25 w 182"/>
                <a:gd name="T49" fmla="*/ 3 h 386"/>
                <a:gd name="T50" fmla="*/ 23 w 182"/>
                <a:gd name="T51" fmla="*/ 3 h 386"/>
                <a:gd name="T52" fmla="*/ 22 w 182"/>
                <a:gd name="T53" fmla="*/ 1 h 386"/>
                <a:gd name="T54" fmla="*/ 18 w 182"/>
                <a:gd name="T55" fmla="*/ 0 h 386"/>
                <a:gd name="T56" fmla="*/ 12 w 182"/>
                <a:gd name="T57" fmla="*/ 2 h 386"/>
                <a:gd name="T58" fmla="*/ 11 w 182"/>
                <a:gd name="T59" fmla="*/ 3 h 386"/>
                <a:gd name="T60" fmla="*/ 7 w 182"/>
                <a:gd name="T61" fmla="*/ 5 h 386"/>
                <a:gd name="T62" fmla="*/ 8 w 182"/>
                <a:gd name="T63" fmla="*/ 6 h 386"/>
                <a:gd name="T64" fmla="*/ 8 w 182"/>
                <a:gd name="T65" fmla="*/ 13 h 386"/>
                <a:gd name="T66" fmla="*/ 7 w 182"/>
                <a:gd name="T67" fmla="*/ 18 h 386"/>
                <a:gd name="T68" fmla="*/ 4 w 182"/>
                <a:gd name="T69" fmla="*/ 20 h 386"/>
                <a:gd name="T70" fmla="*/ 2 w 182"/>
                <a:gd name="T71" fmla="*/ 21 h 386"/>
                <a:gd name="T72" fmla="*/ 1 w 182"/>
                <a:gd name="T73" fmla="*/ 22 h 386"/>
                <a:gd name="T74" fmla="*/ 2 w 182"/>
                <a:gd name="T75" fmla="*/ 27 h 386"/>
                <a:gd name="T76" fmla="*/ 5 w 182"/>
                <a:gd name="T77" fmla="*/ 28 h 386"/>
                <a:gd name="T78" fmla="*/ 7 w 182"/>
                <a:gd name="T79" fmla="*/ 32 h 386"/>
                <a:gd name="T80" fmla="*/ 13 w 182"/>
                <a:gd name="T81" fmla="*/ 35 h 38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2"/>
                <a:gd name="T124" fmla="*/ 0 h 386"/>
                <a:gd name="T125" fmla="*/ 182 w 182"/>
                <a:gd name="T126" fmla="*/ 386 h 38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2" h="386">
                  <a:moveTo>
                    <a:pt x="92" y="386"/>
                  </a:moveTo>
                  <a:lnTo>
                    <a:pt x="103" y="385"/>
                  </a:lnTo>
                  <a:lnTo>
                    <a:pt x="121" y="370"/>
                  </a:lnTo>
                  <a:lnTo>
                    <a:pt x="126" y="362"/>
                  </a:lnTo>
                  <a:lnTo>
                    <a:pt x="126" y="355"/>
                  </a:lnTo>
                  <a:lnTo>
                    <a:pt x="121" y="331"/>
                  </a:lnTo>
                  <a:lnTo>
                    <a:pt x="122" y="324"/>
                  </a:lnTo>
                  <a:lnTo>
                    <a:pt x="126" y="315"/>
                  </a:lnTo>
                  <a:lnTo>
                    <a:pt x="145" y="305"/>
                  </a:lnTo>
                  <a:lnTo>
                    <a:pt x="148" y="297"/>
                  </a:lnTo>
                  <a:lnTo>
                    <a:pt x="178" y="275"/>
                  </a:lnTo>
                  <a:lnTo>
                    <a:pt x="182" y="267"/>
                  </a:lnTo>
                  <a:lnTo>
                    <a:pt x="181" y="234"/>
                  </a:lnTo>
                  <a:lnTo>
                    <a:pt x="177" y="231"/>
                  </a:lnTo>
                  <a:lnTo>
                    <a:pt x="174" y="232"/>
                  </a:lnTo>
                  <a:lnTo>
                    <a:pt x="169" y="232"/>
                  </a:lnTo>
                  <a:lnTo>
                    <a:pt x="166" y="228"/>
                  </a:lnTo>
                  <a:lnTo>
                    <a:pt x="166" y="225"/>
                  </a:lnTo>
                  <a:lnTo>
                    <a:pt x="159" y="209"/>
                  </a:lnTo>
                  <a:lnTo>
                    <a:pt x="155" y="209"/>
                  </a:lnTo>
                  <a:lnTo>
                    <a:pt x="148" y="214"/>
                  </a:lnTo>
                  <a:lnTo>
                    <a:pt x="144" y="210"/>
                  </a:lnTo>
                  <a:lnTo>
                    <a:pt x="142" y="205"/>
                  </a:lnTo>
                  <a:lnTo>
                    <a:pt x="137" y="207"/>
                  </a:lnTo>
                  <a:lnTo>
                    <a:pt x="133" y="207"/>
                  </a:lnTo>
                  <a:lnTo>
                    <a:pt x="118" y="199"/>
                  </a:lnTo>
                  <a:lnTo>
                    <a:pt x="115" y="190"/>
                  </a:lnTo>
                  <a:lnTo>
                    <a:pt x="115" y="180"/>
                  </a:lnTo>
                  <a:lnTo>
                    <a:pt x="125" y="182"/>
                  </a:lnTo>
                  <a:lnTo>
                    <a:pt x="127" y="169"/>
                  </a:lnTo>
                  <a:lnTo>
                    <a:pt x="134" y="167"/>
                  </a:lnTo>
                  <a:lnTo>
                    <a:pt x="139" y="162"/>
                  </a:lnTo>
                  <a:lnTo>
                    <a:pt x="144" y="160"/>
                  </a:lnTo>
                  <a:lnTo>
                    <a:pt x="160" y="144"/>
                  </a:lnTo>
                  <a:lnTo>
                    <a:pt x="173" y="117"/>
                  </a:lnTo>
                  <a:lnTo>
                    <a:pt x="169" y="97"/>
                  </a:lnTo>
                  <a:lnTo>
                    <a:pt x="161" y="93"/>
                  </a:lnTo>
                  <a:lnTo>
                    <a:pt x="159" y="86"/>
                  </a:lnTo>
                  <a:lnTo>
                    <a:pt x="151" y="84"/>
                  </a:lnTo>
                  <a:lnTo>
                    <a:pt x="147" y="78"/>
                  </a:lnTo>
                  <a:lnTo>
                    <a:pt x="144" y="66"/>
                  </a:lnTo>
                  <a:lnTo>
                    <a:pt x="146" y="54"/>
                  </a:lnTo>
                  <a:lnTo>
                    <a:pt x="153" y="49"/>
                  </a:lnTo>
                  <a:lnTo>
                    <a:pt x="163" y="45"/>
                  </a:lnTo>
                  <a:lnTo>
                    <a:pt x="173" y="25"/>
                  </a:lnTo>
                  <a:lnTo>
                    <a:pt x="168" y="15"/>
                  </a:lnTo>
                  <a:lnTo>
                    <a:pt x="161" y="15"/>
                  </a:lnTo>
                  <a:lnTo>
                    <a:pt x="157" y="22"/>
                  </a:lnTo>
                  <a:lnTo>
                    <a:pt x="152" y="26"/>
                  </a:lnTo>
                  <a:lnTo>
                    <a:pt x="146" y="29"/>
                  </a:lnTo>
                  <a:lnTo>
                    <a:pt x="143" y="33"/>
                  </a:lnTo>
                  <a:lnTo>
                    <a:pt x="134" y="29"/>
                  </a:lnTo>
                  <a:lnTo>
                    <a:pt x="136" y="19"/>
                  </a:lnTo>
                  <a:lnTo>
                    <a:pt x="129" y="7"/>
                  </a:lnTo>
                  <a:lnTo>
                    <a:pt x="131" y="5"/>
                  </a:lnTo>
                  <a:lnTo>
                    <a:pt x="107" y="0"/>
                  </a:lnTo>
                  <a:lnTo>
                    <a:pt x="86" y="5"/>
                  </a:lnTo>
                  <a:lnTo>
                    <a:pt x="69" y="15"/>
                  </a:lnTo>
                  <a:lnTo>
                    <a:pt x="66" y="19"/>
                  </a:lnTo>
                  <a:lnTo>
                    <a:pt x="62" y="20"/>
                  </a:lnTo>
                  <a:lnTo>
                    <a:pt x="61" y="25"/>
                  </a:lnTo>
                  <a:lnTo>
                    <a:pt x="44" y="41"/>
                  </a:lnTo>
                  <a:lnTo>
                    <a:pt x="42" y="45"/>
                  </a:lnTo>
                  <a:lnTo>
                    <a:pt x="48" y="47"/>
                  </a:lnTo>
                  <a:lnTo>
                    <a:pt x="49" y="50"/>
                  </a:lnTo>
                  <a:lnTo>
                    <a:pt x="46" y="111"/>
                  </a:lnTo>
                  <a:lnTo>
                    <a:pt x="50" y="117"/>
                  </a:lnTo>
                  <a:lnTo>
                    <a:pt x="41" y="153"/>
                  </a:lnTo>
                  <a:lnTo>
                    <a:pt x="24" y="165"/>
                  </a:lnTo>
                  <a:lnTo>
                    <a:pt x="22" y="173"/>
                  </a:lnTo>
                  <a:lnTo>
                    <a:pt x="15" y="177"/>
                  </a:lnTo>
                  <a:lnTo>
                    <a:pt x="12" y="181"/>
                  </a:lnTo>
                  <a:lnTo>
                    <a:pt x="11" y="183"/>
                  </a:lnTo>
                  <a:lnTo>
                    <a:pt x="2" y="190"/>
                  </a:lnTo>
                  <a:lnTo>
                    <a:pt x="0" y="190"/>
                  </a:lnTo>
                  <a:lnTo>
                    <a:pt x="11" y="227"/>
                  </a:lnTo>
                  <a:lnTo>
                    <a:pt x="27" y="233"/>
                  </a:lnTo>
                  <a:lnTo>
                    <a:pt x="31" y="238"/>
                  </a:lnTo>
                  <a:lnTo>
                    <a:pt x="38" y="255"/>
                  </a:lnTo>
                  <a:lnTo>
                    <a:pt x="38" y="270"/>
                  </a:lnTo>
                  <a:lnTo>
                    <a:pt x="74" y="291"/>
                  </a:lnTo>
                  <a:lnTo>
                    <a:pt x="76" y="291"/>
                  </a:lnTo>
                  <a:lnTo>
                    <a:pt x="92" y="38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6" name="Freeform 174"/>
            <p:cNvSpPr>
              <a:spLocks/>
            </p:cNvSpPr>
            <p:nvPr/>
          </p:nvSpPr>
          <p:spPr bwMode="auto">
            <a:xfrm>
              <a:off x="4059645" y="2679603"/>
              <a:ext cx="718980" cy="378494"/>
            </a:xfrm>
            <a:custGeom>
              <a:avLst/>
              <a:gdLst>
                <a:gd name="T0" fmla="*/ 57 w 600"/>
                <a:gd name="T1" fmla="*/ 1 h 378"/>
                <a:gd name="T2" fmla="*/ 55 w 600"/>
                <a:gd name="T3" fmla="*/ 3 h 378"/>
                <a:gd name="T4" fmla="*/ 55 w 600"/>
                <a:gd name="T5" fmla="*/ 5 h 378"/>
                <a:gd name="T6" fmla="*/ 53 w 600"/>
                <a:gd name="T7" fmla="*/ 6 h 378"/>
                <a:gd name="T8" fmla="*/ 51 w 600"/>
                <a:gd name="T9" fmla="*/ 8 h 378"/>
                <a:gd name="T10" fmla="*/ 50 w 600"/>
                <a:gd name="T11" fmla="*/ 9 h 378"/>
                <a:gd name="T12" fmla="*/ 46 w 600"/>
                <a:gd name="T13" fmla="*/ 10 h 378"/>
                <a:gd name="T14" fmla="*/ 44 w 600"/>
                <a:gd name="T15" fmla="*/ 11 h 378"/>
                <a:gd name="T16" fmla="*/ 40 w 600"/>
                <a:gd name="T17" fmla="*/ 11 h 378"/>
                <a:gd name="T18" fmla="*/ 34 w 600"/>
                <a:gd name="T19" fmla="*/ 12 h 378"/>
                <a:gd name="T20" fmla="*/ 34 w 600"/>
                <a:gd name="T21" fmla="*/ 13 h 378"/>
                <a:gd name="T22" fmla="*/ 35 w 600"/>
                <a:gd name="T23" fmla="*/ 14 h 378"/>
                <a:gd name="T24" fmla="*/ 34 w 600"/>
                <a:gd name="T25" fmla="*/ 15 h 378"/>
                <a:gd name="T26" fmla="*/ 34 w 600"/>
                <a:gd name="T27" fmla="*/ 16 h 378"/>
                <a:gd name="T28" fmla="*/ 32 w 600"/>
                <a:gd name="T29" fmla="*/ 16 h 378"/>
                <a:gd name="T30" fmla="*/ 32 w 600"/>
                <a:gd name="T31" fmla="*/ 17 h 378"/>
                <a:gd name="T32" fmla="*/ 28 w 600"/>
                <a:gd name="T33" fmla="*/ 17 h 378"/>
                <a:gd name="T34" fmla="*/ 22 w 600"/>
                <a:gd name="T35" fmla="*/ 19 h 378"/>
                <a:gd name="T36" fmla="*/ 19 w 600"/>
                <a:gd name="T37" fmla="*/ 19 h 378"/>
                <a:gd name="T38" fmla="*/ 18 w 600"/>
                <a:gd name="T39" fmla="*/ 20 h 378"/>
                <a:gd name="T40" fmla="*/ 17 w 600"/>
                <a:gd name="T41" fmla="*/ 19 h 378"/>
                <a:gd name="T42" fmla="*/ 17 w 600"/>
                <a:gd name="T43" fmla="*/ 18 h 378"/>
                <a:gd name="T44" fmla="*/ 15 w 600"/>
                <a:gd name="T45" fmla="*/ 18 h 378"/>
                <a:gd name="T46" fmla="*/ 15 w 600"/>
                <a:gd name="T47" fmla="*/ 19 h 378"/>
                <a:gd name="T48" fmla="*/ 11 w 600"/>
                <a:gd name="T49" fmla="*/ 21 h 378"/>
                <a:gd name="T50" fmla="*/ 10 w 600"/>
                <a:gd name="T51" fmla="*/ 20 h 378"/>
                <a:gd name="T52" fmla="*/ 6 w 600"/>
                <a:gd name="T53" fmla="*/ 21 h 378"/>
                <a:gd name="T54" fmla="*/ 0 w 600"/>
                <a:gd name="T55" fmla="*/ 30 h 378"/>
                <a:gd name="T56" fmla="*/ 1 w 600"/>
                <a:gd name="T57" fmla="*/ 35 h 378"/>
                <a:gd name="T58" fmla="*/ 11 w 600"/>
                <a:gd name="T59" fmla="*/ 46 h 378"/>
                <a:gd name="T60" fmla="*/ 14 w 600"/>
                <a:gd name="T61" fmla="*/ 45 h 378"/>
                <a:gd name="T62" fmla="*/ 22 w 600"/>
                <a:gd name="T63" fmla="*/ 42 h 378"/>
                <a:gd name="T64" fmla="*/ 31 w 600"/>
                <a:gd name="T65" fmla="*/ 42 h 378"/>
                <a:gd name="T66" fmla="*/ 34 w 600"/>
                <a:gd name="T67" fmla="*/ 41 h 378"/>
                <a:gd name="T68" fmla="*/ 34 w 600"/>
                <a:gd name="T69" fmla="*/ 37 h 378"/>
                <a:gd name="T70" fmla="*/ 36 w 600"/>
                <a:gd name="T71" fmla="*/ 35 h 378"/>
                <a:gd name="T72" fmla="*/ 42 w 600"/>
                <a:gd name="T73" fmla="*/ 33 h 378"/>
                <a:gd name="T74" fmla="*/ 44 w 600"/>
                <a:gd name="T75" fmla="*/ 35 h 378"/>
                <a:gd name="T76" fmla="*/ 48 w 600"/>
                <a:gd name="T77" fmla="*/ 37 h 378"/>
                <a:gd name="T78" fmla="*/ 51 w 600"/>
                <a:gd name="T79" fmla="*/ 37 h 378"/>
                <a:gd name="T80" fmla="*/ 61 w 600"/>
                <a:gd name="T81" fmla="*/ 38 h 378"/>
                <a:gd name="T82" fmla="*/ 63 w 600"/>
                <a:gd name="T83" fmla="*/ 36 h 378"/>
                <a:gd name="T84" fmla="*/ 67 w 600"/>
                <a:gd name="T85" fmla="*/ 35 h 378"/>
                <a:gd name="T86" fmla="*/ 78 w 600"/>
                <a:gd name="T87" fmla="*/ 34 h 378"/>
                <a:gd name="T88" fmla="*/ 78 w 600"/>
                <a:gd name="T89" fmla="*/ 35 h 378"/>
                <a:gd name="T90" fmla="*/ 80 w 600"/>
                <a:gd name="T91" fmla="*/ 35 h 378"/>
                <a:gd name="T92" fmla="*/ 83 w 600"/>
                <a:gd name="T93" fmla="*/ 35 h 378"/>
                <a:gd name="T94" fmla="*/ 86 w 600"/>
                <a:gd name="T95" fmla="*/ 33 h 378"/>
                <a:gd name="T96" fmla="*/ 93 w 600"/>
                <a:gd name="T97" fmla="*/ 35 h 378"/>
                <a:gd name="T98" fmla="*/ 96 w 600"/>
                <a:gd name="T99" fmla="*/ 35 h 378"/>
                <a:gd name="T100" fmla="*/ 101 w 600"/>
                <a:gd name="T101" fmla="*/ 33 h 378"/>
                <a:gd name="T102" fmla="*/ 100 w 600"/>
                <a:gd name="T103" fmla="*/ 31 h 378"/>
                <a:gd name="T104" fmla="*/ 94 w 600"/>
                <a:gd name="T105" fmla="*/ 28 h 378"/>
                <a:gd name="T106" fmla="*/ 93 w 600"/>
                <a:gd name="T107" fmla="*/ 27 h 378"/>
                <a:gd name="T108" fmla="*/ 90 w 600"/>
                <a:gd name="T109" fmla="*/ 24 h 378"/>
                <a:gd name="T110" fmla="*/ 88 w 600"/>
                <a:gd name="T111" fmla="*/ 22 h 378"/>
                <a:gd name="T112" fmla="*/ 82 w 600"/>
                <a:gd name="T113" fmla="*/ 19 h 378"/>
                <a:gd name="T114" fmla="*/ 82 w 600"/>
                <a:gd name="T115" fmla="*/ 17 h 378"/>
                <a:gd name="T116" fmla="*/ 76 w 600"/>
                <a:gd name="T117" fmla="*/ 16 h 378"/>
                <a:gd name="T118" fmla="*/ 74 w 600"/>
                <a:gd name="T119" fmla="*/ 13 h 378"/>
                <a:gd name="T120" fmla="*/ 69 w 600"/>
                <a:gd name="T121" fmla="*/ 12 h 378"/>
                <a:gd name="T122" fmla="*/ 70 w 600"/>
                <a:gd name="T123" fmla="*/ 7 h 378"/>
                <a:gd name="T124" fmla="*/ 63 w 600"/>
                <a:gd name="T125" fmla="*/ 0 h 3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00"/>
                <a:gd name="T190" fmla="*/ 0 h 378"/>
                <a:gd name="T191" fmla="*/ 600 w 600"/>
                <a:gd name="T192" fmla="*/ 378 h 3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00" h="378">
                  <a:moveTo>
                    <a:pt x="378" y="0"/>
                  </a:moveTo>
                  <a:lnTo>
                    <a:pt x="343" y="8"/>
                  </a:lnTo>
                  <a:lnTo>
                    <a:pt x="338" y="12"/>
                  </a:lnTo>
                  <a:lnTo>
                    <a:pt x="334" y="23"/>
                  </a:lnTo>
                  <a:lnTo>
                    <a:pt x="334" y="35"/>
                  </a:lnTo>
                  <a:lnTo>
                    <a:pt x="329" y="37"/>
                  </a:lnTo>
                  <a:lnTo>
                    <a:pt x="324" y="45"/>
                  </a:lnTo>
                  <a:lnTo>
                    <a:pt x="319" y="47"/>
                  </a:lnTo>
                  <a:lnTo>
                    <a:pt x="316" y="48"/>
                  </a:lnTo>
                  <a:lnTo>
                    <a:pt x="303" y="62"/>
                  </a:lnTo>
                  <a:lnTo>
                    <a:pt x="299" y="70"/>
                  </a:lnTo>
                  <a:lnTo>
                    <a:pt x="297" y="73"/>
                  </a:lnTo>
                  <a:lnTo>
                    <a:pt x="281" y="79"/>
                  </a:lnTo>
                  <a:lnTo>
                    <a:pt x="277" y="86"/>
                  </a:lnTo>
                  <a:lnTo>
                    <a:pt x="268" y="91"/>
                  </a:lnTo>
                  <a:lnTo>
                    <a:pt x="264" y="89"/>
                  </a:lnTo>
                  <a:lnTo>
                    <a:pt x="244" y="92"/>
                  </a:lnTo>
                  <a:lnTo>
                    <a:pt x="242" y="93"/>
                  </a:lnTo>
                  <a:lnTo>
                    <a:pt x="216" y="95"/>
                  </a:lnTo>
                  <a:lnTo>
                    <a:pt x="206" y="98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10" y="108"/>
                  </a:lnTo>
                  <a:lnTo>
                    <a:pt x="212" y="114"/>
                  </a:lnTo>
                  <a:lnTo>
                    <a:pt x="210" y="118"/>
                  </a:lnTo>
                  <a:lnTo>
                    <a:pt x="206" y="121"/>
                  </a:lnTo>
                  <a:lnTo>
                    <a:pt x="204" y="127"/>
                  </a:lnTo>
                  <a:lnTo>
                    <a:pt x="200" y="130"/>
                  </a:lnTo>
                  <a:lnTo>
                    <a:pt x="196" y="130"/>
                  </a:lnTo>
                  <a:lnTo>
                    <a:pt x="194" y="133"/>
                  </a:lnTo>
                  <a:lnTo>
                    <a:pt x="193" y="138"/>
                  </a:lnTo>
                  <a:lnTo>
                    <a:pt x="192" y="138"/>
                  </a:lnTo>
                  <a:lnTo>
                    <a:pt x="171" y="138"/>
                  </a:lnTo>
                  <a:lnTo>
                    <a:pt x="165" y="142"/>
                  </a:lnTo>
                  <a:lnTo>
                    <a:pt x="152" y="141"/>
                  </a:lnTo>
                  <a:lnTo>
                    <a:pt x="131" y="151"/>
                  </a:lnTo>
                  <a:lnTo>
                    <a:pt x="128" y="154"/>
                  </a:lnTo>
                  <a:lnTo>
                    <a:pt x="115" y="157"/>
                  </a:lnTo>
                  <a:lnTo>
                    <a:pt x="114" y="161"/>
                  </a:lnTo>
                  <a:lnTo>
                    <a:pt x="111" y="162"/>
                  </a:lnTo>
                  <a:lnTo>
                    <a:pt x="105" y="156"/>
                  </a:lnTo>
                  <a:lnTo>
                    <a:pt x="102" y="154"/>
                  </a:lnTo>
                  <a:lnTo>
                    <a:pt x="99" y="149"/>
                  </a:lnTo>
                  <a:lnTo>
                    <a:pt x="98" y="149"/>
                  </a:lnTo>
                  <a:lnTo>
                    <a:pt x="95" y="149"/>
                  </a:lnTo>
                  <a:lnTo>
                    <a:pt x="92" y="150"/>
                  </a:lnTo>
                  <a:lnTo>
                    <a:pt x="89" y="151"/>
                  </a:lnTo>
                  <a:lnTo>
                    <a:pt x="88" y="156"/>
                  </a:lnTo>
                  <a:lnTo>
                    <a:pt x="77" y="158"/>
                  </a:lnTo>
                  <a:lnTo>
                    <a:pt x="69" y="165"/>
                  </a:lnTo>
                  <a:lnTo>
                    <a:pt x="65" y="165"/>
                  </a:lnTo>
                  <a:lnTo>
                    <a:pt x="59" y="163"/>
                  </a:lnTo>
                  <a:lnTo>
                    <a:pt x="43" y="165"/>
                  </a:lnTo>
                  <a:lnTo>
                    <a:pt x="40" y="167"/>
                  </a:lnTo>
                  <a:lnTo>
                    <a:pt x="1" y="236"/>
                  </a:lnTo>
                  <a:lnTo>
                    <a:pt x="0" y="247"/>
                  </a:lnTo>
                  <a:lnTo>
                    <a:pt x="3" y="259"/>
                  </a:lnTo>
                  <a:lnTo>
                    <a:pt x="3" y="287"/>
                  </a:lnTo>
                  <a:lnTo>
                    <a:pt x="48" y="361"/>
                  </a:lnTo>
                  <a:lnTo>
                    <a:pt x="68" y="378"/>
                  </a:lnTo>
                  <a:lnTo>
                    <a:pt x="74" y="377"/>
                  </a:lnTo>
                  <a:lnTo>
                    <a:pt x="81" y="365"/>
                  </a:lnTo>
                  <a:lnTo>
                    <a:pt x="115" y="341"/>
                  </a:lnTo>
                  <a:lnTo>
                    <a:pt x="131" y="337"/>
                  </a:lnTo>
                  <a:lnTo>
                    <a:pt x="160" y="351"/>
                  </a:lnTo>
                  <a:lnTo>
                    <a:pt x="185" y="343"/>
                  </a:lnTo>
                  <a:lnTo>
                    <a:pt x="190" y="337"/>
                  </a:lnTo>
                  <a:lnTo>
                    <a:pt x="201" y="335"/>
                  </a:lnTo>
                  <a:lnTo>
                    <a:pt x="199" y="329"/>
                  </a:lnTo>
                  <a:lnTo>
                    <a:pt x="202" y="301"/>
                  </a:lnTo>
                  <a:lnTo>
                    <a:pt x="208" y="297"/>
                  </a:lnTo>
                  <a:lnTo>
                    <a:pt x="214" y="284"/>
                  </a:lnTo>
                  <a:lnTo>
                    <a:pt x="231" y="270"/>
                  </a:lnTo>
                  <a:lnTo>
                    <a:pt x="254" y="271"/>
                  </a:lnTo>
                  <a:lnTo>
                    <a:pt x="262" y="279"/>
                  </a:lnTo>
                  <a:lnTo>
                    <a:pt x="264" y="287"/>
                  </a:lnTo>
                  <a:lnTo>
                    <a:pt x="280" y="302"/>
                  </a:lnTo>
                  <a:lnTo>
                    <a:pt x="286" y="303"/>
                  </a:lnTo>
                  <a:lnTo>
                    <a:pt x="293" y="297"/>
                  </a:lnTo>
                  <a:lnTo>
                    <a:pt x="305" y="304"/>
                  </a:lnTo>
                  <a:lnTo>
                    <a:pt x="324" y="310"/>
                  </a:lnTo>
                  <a:lnTo>
                    <a:pt x="366" y="310"/>
                  </a:lnTo>
                  <a:lnTo>
                    <a:pt x="373" y="308"/>
                  </a:lnTo>
                  <a:lnTo>
                    <a:pt x="374" y="293"/>
                  </a:lnTo>
                  <a:lnTo>
                    <a:pt x="386" y="286"/>
                  </a:lnTo>
                  <a:lnTo>
                    <a:pt x="401" y="288"/>
                  </a:lnTo>
                  <a:lnTo>
                    <a:pt x="408" y="293"/>
                  </a:lnTo>
                  <a:lnTo>
                    <a:pt x="464" y="275"/>
                  </a:lnTo>
                  <a:lnTo>
                    <a:pt x="468" y="275"/>
                  </a:lnTo>
                  <a:lnTo>
                    <a:pt x="470" y="279"/>
                  </a:lnTo>
                  <a:lnTo>
                    <a:pt x="468" y="279"/>
                  </a:lnTo>
                  <a:lnTo>
                    <a:pt x="475" y="282"/>
                  </a:lnTo>
                  <a:lnTo>
                    <a:pt x="482" y="279"/>
                  </a:lnTo>
                  <a:lnTo>
                    <a:pt x="492" y="279"/>
                  </a:lnTo>
                  <a:lnTo>
                    <a:pt x="494" y="268"/>
                  </a:lnTo>
                  <a:lnTo>
                    <a:pt x="511" y="272"/>
                  </a:lnTo>
                  <a:lnTo>
                    <a:pt x="542" y="266"/>
                  </a:lnTo>
                  <a:lnTo>
                    <a:pt x="554" y="279"/>
                  </a:lnTo>
                  <a:lnTo>
                    <a:pt x="560" y="272"/>
                  </a:lnTo>
                  <a:lnTo>
                    <a:pt x="570" y="279"/>
                  </a:lnTo>
                  <a:lnTo>
                    <a:pt x="576" y="270"/>
                  </a:lnTo>
                  <a:lnTo>
                    <a:pt x="600" y="270"/>
                  </a:lnTo>
                  <a:lnTo>
                    <a:pt x="595" y="264"/>
                  </a:lnTo>
                  <a:lnTo>
                    <a:pt x="594" y="255"/>
                  </a:lnTo>
                  <a:lnTo>
                    <a:pt x="589" y="247"/>
                  </a:lnTo>
                  <a:lnTo>
                    <a:pt x="564" y="231"/>
                  </a:lnTo>
                  <a:lnTo>
                    <a:pt x="556" y="229"/>
                  </a:lnTo>
                  <a:lnTo>
                    <a:pt x="555" y="220"/>
                  </a:lnTo>
                  <a:lnTo>
                    <a:pt x="549" y="212"/>
                  </a:lnTo>
                  <a:lnTo>
                    <a:pt x="541" y="194"/>
                  </a:lnTo>
                  <a:lnTo>
                    <a:pt x="532" y="189"/>
                  </a:lnTo>
                  <a:lnTo>
                    <a:pt x="526" y="181"/>
                  </a:lnTo>
                  <a:lnTo>
                    <a:pt x="495" y="161"/>
                  </a:lnTo>
                  <a:lnTo>
                    <a:pt x="490" y="152"/>
                  </a:lnTo>
                  <a:lnTo>
                    <a:pt x="492" y="142"/>
                  </a:lnTo>
                  <a:lnTo>
                    <a:pt x="490" y="139"/>
                  </a:lnTo>
                  <a:lnTo>
                    <a:pt x="475" y="128"/>
                  </a:lnTo>
                  <a:lnTo>
                    <a:pt x="457" y="128"/>
                  </a:lnTo>
                  <a:lnTo>
                    <a:pt x="447" y="123"/>
                  </a:lnTo>
                  <a:lnTo>
                    <a:pt x="442" y="110"/>
                  </a:lnTo>
                  <a:lnTo>
                    <a:pt x="423" y="107"/>
                  </a:lnTo>
                  <a:lnTo>
                    <a:pt x="413" y="99"/>
                  </a:lnTo>
                  <a:lnTo>
                    <a:pt x="412" y="88"/>
                  </a:lnTo>
                  <a:lnTo>
                    <a:pt x="419" y="60"/>
                  </a:lnTo>
                  <a:lnTo>
                    <a:pt x="414" y="46"/>
                  </a:lnTo>
                  <a:lnTo>
                    <a:pt x="378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7" name="Freeform 175"/>
            <p:cNvSpPr>
              <a:spLocks/>
            </p:cNvSpPr>
            <p:nvPr/>
          </p:nvSpPr>
          <p:spPr bwMode="auto">
            <a:xfrm>
              <a:off x="4059645" y="2679603"/>
              <a:ext cx="718980" cy="378494"/>
            </a:xfrm>
            <a:custGeom>
              <a:avLst/>
              <a:gdLst>
                <a:gd name="T0" fmla="*/ 57 w 600"/>
                <a:gd name="T1" fmla="*/ 1 h 378"/>
                <a:gd name="T2" fmla="*/ 55 w 600"/>
                <a:gd name="T3" fmla="*/ 3 h 378"/>
                <a:gd name="T4" fmla="*/ 55 w 600"/>
                <a:gd name="T5" fmla="*/ 5 h 378"/>
                <a:gd name="T6" fmla="*/ 53 w 600"/>
                <a:gd name="T7" fmla="*/ 6 h 378"/>
                <a:gd name="T8" fmla="*/ 51 w 600"/>
                <a:gd name="T9" fmla="*/ 8 h 378"/>
                <a:gd name="T10" fmla="*/ 50 w 600"/>
                <a:gd name="T11" fmla="*/ 9 h 378"/>
                <a:gd name="T12" fmla="*/ 46 w 600"/>
                <a:gd name="T13" fmla="*/ 10 h 378"/>
                <a:gd name="T14" fmla="*/ 44 w 600"/>
                <a:gd name="T15" fmla="*/ 11 h 378"/>
                <a:gd name="T16" fmla="*/ 40 w 600"/>
                <a:gd name="T17" fmla="*/ 11 h 378"/>
                <a:gd name="T18" fmla="*/ 34 w 600"/>
                <a:gd name="T19" fmla="*/ 12 h 378"/>
                <a:gd name="T20" fmla="*/ 34 w 600"/>
                <a:gd name="T21" fmla="*/ 13 h 378"/>
                <a:gd name="T22" fmla="*/ 35 w 600"/>
                <a:gd name="T23" fmla="*/ 14 h 378"/>
                <a:gd name="T24" fmla="*/ 34 w 600"/>
                <a:gd name="T25" fmla="*/ 15 h 378"/>
                <a:gd name="T26" fmla="*/ 34 w 600"/>
                <a:gd name="T27" fmla="*/ 16 h 378"/>
                <a:gd name="T28" fmla="*/ 32 w 600"/>
                <a:gd name="T29" fmla="*/ 16 h 378"/>
                <a:gd name="T30" fmla="*/ 32 w 600"/>
                <a:gd name="T31" fmla="*/ 17 h 378"/>
                <a:gd name="T32" fmla="*/ 28 w 600"/>
                <a:gd name="T33" fmla="*/ 17 h 378"/>
                <a:gd name="T34" fmla="*/ 22 w 600"/>
                <a:gd name="T35" fmla="*/ 19 h 378"/>
                <a:gd name="T36" fmla="*/ 19 w 600"/>
                <a:gd name="T37" fmla="*/ 19 h 378"/>
                <a:gd name="T38" fmla="*/ 18 w 600"/>
                <a:gd name="T39" fmla="*/ 20 h 378"/>
                <a:gd name="T40" fmla="*/ 17 w 600"/>
                <a:gd name="T41" fmla="*/ 19 h 378"/>
                <a:gd name="T42" fmla="*/ 17 w 600"/>
                <a:gd name="T43" fmla="*/ 18 h 378"/>
                <a:gd name="T44" fmla="*/ 15 w 600"/>
                <a:gd name="T45" fmla="*/ 18 h 378"/>
                <a:gd name="T46" fmla="*/ 15 w 600"/>
                <a:gd name="T47" fmla="*/ 19 h 378"/>
                <a:gd name="T48" fmla="*/ 11 w 600"/>
                <a:gd name="T49" fmla="*/ 21 h 378"/>
                <a:gd name="T50" fmla="*/ 10 w 600"/>
                <a:gd name="T51" fmla="*/ 20 h 378"/>
                <a:gd name="T52" fmla="*/ 6 w 600"/>
                <a:gd name="T53" fmla="*/ 21 h 378"/>
                <a:gd name="T54" fmla="*/ 0 w 600"/>
                <a:gd name="T55" fmla="*/ 30 h 378"/>
                <a:gd name="T56" fmla="*/ 1 w 600"/>
                <a:gd name="T57" fmla="*/ 35 h 378"/>
                <a:gd name="T58" fmla="*/ 11 w 600"/>
                <a:gd name="T59" fmla="*/ 46 h 378"/>
                <a:gd name="T60" fmla="*/ 14 w 600"/>
                <a:gd name="T61" fmla="*/ 45 h 378"/>
                <a:gd name="T62" fmla="*/ 22 w 600"/>
                <a:gd name="T63" fmla="*/ 42 h 378"/>
                <a:gd name="T64" fmla="*/ 31 w 600"/>
                <a:gd name="T65" fmla="*/ 42 h 378"/>
                <a:gd name="T66" fmla="*/ 34 w 600"/>
                <a:gd name="T67" fmla="*/ 41 h 378"/>
                <a:gd name="T68" fmla="*/ 34 w 600"/>
                <a:gd name="T69" fmla="*/ 37 h 378"/>
                <a:gd name="T70" fmla="*/ 36 w 600"/>
                <a:gd name="T71" fmla="*/ 35 h 378"/>
                <a:gd name="T72" fmla="*/ 42 w 600"/>
                <a:gd name="T73" fmla="*/ 33 h 378"/>
                <a:gd name="T74" fmla="*/ 44 w 600"/>
                <a:gd name="T75" fmla="*/ 35 h 378"/>
                <a:gd name="T76" fmla="*/ 48 w 600"/>
                <a:gd name="T77" fmla="*/ 37 h 378"/>
                <a:gd name="T78" fmla="*/ 51 w 600"/>
                <a:gd name="T79" fmla="*/ 37 h 378"/>
                <a:gd name="T80" fmla="*/ 61 w 600"/>
                <a:gd name="T81" fmla="*/ 38 h 378"/>
                <a:gd name="T82" fmla="*/ 63 w 600"/>
                <a:gd name="T83" fmla="*/ 36 h 378"/>
                <a:gd name="T84" fmla="*/ 67 w 600"/>
                <a:gd name="T85" fmla="*/ 35 h 378"/>
                <a:gd name="T86" fmla="*/ 78 w 600"/>
                <a:gd name="T87" fmla="*/ 34 h 378"/>
                <a:gd name="T88" fmla="*/ 78 w 600"/>
                <a:gd name="T89" fmla="*/ 35 h 378"/>
                <a:gd name="T90" fmla="*/ 80 w 600"/>
                <a:gd name="T91" fmla="*/ 35 h 378"/>
                <a:gd name="T92" fmla="*/ 83 w 600"/>
                <a:gd name="T93" fmla="*/ 35 h 378"/>
                <a:gd name="T94" fmla="*/ 86 w 600"/>
                <a:gd name="T95" fmla="*/ 33 h 378"/>
                <a:gd name="T96" fmla="*/ 93 w 600"/>
                <a:gd name="T97" fmla="*/ 35 h 378"/>
                <a:gd name="T98" fmla="*/ 96 w 600"/>
                <a:gd name="T99" fmla="*/ 35 h 378"/>
                <a:gd name="T100" fmla="*/ 101 w 600"/>
                <a:gd name="T101" fmla="*/ 33 h 378"/>
                <a:gd name="T102" fmla="*/ 100 w 600"/>
                <a:gd name="T103" fmla="*/ 31 h 378"/>
                <a:gd name="T104" fmla="*/ 94 w 600"/>
                <a:gd name="T105" fmla="*/ 28 h 378"/>
                <a:gd name="T106" fmla="*/ 93 w 600"/>
                <a:gd name="T107" fmla="*/ 27 h 378"/>
                <a:gd name="T108" fmla="*/ 90 w 600"/>
                <a:gd name="T109" fmla="*/ 24 h 378"/>
                <a:gd name="T110" fmla="*/ 88 w 600"/>
                <a:gd name="T111" fmla="*/ 22 h 378"/>
                <a:gd name="T112" fmla="*/ 82 w 600"/>
                <a:gd name="T113" fmla="*/ 19 h 378"/>
                <a:gd name="T114" fmla="*/ 82 w 600"/>
                <a:gd name="T115" fmla="*/ 17 h 378"/>
                <a:gd name="T116" fmla="*/ 76 w 600"/>
                <a:gd name="T117" fmla="*/ 16 h 378"/>
                <a:gd name="T118" fmla="*/ 74 w 600"/>
                <a:gd name="T119" fmla="*/ 13 h 378"/>
                <a:gd name="T120" fmla="*/ 69 w 600"/>
                <a:gd name="T121" fmla="*/ 12 h 378"/>
                <a:gd name="T122" fmla="*/ 70 w 600"/>
                <a:gd name="T123" fmla="*/ 7 h 378"/>
                <a:gd name="T124" fmla="*/ 63 w 600"/>
                <a:gd name="T125" fmla="*/ 0 h 3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600"/>
                <a:gd name="T190" fmla="*/ 0 h 378"/>
                <a:gd name="T191" fmla="*/ 600 w 600"/>
                <a:gd name="T192" fmla="*/ 378 h 3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600" h="378">
                  <a:moveTo>
                    <a:pt x="378" y="0"/>
                  </a:moveTo>
                  <a:lnTo>
                    <a:pt x="343" y="8"/>
                  </a:lnTo>
                  <a:lnTo>
                    <a:pt x="338" y="12"/>
                  </a:lnTo>
                  <a:lnTo>
                    <a:pt x="334" y="23"/>
                  </a:lnTo>
                  <a:lnTo>
                    <a:pt x="334" y="35"/>
                  </a:lnTo>
                  <a:lnTo>
                    <a:pt x="329" y="37"/>
                  </a:lnTo>
                  <a:lnTo>
                    <a:pt x="324" y="45"/>
                  </a:lnTo>
                  <a:lnTo>
                    <a:pt x="319" y="47"/>
                  </a:lnTo>
                  <a:lnTo>
                    <a:pt x="316" y="48"/>
                  </a:lnTo>
                  <a:lnTo>
                    <a:pt x="303" y="62"/>
                  </a:lnTo>
                  <a:lnTo>
                    <a:pt x="299" y="70"/>
                  </a:lnTo>
                  <a:lnTo>
                    <a:pt x="297" y="73"/>
                  </a:lnTo>
                  <a:lnTo>
                    <a:pt x="281" y="79"/>
                  </a:lnTo>
                  <a:lnTo>
                    <a:pt x="277" y="86"/>
                  </a:lnTo>
                  <a:lnTo>
                    <a:pt x="268" y="91"/>
                  </a:lnTo>
                  <a:lnTo>
                    <a:pt x="264" y="89"/>
                  </a:lnTo>
                  <a:lnTo>
                    <a:pt x="244" y="92"/>
                  </a:lnTo>
                  <a:lnTo>
                    <a:pt x="242" y="93"/>
                  </a:lnTo>
                  <a:lnTo>
                    <a:pt x="216" y="95"/>
                  </a:lnTo>
                  <a:lnTo>
                    <a:pt x="206" y="98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10" y="108"/>
                  </a:lnTo>
                  <a:lnTo>
                    <a:pt x="212" y="114"/>
                  </a:lnTo>
                  <a:lnTo>
                    <a:pt x="210" y="118"/>
                  </a:lnTo>
                  <a:lnTo>
                    <a:pt x="206" y="121"/>
                  </a:lnTo>
                  <a:lnTo>
                    <a:pt x="204" y="127"/>
                  </a:lnTo>
                  <a:lnTo>
                    <a:pt x="200" y="130"/>
                  </a:lnTo>
                  <a:lnTo>
                    <a:pt x="196" y="130"/>
                  </a:lnTo>
                  <a:lnTo>
                    <a:pt x="194" y="133"/>
                  </a:lnTo>
                  <a:lnTo>
                    <a:pt x="193" y="138"/>
                  </a:lnTo>
                  <a:lnTo>
                    <a:pt x="192" y="138"/>
                  </a:lnTo>
                  <a:lnTo>
                    <a:pt x="171" y="138"/>
                  </a:lnTo>
                  <a:lnTo>
                    <a:pt x="165" y="142"/>
                  </a:lnTo>
                  <a:lnTo>
                    <a:pt x="152" y="141"/>
                  </a:lnTo>
                  <a:lnTo>
                    <a:pt x="131" y="151"/>
                  </a:lnTo>
                  <a:lnTo>
                    <a:pt x="128" y="154"/>
                  </a:lnTo>
                  <a:lnTo>
                    <a:pt x="115" y="157"/>
                  </a:lnTo>
                  <a:lnTo>
                    <a:pt x="114" y="161"/>
                  </a:lnTo>
                  <a:lnTo>
                    <a:pt x="111" y="162"/>
                  </a:lnTo>
                  <a:lnTo>
                    <a:pt x="105" y="156"/>
                  </a:lnTo>
                  <a:lnTo>
                    <a:pt x="102" y="154"/>
                  </a:lnTo>
                  <a:lnTo>
                    <a:pt x="99" y="149"/>
                  </a:lnTo>
                  <a:lnTo>
                    <a:pt x="98" y="149"/>
                  </a:lnTo>
                  <a:lnTo>
                    <a:pt x="95" y="149"/>
                  </a:lnTo>
                  <a:lnTo>
                    <a:pt x="92" y="150"/>
                  </a:lnTo>
                  <a:lnTo>
                    <a:pt x="89" y="151"/>
                  </a:lnTo>
                  <a:lnTo>
                    <a:pt x="88" y="156"/>
                  </a:lnTo>
                  <a:lnTo>
                    <a:pt x="77" y="158"/>
                  </a:lnTo>
                  <a:lnTo>
                    <a:pt x="69" y="165"/>
                  </a:lnTo>
                  <a:lnTo>
                    <a:pt x="65" y="165"/>
                  </a:lnTo>
                  <a:lnTo>
                    <a:pt x="59" y="163"/>
                  </a:lnTo>
                  <a:lnTo>
                    <a:pt x="43" y="165"/>
                  </a:lnTo>
                  <a:lnTo>
                    <a:pt x="40" y="167"/>
                  </a:lnTo>
                  <a:lnTo>
                    <a:pt x="1" y="236"/>
                  </a:lnTo>
                  <a:lnTo>
                    <a:pt x="0" y="247"/>
                  </a:lnTo>
                  <a:lnTo>
                    <a:pt x="3" y="259"/>
                  </a:lnTo>
                  <a:lnTo>
                    <a:pt x="3" y="287"/>
                  </a:lnTo>
                  <a:lnTo>
                    <a:pt x="48" y="361"/>
                  </a:lnTo>
                  <a:lnTo>
                    <a:pt x="68" y="378"/>
                  </a:lnTo>
                  <a:lnTo>
                    <a:pt x="74" y="377"/>
                  </a:lnTo>
                  <a:lnTo>
                    <a:pt x="81" y="365"/>
                  </a:lnTo>
                  <a:lnTo>
                    <a:pt x="115" y="341"/>
                  </a:lnTo>
                  <a:lnTo>
                    <a:pt x="131" y="337"/>
                  </a:lnTo>
                  <a:lnTo>
                    <a:pt x="160" y="351"/>
                  </a:lnTo>
                  <a:lnTo>
                    <a:pt x="185" y="343"/>
                  </a:lnTo>
                  <a:lnTo>
                    <a:pt x="190" y="337"/>
                  </a:lnTo>
                  <a:lnTo>
                    <a:pt x="201" y="335"/>
                  </a:lnTo>
                  <a:lnTo>
                    <a:pt x="199" y="329"/>
                  </a:lnTo>
                  <a:lnTo>
                    <a:pt x="202" y="301"/>
                  </a:lnTo>
                  <a:lnTo>
                    <a:pt x="208" y="297"/>
                  </a:lnTo>
                  <a:lnTo>
                    <a:pt x="214" y="284"/>
                  </a:lnTo>
                  <a:lnTo>
                    <a:pt x="231" y="270"/>
                  </a:lnTo>
                  <a:lnTo>
                    <a:pt x="254" y="271"/>
                  </a:lnTo>
                  <a:lnTo>
                    <a:pt x="262" y="279"/>
                  </a:lnTo>
                  <a:lnTo>
                    <a:pt x="264" y="287"/>
                  </a:lnTo>
                  <a:lnTo>
                    <a:pt x="280" y="302"/>
                  </a:lnTo>
                  <a:lnTo>
                    <a:pt x="286" y="303"/>
                  </a:lnTo>
                  <a:lnTo>
                    <a:pt x="293" y="297"/>
                  </a:lnTo>
                  <a:lnTo>
                    <a:pt x="305" y="304"/>
                  </a:lnTo>
                  <a:lnTo>
                    <a:pt x="324" y="310"/>
                  </a:lnTo>
                  <a:lnTo>
                    <a:pt x="366" y="310"/>
                  </a:lnTo>
                  <a:lnTo>
                    <a:pt x="373" y="308"/>
                  </a:lnTo>
                  <a:lnTo>
                    <a:pt x="374" y="293"/>
                  </a:lnTo>
                  <a:lnTo>
                    <a:pt x="386" y="286"/>
                  </a:lnTo>
                  <a:lnTo>
                    <a:pt x="401" y="288"/>
                  </a:lnTo>
                  <a:lnTo>
                    <a:pt x="408" y="293"/>
                  </a:lnTo>
                  <a:lnTo>
                    <a:pt x="464" y="275"/>
                  </a:lnTo>
                  <a:lnTo>
                    <a:pt x="468" y="275"/>
                  </a:lnTo>
                  <a:lnTo>
                    <a:pt x="470" y="279"/>
                  </a:lnTo>
                  <a:lnTo>
                    <a:pt x="468" y="279"/>
                  </a:lnTo>
                  <a:lnTo>
                    <a:pt x="475" y="282"/>
                  </a:lnTo>
                  <a:lnTo>
                    <a:pt x="482" y="279"/>
                  </a:lnTo>
                  <a:lnTo>
                    <a:pt x="492" y="279"/>
                  </a:lnTo>
                  <a:lnTo>
                    <a:pt x="494" y="268"/>
                  </a:lnTo>
                  <a:lnTo>
                    <a:pt x="511" y="272"/>
                  </a:lnTo>
                  <a:lnTo>
                    <a:pt x="542" y="266"/>
                  </a:lnTo>
                  <a:lnTo>
                    <a:pt x="554" y="279"/>
                  </a:lnTo>
                  <a:lnTo>
                    <a:pt x="560" y="272"/>
                  </a:lnTo>
                  <a:lnTo>
                    <a:pt x="570" y="279"/>
                  </a:lnTo>
                  <a:lnTo>
                    <a:pt x="576" y="270"/>
                  </a:lnTo>
                  <a:lnTo>
                    <a:pt x="600" y="270"/>
                  </a:lnTo>
                  <a:lnTo>
                    <a:pt x="595" y="264"/>
                  </a:lnTo>
                  <a:lnTo>
                    <a:pt x="594" y="255"/>
                  </a:lnTo>
                  <a:lnTo>
                    <a:pt x="589" y="247"/>
                  </a:lnTo>
                  <a:lnTo>
                    <a:pt x="564" y="231"/>
                  </a:lnTo>
                  <a:lnTo>
                    <a:pt x="556" y="229"/>
                  </a:lnTo>
                  <a:lnTo>
                    <a:pt x="555" y="220"/>
                  </a:lnTo>
                  <a:lnTo>
                    <a:pt x="549" y="212"/>
                  </a:lnTo>
                  <a:lnTo>
                    <a:pt x="541" y="194"/>
                  </a:lnTo>
                  <a:lnTo>
                    <a:pt x="532" y="189"/>
                  </a:lnTo>
                  <a:lnTo>
                    <a:pt x="526" y="181"/>
                  </a:lnTo>
                  <a:lnTo>
                    <a:pt x="495" y="161"/>
                  </a:lnTo>
                  <a:lnTo>
                    <a:pt x="490" y="152"/>
                  </a:lnTo>
                  <a:lnTo>
                    <a:pt x="492" y="142"/>
                  </a:lnTo>
                  <a:lnTo>
                    <a:pt x="490" y="139"/>
                  </a:lnTo>
                  <a:lnTo>
                    <a:pt x="475" y="128"/>
                  </a:lnTo>
                  <a:lnTo>
                    <a:pt x="457" y="128"/>
                  </a:lnTo>
                  <a:lnTo>
                    <a:pt x="447" y="123"/>
                  </a:lnTo>
                  <a:lnTo>
                    <a:pt x="442" y="110"/>
                  </a:lnTo>
                  <a:lnTo>
                    <a:pt x="423" y="107"/>
                  </a:lnTo>
                  <a:lnTo>
                    <a:pt x="413" y="99"/>
                  </a:lnTo>
                  <a:lnTo>
                    <a:pt x="412" y="88"/>
                  </a:lnTo>
                  <a:lnTo>
                    <a:pt x="419" y="60"/>
                  </a:lnTo>
                  <a:lnTo>
                    <a:pt x="414" y="46"/>
                  </a:lnTo>
                  <a:lnTo>
                    <a:pt x="378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8" name="Freeform 176"/>
            <p:cNvSpPr>
              <a:spLocks/>
            </p:cNvSpPr>
            <p:nvPr/>
          </p:nvSpPr>
          <p:spPr bwMode="auto">
            <a:xfrm>
              <a:off x="5566659" y="2599823"/>
              <a:ext cx="85303" cy="90913"/>
            </a:xfrm>
            <a:custGeom>
              <a:avLst/>
              <a:gdLst>
                <a:gd name="T0" fmla="*/ 9 w 72"/>
                <a:gd name="T1" fmla="*/ 0 h 89"/>
                <a:gd name="T2" fmla="*/ 3 w 72"/>
                <a:gd name="T3" fmla="*/ 3 h 89"/>
                <a:gd name="T4" fmla="*/ 2 w 72"/>
                <a:gd name="T5" fmla="*/ 7 h 89"/>
                <a:gd name="T6" fmla="*/ 0 w 72"/>
                <a:gd name="T7" fmla="*/ 10 h 89"/>
                <a:gd name="T8" fmla="*/ 1 w 72"/>
                <a:gd name="T9" fmla="*/ 11 h 89"/>
                <a:gd name="T10" fmla="*/ 1 w 72"/>
                <a:gd name="T11" fmla="*/ 12 h 89"/>
                <a:gd name="T12" fmla="*/ 3 w 72"/>
                <a:gd name="T13" fmla="*/ 12 h 89"/>
                <a:gd name="T14" fmla="*/ 3 w 72"/>
                <a:gd name="T15" fmla="*/ 12 h 89"/>
                <a:gd name="T16" fmla="*/ 4 w 72"/>
                <a:gd name="T17" fmla="*/ 12 h 89"/>
                <a:gd name="T18" fmla="*/ 5 w 72"/>
                <a:gd name="T19" fmla="*/ 12 h 89"/>
                <a:gd name="T20" fmla="*/ 5 w 72"/>
                <a:gd name="T21" fmla="*/ 11 h 89"/>
                <a:gd name="T22" fmla="*/ 6 w 72"/>
                <a:gd name="T23" fmla="*/ 11 h 89"/>
                <a:gd name="T24" fmla="*/ 7 w 72"/>
                <a:gd name="T25" fmla="*/ 11 h 89"/>
                <a:gd name="T26" fmla="*/ 8 w 72"/>
                <a:gd name="T27" fmla="*/ 12 h 89"/>
                <a:gd name="T28" fmla="*/ 8 w 72"/>
                <a:gd name="T29" fmla="*/ 12 h 89"/>
                <a:gd name="T30" fmla="*/ 8 w 72"/>
                <a:gd name="T31" fmla="*/ 11 h 89"/>
                <a:gd name="T32" fmla="*/ 10 w 72"/>
                <a:gd name="T33" fmla="*/ 10 h 89"/>
                <a:gd name="T34" fmla="*/ 10 w 72"/>
                <a:gd name="T35" fmla="*/ 8 h 89"/>
                <a:gd name="T36" fmla="*/ 11 w 72"/>
                <a:gd name="T37" fmla="*/ 8 h 89"/>
                <a:gd name="T38" fmla="*/ 10 w 72"/>
                <a:gd name="T39" fmla="*/ 8 h 89"/>
                <a:gd name="T40" fmla="*/ 10 w 72"/>
                <a:gd name="T41" fmla="*/ 8 h 89"/>
                <a:gd name="T42" fmla="*/ 10 w 72"/>
                <a:gd name="T43" fmla="*/ 8 h 89"/>
                <a:gd name="T44" fmla="*/ 9 w 72"/>
                <a:gd name="T45" fmla="*/ 8 h 89"/>
                <a:gd name="T46" fmla="*/ 8 w 72"/>
                <a:gd name="T47" fmla="*/ 8 h 89"/>
                <a:gd name="T48" fmla="*/ 7 w 72"/>
                <a:gd name="T49" fmla="*/ 8 h 89"/>
                <a:gd name="T50" fmla="*/ 6 w 72"/>
                <a:gd name="T51" fmla="*/ 8 h 89"/>
                <a:gd name="T52" fmla="*/ 6 w 72"/>
                <a:gd name="T53" fmla="*/ 8 h 89"/>
                <a:gd name="T54" fmla="*/ 6 w 72"/>
                <a:gd name="T55" fmla="*/ 8 h 89"/>
                <a:gd name="T56" fmla="*/ 5 w 72"/>
                <a:gd name="T57" fmla="*/ 8 h 89"/>
                <a:gd name="T58" fmla="*/ 5 w 72"/>
                <a:gd name="T59" fmla="*/ 8 h 89"/>
                <a:gd name="T60" fmla="*/ 6 w 72"/>
                <a:gd name="T61" fmla="*/ 8 h 89"/>
                <a:gd name="T62" fmla="*/ 6 w 72"/>
                <a:gd name="T63" fmla="*/ 8 h 89"/>
                <a:gd name="T64" fmla="*/ 6 w 72"/>
                <a:gd name="T65" fmla="*/ 8 h 89"/>
                <a:gd name="T66" fmla="*/ 8 w 72"/>
                <a:gd name="T67" fmla="*/ 7 h 89"/>
                <a:gd name="T68" fmla="*/ 8 w 72"/>
                <a:gd name="T69" fmla="*/ 7 h 89"/>
                <a:gd name="T70" fmla="*/ 8 w 72"/>
                <a:gd name="T71" fmla="*/ 7 h 89"/>
                <a:gd name="T72" fmla="*/ 9 w 72"/>
                <a:gd name="T73" fmla="*/ 6 h 89"/>
                <a:gd name="T74" fmla="*/ 10 w 72"/>
                <a:gd name="T75" fmla="*/ 6 h 89"/>
                <a:gd name="T76" fmla="*/ 11 w 72"/>
                <a:gd name="T77" fmla="*/ 5 h 89"/>
                <a:gd name="T78" fmla="*/ 12 w 72"/>
                <a:gd name="T79" fmla="*/ 4 h 89"/>
                <a:gd name="T80" fmla="*/ 11 w 72"/>
                <a:gd name="T81" fmla="*/ 2 h 89"/>
                <a:gd name="T82" fmla="*/ 10 w 72"/>
                <a:gd name="T83" fmla="*/ 2 h 89"/>
                <a:gd name="T84" fmla="*/ 9 w 72"/>
                <a:gd name="T85" fmla="*/ 1 h 89"/>
                <a:gd name="T86" fmla="*/ 9 w 72"/>
                <a:gd name="T87" fmla="*/ 1 h 89"/>
                <a:gd name="T88" fmla="*/ 9 w 72"/>
                <a:gd name="T89" fmla="*/ 0 h 8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"/>
                <a:gd name="T136" fmla="*/ 0 h 89"/>
                <a:gd name="T137" fmla="*/ 72 w 72"/>
                <a:gd name="T138" fmla="*/ 89 h 8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" h="89">
                  <a:moveTo>
                    <a:pt x="56" y="0"/>
                  </a:moveTo>
                  <a:lnTo>
                    <a:pt x="20" y="25"/>
                  </a:lnTo>
                  <a:lnTo>
                    <a:pt x="13" y="53"/>
                  </a:lnTo>
                  <a:lnTo>
                    <a:pt x="0" y="74"/>
                  </a:lnTo>
                  <a:lnTo>
                    <a:pt x="1" y="82"/>
                  </a:lnTo>
                  <a:lnTo>
                    <a:pt x="7" y="87"/>
                  </a:lnTo>
                  <a:lnTo>
                    <a:pt x="17" y="88"/>
                  </a:lnTo>
                  <a:lnTo>
                    <a:pt x="22" y="87"/>
                  </a:lnTo>
                  <a:lnTo>
                    <a:pt x="26" y="88"/>
                  </a:lnTo>
                  <a:lnTo>
                    <a:pt x="27" y="87"/>
                  </a:lnTo>
                  <a:lnTo>
                    <a:pt x="29" y="85"/>
                  </a:lnTo>
                  <a:lnTo>
                    <a:pt x="40" y="81"/>
                  </a:lnTo>
                  <a:lnTo>
                    <a:pt x="43" y="82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2" y="84"/>
                  </a:lnTo>
                  <a:lnTo>
                    <a:pt x="61" y="74"/>
                  </a:lnTo>
                  <a:lnTo>
                    <a:pt x="64" y="64"/>
                  </a:lnTo>
                  <a:lnTo>
                    <a:pt x="67" y="63"/>
                  </a:lnTo>
                  <a:lnTo>
                    <a:pt x="64" y="61"/>
                  </a:lnTo>
                  <a:lnTo>
                    <a:pt x="62" y="60"/>
                  </a:lnTo>
                  <a:lnTo>
                    <a:pt x="61" y="58"/>
                  </a:lnTo>
                  <a:lnTo>
                    <a:pt x="54" y="59"/>
                  </a:lnTo>
                  <a:lnTo>
                    <a:pt x="48" y="59"/>
                  </a:lnTo>
                  <a:lnTo>
                    <a:pt x="42" y="60"/>
                  </a:lnTo>
                  <a:lnTo>
                    <a:pt x="40" y="63"/>
                  </a:lnTo>
                  <a:lnTo>
                    <a:pt x="38" y="63"/>
                  </a:lnTo>
                  <a:lnTo>
                    <a:pt x="36" y="63"/>
                  </a:lnTo>
                  <a:lnTo>
                    <a:pt x="32" y="59"/>
                  </a:lnTo>
                  <a:lnTo>
                    <a:pt x="33" y="58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1" y="56"/>
                  </a:lnTo>
                  <a:lnTo>
                    <a:pt x="46" y="50"/>
                  </a:lnTo>
                  <a:lnTo>
                    <a:pt x="48" y="49"/>
                  </a:lnTo>
                  <a:lnTo>
                    <a:pt x="52" y="49"/>
                  </a:lnTo>
                  <a:lnTo>
                    <a:pt x="56" y="43"/>
                  </a:lnTo>
                  <a:lnTo>
                    <a:pt x="65" y="42"/>
                  </a:lnTo>
                  <a:lnTo>
                    <a:pt x="71" y="38"/>
                  </a:lnTo>
                  <a:lnTo>
                    <a:pt x="72" y="32"/>
                  </a:lnTo>
                  <a:lnTo>
                    <a:pt x="69" y="18"/>
                  </a:lnTo>
                  <a:lnTo>
                    <a:pt x="63" y="14"/>
                  </a:lnTo>
                  <a:lnTo>
                    <a:pt x="60" y="9"/>
                  </a:lnTo>
                  <a:lnTo>
                    <a:pt x="57" y="5"/>
                  </a:lnTo>
                  <a:lnTo>
                    <a:pt x="56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69" name="Freeform 177"/>
            <p:cNvSpPr>
              <a:spLocks/>
            </p:cNvSpPr>
            <p:nvPr/>
          </p:nvSpPr>
          <p:spPr bwMode="auto">
            <a:xfrm>
              <a:off x="4863928" y="3234356"/>
              <a:ext cx="103581" cy="79781"/>
            </a:xfrm>
            <a:custGeom>
              <a:avLst/>
              <a:gdLst>
                <a:gd name="T0" fmla="*/ 1 w 87"/>
                <a:gd name="T1" fmla="*/ 9 h 81"/>
                <a:gd name="T2" fmla="*/ 1 w 87"/>
                <a:gd name="T3" fmla="*/ 9 h 81"/>
                <a:gd name="T4" fmla="*/ 1 w 87"/>
                <a:gd name="T5" fmla="*/ 8 h 81"/>
                <a:gd name="T6" fmla="*/ 2 w 87"/>
                <a:gd name="T7" fmla="*/ 7 h 81"/>
                <a:gd name="T8" fmla="*/ 2 w 87"/>
                <a:gd name="T9" fmla="*/ 7 h 81"/>
                <a:gd name="T10" fmla="*/ 3 w 87"/>
                <a:gd name="T11" fmla="*/ 8 h 81"/>
                <a:gd name="T12" fmla="*/ 4 w 87"/>
                <a:gd name="T13" fmla="*/ 9 h 81"/>
                <a:gd name="T14" fmla="*/ 4 w 87"/>
                <a:gd name="T15" fmla="*/ 10 h 81"/>
                <a:gd name="T16" fmla="*/ 5 w 87"/>
                <a:gd name="T17" fmla="*/ 9 h 81"/>
                <a:gd name="T18" fmla="*/ 5 w 87"/>
                <a:gd name="T19" fmla="*/ 9 h 81"/>
                <a:gd name="T20" fmla="*/ 6 w 87"/>
                <a:gd name="T21" fmla="*/ 9 h 81"/>
                <a:gd name="T22" fmla="*/ 7 w 87"/>
                <a:gd name="T23" fmla="*/ 8 h 81"/>
                <a:gd name="T24" fmla="*/ 7 w 87"/>
                <a:gd name="T25" fmla="*/ 7 h 81"/>
                <a:gd name="T26" fmla="*/ 7 w 87"/>
                <a:gd name="T27" fmla="*/ 7 h 81"/>
                <a:gd name="T28" fmla="*/ 8 w 87"/>
                <a:gd name="T29" fmla="*/ 7 h 81"/>
                <a:gd name="T30" fmla="*/ 9 w 87"/>
                <a:gd name="T31" fmla="*/ 7 h 81"/>
                <a:gd name="T32" fmla="*/ 11 w 87"/>
                <a:gd name="T33" fmla="*/ 7 h 81"/>
                <a:gd name="T34" fmla="*/ 11 w 87"/>
                <a:gd name="T35" fmla="*/ 7 h 81"/>
                <a:gd name="T36" fmla="*/ 11 w 87"/>
                <a:gd name="T37" fmla="*/ 7 h 81"/>
                <a:gd name="T38" fmla="*/ 12 w 87"/>
                <a:gd name="T39" fmla="*/ 7 h 81"/>
                <a:gd name="T40" fmla="*/ 12 w 87"/>
                <a:gd name="T41" fmla="*/ 7 h 81"/>
                <a:gd name="T42" fmla="*/ 13 w 87"/>
                <a:gd name="T43" fmla="*/ 6 h 81"/>
                <a:gd name="T44" fmla="*/ 14 w 87"/>
                <a:gd name="T45" fmla="*/ 5 h 81"/>
                <a:gd name="T46" fmla="*/ 11 w 87"/>
                <a:gd name="T47" fmla="*/ 0 h 81"/>
                <a:gd name="T48" fmla="*/ 10 w 87"/>
                <a:gd name="T49" fmla="*/ 1 h 81"/>
                <a:gd name="T50" fmla="*/ 9 w 87"/>
                <a:gd name="T51" fmla="*/ 1 h 81"/>
                <a:gd name="T52" fmla="*/ 9 w 87"/>
                <a:gd name="T53" fmla="*/ 1 h 81"/>
                <a:gd name="T54" fmla="*/ 8 w 87"/>
                <a:gd name="T55" fmla="*/ 2 h 81"/>
                <a:gd name="T56" fmla="*/ 6 w 87"/>
                <a:gd name="T57" fmla="*/ 2 h 81"/>
                <a:gd name="T58" fmla="*/ 5 w 87"/>
                <a:gd name="T59" fmla="*/ 2 h 81"/>
                <a:gd name="T60" fmla="*/ 5 w 87"/>
                <a:gd name="T61" fmla="*/ 2 h 81"/>
                <a:gd name="T62" fmla="*/ 5 w 87"/>
                <a:gd name="T63" fmla="*/ 2 h 81"/>
                <a:gd name="T64" fmla="*/ 0 w 87"/>
                <a:gd name="T65" fmla="*/ 7 h 81"/>
                <a:gd name="T66" fmla="*/ 0 w 87"/>
                <a:gd name="T67" fmla="*/ 8 h 81"/>
                <a:gd name="T68" fmla="*/ 1 w 87"/>
                <a:gd name="T69" fmla="*/ 9 h 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"/>
                <a:gd name="T106" fmla="*/ 0 h 81"/>
                <a:gd name="T107" fmla="*/ 87 w 87"/>
                <a:gd name="T108" fmla="*/ 81 h 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" h="81">
                  <a:moveTo>
                    <a:pt x="5" y="78"/>
                  </a:moveTo>
                  <a:lnTo>
                    <a:pt x="7" y="78"/>
                  </a:lnTo>
                  <a:lnTo>
                    <a:pt x="7" y="70"/>
                  </a:lnTo>
                  <a:lnTo>
                    <a:pt x="11" y="67"/>
                  </a:lnTo>
                  <a:lnTo>
                    <a:pt x="15" y="67"/>
                  </a:lnTo>
                  <a:lnTo>
                    <a:pt x="16" y="68"/>
                  </a:lnTo>
                  <a:lnTo>
                    <a:pt x="22" y="80"/>
                  </a:lnTo>
                  <a:lnTo>
                    <a:pt x="24" y="81"/>
                  </a:lnTo>
                  <a:lnTo>
                    <a:pt x="29" y="80"/>
                  </a:lnTo>
                  <a:lnTo>
                    <a:pt x="33" y="78"/>
                  </a:lnTo>
                  <a:lnTo>
                    <a:pt x="40" y="78"/>
                  </a:lnTo>
                  <a:lnTo>
                    <a:pt x="43" y="73"/>
                  </a:lnTo>
                  <a:lnTo>
                    <a:pt x="43" y="66"/>
                  </a:lnTo>
                  <a:lnTo>
                    <a:pt x="44" y="64"/>
                  </a:lnTo>
                  <a:lnTo>
                    <a:pt x="46" y="62"/>
                  </a:lnTo>
                  <a:lnTo>
                    <a:pt x="54" y="63"/>
                  </a:lnTo>
                  <a:lnTo>
                    <a:pt x="65" y="59"/>
                  </a:lnTo>
                  <a:lnTo>
                    <a:pt x="68" y="59"/>
                  </a:lnTo>
                  <a:lnTo>
                    <a:pt x="69" y="60"/>
                  </a:lnTo>
                  <a:lnTo>
                    <a:pt x="73" y="60"/>
                  </a:lnTo>
                  <a:lnTo>
                    <a:pt x="75" y="63"/>
                  </a:lnTo>
                  <a:lnTo>
                    <a:pt x="84" y="51"/>
                  </a:lnTo>
                  <a:lnTo>
                    <a:pt x="87" y="42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56" y="5"/>
                  </a:lnTo>
                  <a:lnTo>
                    <a:pt x="53" y="7"/>
                  </a:lnTo>
                  <a:lnTo>
                    <a:pt x="48" y="17"/>
                  </a:lnTo>
                  <a:lnTo>
                    <a:pt x="41" y="18"/>
                  </a:lnTo>
                  <a:lnTo>
                    <a:pt x="35" y="16"/>
                  </a:lnTo>
                  <a:lnTo>
                    <a:pt x="32" y="14"/>
                  </a:lnTo>
                  <a:lnTo>
                    <a:pt x="29" y="15"/>
                  </a:lnTo>
                  <a:lnTo>
                    <a:pt x="0" y="63"/>
                  </a:lnTo>
                  <a:lnTo>
                    <a:pt x="0" y="71"/>
                  </a:lnTo>
                  <a:lnTo>
                    <a:pt x="5" y="7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0" name="Freeform 178"/>
            <p:cNvSpPr>
              <a:spLocks/>
            </p:cNvSpPr>
            <p:nvPr/>
          </p:nvSpPr>
          <p:spPr bwMode="auto">
            <a:xfrm>
              <a:off x="4863928" y="3234356"/>
              <a:ext cx="103581" cy="79781"/>
            </a:xfrm>
            <a:custGeom>
              <a:avLst/>
              <a:gdLst>
                <a:gd name="T0" fmla="*/ 1 w 87"/>
                <a:gd name="T1" fmla="*/ 9 h 81"/>
                <a:gd name="T2" fmla="*/ 1 w 87"/>
                <a:gd name="T3" fmla="*/ 9 h 81"/>
                <a:gd name="T4" fmla="*/ 1 w 87"/>
                <a:gd name="T5" fmla="*/ 8 h 81"/>
                <a:gd name="T6" fmla="*/ 2 w 87"/>
                <a:gd name="T7" fmla="*/ 7 h 81"/>
                <a:gd name="T8" fmla="*/ 2 w 87"/>
                <a:gd name="T9" fmla="*/ 7 h 81"/>
                <a:gd name="T10" fmla="*/ 3 w 87"/>
                <a:gd name="T11" fmla="*/ 8 h 81"/>
                <a:gd name="T12" fmla="*/ 4 w 87"/>
                <a:gd name="T13" fmla="*/ 9 h 81"/>
                <a:gd name="T14" fmla="*/ 4 w 87"/>
                <a:gd name="T15" fmla="*/ 10 h 81"/>
                <a:gd name="T16" fmla="*/ 5 w 87"/>
                <a:gd name="T17" fmla="*/ 9 h 81"/>
                <a:gd name="T18" fmla="*/ 5 w 87"/>
                <a:gd name="T19" fmla="*/ 9 h 81"/>
                <a:gd name="T20" fmla="*/ 6 w 87"/>
                <a:gd name="T21" fmla="*/ 9 h 81"/>
                <a:gd name="T22" fmla="*/ 7 w 87"/>
                <a:gd name="T23" fmla="*/ 8 h 81"/>
                <a:gd name="T24" fmla="*/ 7 w 87"/>
                <a:gd name="T25" fmla="*/ 7 h 81"/>
                <a:gd name="T26" fmla="*/ 7 w 87"/>
                <a:gd name="T27" fmla="*/ 7 h 81"/>
                <a:gd name="T28" fmla="*/ 8 w 87"/>
                <a:gd name="T29" fmla="*/ 7 h 81"/>
                <a:gd name="T30" fmla="*/ 9 w 87"/>
                <a:gd name="T31" fmla="*/ 7 h 81"/>
                <a:gd name="T32" fmla="*/ 11 w 87"/>
                <a:gd name="T33" fmla="*/ 7 h 81"/>
                <a:gd name="T34" fmla="*/ 11 w 87"/>
                <a:gd name="T35" fmla="*/ 7 h 81"/>
                <a:gd name="T36" fmla="*/ 11 w 87"/>
                <a:gd name="T37" fmla="*/ 7 h 81"/>
                <a:gd name="T38" fmla="*/ 12 w 87"/>
                <a:gd name="T39" fmla="*/ 7 h 81"/>
                <a:gd name="T40" fmla="*/ 12 w 87"/>
                <a:gd name="T41" fmla="*/ 7 h 81"/>
                <a:gd name="T42" fmla="*/ 13 w 87"/>
                <a:gd name="T43" fmla="*/ 6 h 81"/>
                <a:gd name="T44" fmla="*/ 14 w 87"/>
                <a:gd name="T45" fmla="*/ 5 h 81"/>
                <a:gd name="T46" fmla="*/ 11 w 87"/>
                <a:gd name="T47" fmla="*/ 0 h 81"/>
                <a:gd name="T48" fmla="*/ 10 w 87"/>
                <a:gd name="T49" fmla="*/ 1 h 81"/>
                <a:gd name="T50" fmla="*/ 9 w 87"/>
                <a:gd name="T51" fmla="*/ 1 h 81"/>
                <a:gd name="T52" fmla="*/ 9 w 87"/>
                <a:gd name="T53" fmla="*/ 1 h 81"/>
                <a:gd name="T54" fmla="*/ 8 w 87"/>
                <a:gd name="T55" fmla="*/ 2 h 81"/>
                <a:gd name="T56" fmla="*/ 6 w 87"/>
                <a:gd name="T57" fmla="*/ 2 h 81"/>
                <a:gd name="T58" fmla="*/ 5 w 87"/>
                <a:gd name="T59" fmla="*/ 2 h 81"/>
                <a:gd name="T60" fmla="*/ 5 w 87"/>
                <a:gd name="T61" fmla="*/ 2 h 81"/>
                <a:gd name="T62" fmla="*/ 5 w 87"/>
                <a:gd name="T63" fmla="*/ 2 h 81"/>
                <a:gd name="T64" fmla="*/ 0 w 87"/>
                <a:gd name="T65" fmla="*/ 7 h 81"/>
                <a:gd name="T66" fmla="*/ 0 w 87"/>
                <a:gd name="T67" fmla="*/ 8 h 81"/>
                <a:gd name="T68" fmla="*/ 1 w 87"/>
                <a:gd name="T69" fmla="*/ 9 h 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87"/>
                <a:gd name="T106" fmla="*/ 0 h 81"/>
                <a:gd name="T107" fmla="*/ 87 w 87"/>
                <a:gd name="T108" fmla="*/ 81 h 8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87" h="81">
                  <a:moveTo>
                    <a:pt x="5" y="78"/>
                  </a:moveTo>
                  <a:lnTo>
                    <a:pt x="7" y="78"/>
                  </a:lnTo>
                  <a:lnTo>
                    <a:pt x="7" y="70"/>
                  </a:lnTo>
                  <a:lnTo>
                    <a:pt x="11" y="67"/>
                  </a:lnTo>
                  <a:lnTo>
                    <a:pt x="15" y="67"/>
                  </a:lnTo>
                  <a:lnTo>
                    <a:pt x="16" y="68"/>
                  </a:lnTo>
                  <a:lnTo>
                    <a:pt x="22" y="80"/>
                  </a:lnTo>
                  <a:lnTo>
                    <a:pt x="24" y="81"/>
                  </a:lnTo>
                  <a:lnTo>
                    <a:pt x="29" y="80"/>
                  </a:lnTo>
                  <a:lnTo>
                    <a:pt x="33" y="78"/>
                  </a:lnTo>
                  <a:lnTo>
                    <a:pt x="40" y="78"/>
                  </a:lnTo>
                  <a:lnTo>
                    <a:pt x="43" y="73"/>
                  </a:lnTo>
                  <a:lnTo>
                    <a:pt x="43" y="66"/>
                  </a:lnTo>
                  <a:lnTo>
                    <a:pt x="44" y="64"/>
                  </a:lnTo>
                  <a:lnTo>
                    <a:pt x="46" y="62"/>
                  </a:lnTo>
                  <a:lnTo>
                    <a:pt x="54" y="63"/>
                  </a:lnTo>
                  <a:lnTo>
                    <a:pt x="65" y="59"/>
                  </a:lnTo>
                  <a:lnTo>
                    <a:pt x="68" y="59"/>
                  </a:lnTo>
                  <a:lnTo>
                    <a:pt x="69" y="60"/>
                  </a:lnTo>
                  <a:lnTo>
                    <a:pt x="73" y="60"/>
                  </a:lnTo>
                  <a:lnTo>
                    <a:pt x="75" y="63"/>
                  </a:lnTo>
                  <a:lnTo>
                    <a:pt x="84" y="51"/>
                  </a:lnTo>
                  <a:lnTo>
                    <a:pt x="87" y="42"/>
                  </a:lnTo>
                  <a:lnTo>
                    <a:pt x="66" y="0"/>
                  </a:lnTo>
                  <a:lnTo>
                    <a:pt x="62" y="3"/>
                  </a:lnTo>
                  <a:lnTo>
                    <a:pt x="56" y="5"/>
                  </a:lnTo>
                  <a:lnTo>
                    <a:pt x="53" y="7"/>
                  </a:lnTo>
                  <a:lnTo>
                    <a:pt x="48" y="17"/>
                  </a:lnTo>
                  <a:lnTo>
                    <a:pt x="41" y="18"/>
                  </a:lnTo>
                  <a:lnTo>
                    <a:pt x="35" y="16"/>
                  </a:lnTo>
                  <a:lnTo>
                    <a:pt x="32" y="14"/>
                  </a:lnTo>
                  <a:lnTo>
                    <a:pt x="29" y="15"/>
                  </a:lnTo>
                  <a:lnTo>
                    <a:pt x="0" y="63"/>
                  </a:lnTo>
                  <a:lnTo>
                    <a:pt x="0" y="71"/>
                  </a:lnTo>
                  <a:lnTo>
                    <a:pt x="5" y="7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1" name="Freeform 179"/>
            <p:cNvSpPr>
              <a:spLocks/>
            </p:cNvSpPr>
            <p:nvPr/>
          </p:nvSpPr>
          <p:spPr bwMode="auto">
            <a:xfrm>
              <a:off x="2335312" y="1905917"/>
              <a:ext cx="664142" cy="602993"/>
            </a:xfrm>
            <a:custGeom>
              <a:avLst/>
              <a:gdLst>
                <a:gd name="T0" fmla="*/ 2 w 553"/>
                <a:gd name="T1" fmla="*/ 34 h 607"/>
                <a:gd name="T2" fmla="*/ 1 w 553"/>
                <a:gd name="T3" fmla="*/ 36 h 607"/>
                <a:gd name="T4" fmla="*/ 0 w 553"/>
                <a:gd name="T5" fmla="*/ 37 h 607"/>
                <a:gd name="T6" fmla="*/ 1 w 553"/>
                <a:gd name="T7" fmla="*/ 37 h 607"/>
                <a:gd name="T8" fmla="*/ 3 w 553"/>
                <a:gd name="T9" fmla="*/ 39 h 607"/>
                <a:gd name="T10" fmla="*/ 5 w 553"/>
                <a:gd name="T11" fmla="*/ 39 h 607"/>
                <a:gd name="T12" fmla="*/ 6 w 553"/>
                <a:gd name="T13" fmla="*/ 43 h 607"/>
                <a:gd name="T14" fmla="*/ 5 w 553"/>
                <a:gd name="T15" fmla="*/ 46 h 607"/>
                <a:gd name="T16" fmla="*/ 4 w 553"/>
                <a:gd name="T17" fmla="*/ 46 h 607"/>
                <a:gd name="T18" fmla="*/ 7 w 553"/>
                <a:gd name="T19" fmla="*/ 56 h 607"/>
                <a:gd name="T20" fmla="*/ 4 w 553"/>
                <a:gd name="T21" fmla="*/ 65 h 607"/>
                <a:gd name="T22" fmla="*/ 5 w 553"/>
                <a:gd name="T23" fmla="*/ 63 h 607"/>
                <a:gd name="T24" fmla="*/ 6 w 553"/>
                <a:gd name="T25" fmla="*/ 62 h 607"/>
                <a:gd name="T26" fmla="*/ 10 w 553"/>
                <a:gd name="T27" fmla="*/ 63 h 607"/>
                <a:gd name="T28" fmla="*/ 11 w 553"/>
                <a:gd name="T29" fmla="*/ 62 h 607"/>
                <a:gd name="T30" fmla="*/ 14 w 553"/>
                <a:gd name="T31" fmla="*/ 62 h 607"/>
                <a:gd name="T32" fmla="*/ 14 w 553"/>
                <a:gd name="T33" fmla="*/ 62 h 607"/>
                <a:gd name="T34" fmla="*/ 15 w 553"/>
                <a:gd name="T35" fmla="*/ 62 h 607"/>
                <a:gd name="T36" fmla="*/ 19 w 553"/>
                <a:gd name="T37" fmla="*/ 62 h 607"/>
                <a:gd name="T38" fmla="*/ 20 w 553"/>
                <a:gd name="T39" fmla="*/ 62 h 607"/>
                <a:gd name="T40" fmla="*/ 21 w 553"/>
                <a:gd name="T41" fmla="*/ 62 h 607"/>
                <a:gd name="T42" fmla="*/ 23 w 553"/>
                <a:gd name="T43" fmla="*/ 64 h 607"/>
                <a:gd name="T44" fmla="*/ 25 w 553"/>
                <a:gd name="T45" fmla="*/ 64 h 607"/>
                <a:gd name="T46" fmla="*/ 26 w 553"/>
                <a:gd name="T47" fmla="*/ 65 h 607"/>
                <a:gd name="T48" fmla="*/ 27 w 553"/>
                <a:gd name="T49" fmla="*/ 64 h 607"/>
                <a:gd name="T50" fmla="*/ 29 w 553"/>
                <a:gd name="T51" fmla="*/ 67 h 607"/>
                <a:gd name="T52" fmla="*/ 30 w 553"/>
                <a:gd name="T53" fmla="*/ 68 h 607"/>
                <a:gd name="T54" fmla="*/ 31 w 553"/>
                <a:gd name="T55" fmla="*/ 68 h 607"/>
                <a:gd name="T56" fmla="*/ 31 w 553"/>
                <a:gd name="T57" fmla="*/ 68 h 607"/>
                <a:gd name="T58" fmla="*/ 32 w 553"/>
                <a:gd name="T59" fmla="*/ 69 h 607"/>
                <a:gd name="T60" fmla="*/ 32 w 553"/>
                <a:gd name="T61" fmla="*/ 70 h 607"/>
                <a:gd name="T62" fmla="*/ 33 w 553"/>
                <a:gd name="T63" fmla="*/ 70 h 607"/>
                <a:gd name="T64" fmla="*/ 33 w 553"/>
                <a:gd name="T65" fmla="*/ 70 h 607"/>
                <a:gd name="T66" fmla="*/ 35 w 553"/>
                <a:gd name="T67" fmla="*/ 71 h 607"/>
                <a:gd name="T68" fmla="*/ 35 w 553"/>
                <a:gd name="T69" fmla="*/ 71 h 607"/>
                <a:gd name="T70" fmla="*/ 36 w 553"/>
                <a:gd name="T71" fmla="*/ 72 h 607"/>
                <a:gd name="T72" fmla="*/ 40 w 553"/>
                <a:gd name="T73" fmla="*/ 70 h 607"/>
                <a:gd name="T74" fmla="*/ 43 w 553"/>
                <a:gd name="T75" fmla="*/ 66 h 607"/>
                <a:gd name="T76" fmla="*/ 44 w 553"/>
                <a:gd name="T77" fmla="*/ 66 h 607"/>
                <a:gd name="T78" fmla="*/ 45 w 553"/>
                <a:gd name="T79" fmla="*/ 66 h 607"/>
                <a:gd name="T80" fmla="*/ 49 w 553"/>
                <a:gd name="T81" fmla="*/ 70 h 607"/>
                <a:gd name="T82" fmla="*/ 88 w 553"/>
                <a:gd name="T83" fmla="*/ 69 h 607"/>
                <a:gd name="T84" fmla="*/ 87 w 553"/>
                <a:gd name="T85" fmla="*/ 63 h 607"/>
                <a:gd name="T86" fmla="*/ 93 w 553"/>
                <a:gd name="T87" fmla="*/ 13 h 607"/>
                <a:gd name="T88" fmla="*/ 65 w 553"/>
                <a:gd name="T89" fmla="*/ 7 h 607"/>
                <a:gd name="T90" fmla="*/ 40 w 553"/>
                <a:gd name="T91" fmla="*/ 22 h 607"/>
                <a:gd name="T92" fmla="*/ 32 w 553"/>
                <a:gd name="T93" fmla="*/ 24 h 607"/>
                <a:gd name="T94" fmla="*/ 31 w 553"/>
                <a:gd name="T95" fmla="*/ 34 h 60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3"/>
                <a:gd name="T145" fmla="*/ 0 h 607"/>
                <a:gd name="T146" fmla="*/ 553 w 553"/>
                <a:gd name="T147" fmla="*/ 607 h 60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3" h="607">
                  <a:moveTo>
                    <a:pt x="165" y="288"/>
                  </a:moveTo>
                  <a:lnTo>
                    <a:pt x="14" y="288"/>
                  </a:lnTo>
                  <a:lnTo>
                    <a:pt x="12" y="294"/>
                  </a:lnTo>
                  <a:lnTo>
                    <a:pt x="2" y="304"/>
                  </a:lnTo>
                  <a:lnTo>
                    <a:pt x="4" y="303"/>
                  </a:lnTo>
                  <a:lnTo>
                    <a:pt x="0" y="307"/>
                  </a:lnTo>
                  <a:lnTo>
                    <a:pt x="1" y="308"/>
                  </a:lnTo>
                  <a:lnTo>
                    <a:pt x="1" y="307"/>
                  </a:lnTo>
                  <a:lnTo>
                    <a:pt x="9" y="304"/>
                  </a:lnTo>
                  <a:lnTo>
                    <a:pt x="19" y="326"/>
                  </a:lnTo>
                  <a:lnTo>
                    <a:pt x="20" y="327"/>
                  </a:lnTo>
                  <a:lnTo>
                    <a:pt x="27" y="326"/>
                  </a:lnTo>
                  <a:lnTo>
                    <a:pt x="35" y="345"/>
                  </a:lnTo>
                  <a:lnTo>
                    <a:pt x="35" y="365"/>
                  </a:lnTo>
                  <a:lnTo>
                    <a:pt x="30" y="379"/>
                  </a:lnTo>
                  <a:lnTo>
                    <a:pt x="28" y="382"/>
                  </a:lnTo>
                  <a:lnTo>
                    <a:pt x="25" y="383"/>
                  </a:lnTo>
                  <a:lnTo>
                    <a:pt x="23" y="387"/>
                  </a:lnTo>
                  <a:lnTo>
                    <a:pt x="38" y="407"/>
                  </a:lnTo>
                  <a:lnTo>
                    <a:pt x="43" y="469"/>
                  </a:lnTo>
                  <a:lnTo>
                    <a:pt x="20" y="543"/>
                  </a:lnTo>
                  <a:lnTo>
                    <a:pt x="22" y="543"/>
                  </a:lnTo>
                  <a:lnTo>
                    <a:pt x="28" y="533"/>
                  </a:lnTo>
                  <a:lnTo>
                    <a:pt x="31" y="523"/>
                  </a:lnTo>
                  <a:lnTo>
                    <a:pt x="34" y="523"/>
                  </a:lnTo>
                  <a:lnTo>
                    <a:pt x="36" y="522"/>
                  </a:lnTo>
                  <a:lnTo>
                    <a:pt x="50" y="522"/>
                  </a:lnTo>
                  <a:lnTo>
                    <a:pt x="58" y="525"/>
                  </a:lnTo>
                  <a:lnTo>
                    <a:pt x="64" y="523"/>
                  </a:lnTo>
                  <a:lnTo>
                    <a:pt x="66" y="522"/>
                  </a:lnTo>
                  <a:lnTo>
                    <a:pt x="75" y="520"/>
                  </a:lnTo>
                  <a:lnTo>
                    <a:pt x="83" y="520"/>
                  </a:lnTo>
                  <a:lnTo>
                    <a:pt x="84" y="520"/>
                  </a:lnTo>
                  <a:lnTo>
                    <a:pt x="85" y="517"/>
                  </a:lnTo>
                  <a:lnTo>
                    <a:pt x="86" y="516"/>
                  </a:lnTo>
                  <a:lnTo>
                    <a:pt x="91" y="517"/>
                  </a:lnTo>
                  <a:lnTo>
                    <a:pt x="94" y="516"/>
                  </a:lnTo>
                  <a:lnTo>
                    <a:pt x="112" y="518"/>
                  </a:lnTo>
                  <a:lnTo>
                    <a:pt x="115" y="518"/>
                  </a:lnTo>
                  <a:lnTo>
                    <a:pt x="119" y="517"/>
                  </a:lnTo>
                  <a:lnTo>
                    <a:pt x="121" y="522"/>
                  </a:lnTo>
                  <a:lnTo>
                    <a:pt x="126" y="522"/>
                  </a:lnTo>
                  <a:lnTo>
                    <a:pt x="134" y="530"/>
                  </a:lnTo>
                  <a:lnTo>
                    <a:pt x="136" y="535"/>
                  </a:lnTo>
                  <a:lnTo>
                    <a:pt x="142" y="541"/>
                  </a:lnTo>
                  <a:lnTo>
                    <a:pt x="151" y="538"/>
                  </a:lnTo>
                  <a:lnTo>
                    <a:pt x="151" y="543"/>
                  </a:lnTo>
                  <a:lnTo>
                    <a:pt x="154" y="543"/>
                  </a:lnTo>
                  <a:lnTo>
                    <a:pt x="158" y="541"/>
                  </a:lnTo>
                  <a:lnTo>
                    <a:pt x="160" y="541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75" y="565"/>
                  </a:lnTo>
                  <a:lnTo>
                    <a:pt x="177" y="568"/>
                  </a:lnTo>
                  <a:lnTo>
                    <a:pt x="179" y="571"/>
                  </a:lnTo>
                  <a:lnTo>
                    <a:pt x="181" y="572"/>
                  </a:lnTo>
                  <a:lnTo>
                    <a:pt x="184" y="570"/>
                  </a:lnTo>
                  <a:lnTo>
                    <a:pt x="186" y="578"/>
                  </a:lnTo>
                  <a:lnTo>
                    <a:pt x="189" y="578"/>
                  </a:lnTo>
                  <a:lnTo>
                    <a:pt x="190" y="581"/>
                  </a:lnTo>
                  <a:lnTo>
                    <a:pt x="188" y="582"/>
                  </a:lnTo>
                  <a:lnTo>
                    <a:pt x="188" y="583"/>
                  </a:lnTo>
                  <a:lnTo>
                    <a:pt x="192" y="584"/>
                  </a:lnTo>
                  <a:lnTo>
                    <a:pt x="193" y="587"/>
                  </a:lnTo>
                  <a:lnTo>
                    <a:pt x="197" y="589"/>
                  </a:lnTo>
                  <a:lnTo>
                    <a:pt x="200" y="589"/>
                  </a:lnTo>
                  <a:lnTo>
                    <a:pt x="205" y="591"/>
                  </a:lnTo>
                  <a:lnTo>
                    <a:pt x="207" y="594"/>
                  </a:lnTo>
                  <a:lnTo>
                    <a:pt x="208" y="598"/>
                  </a:lnTo>
                  <a:lnTo>
                    <a:pt x="209" y="600"/>
                  </a:lnTo>
                  <a:lnTo>
                    <a:pt x="215" y="601"/>
                  </a:lnTo>
                  <a:lnTo>
                    <a:pt x="221" y="607"/>
                  </a:lnTo>
                  <a:lnTo>
                    <a:pt x="239" y="588"/>
                  </a:lnTo>
                  <a:lnTo>
                    <a:pt x="253" y="554"/>
                  </a:lnTo>
                  <a:lnTo>
                    <a:pt x="255" y="554"/>
                  </a:lnTo>
                  <a:lnTo>
                    <a:pt x="258" y="554"/>
                  </a:lnTo>
                  <a:lnTo>
                    <a:pt x="258" y="555"/>
                  </a:lnTo>
                  <a:lnTo>
                    <a:pt x="263" y="556"/>
                  </a:lnTo>
                  <a:lnTo>
                    <a:pt x="266" y="558"/>
                  </a:lnTo>
                  <a:lnTo>
                    <a:pt x="278" y="586"/>
                  </a:lnTo>
                  <a:lnTo>
                    <a:pt x="293" y="588"/>
                  </a:lnTo>
                  <a:lnTo>
                    <a:pt x="315" y="570"/>
                  </a:lnTo>
                  <a:lnTo>
                    <a:pt x="523" y="574"/>
                  </a:lnTo>
                  <a:lnTo>
                    <a:pt x="534" y="534"/>
                  </a:lnTo>
                  <a:lnTo>
                    <a:pt x="515" y="529"/>
                  </a:lnTo>
                  <a:lnTo>
                    <a:pt x="473" y="110"/>
                  </a:lnTo>
                  <a:lnTo>
                    <a:pt x="553" y="110"/>
                  </a:lnTo>
                  <a:lnTo>
                    <a:pt x="384" y="0"/>
                  </a:lnTo>
                  <a:lnTo>
                    <a:pt x="384" y="57"/>
                  </a:lnTo>
                  <a:lnTo>
                    <a:pt x="236" y="57"/>
                  </a:lnTo>
                  <a:lnTo>
                    <a:pt x="236" y="184"/>
                  </a:lnTo>
                  <a:lnTo>
                    <a:pt x="192" y="196"/>
                  </a:lnTo>
                  <a:lnTo>
                    <a:pt x="188" y="199"/>
                  </a:lnTo>
                  <a:lnTo>
                    <a:pt x="180" y="212"/>
                  </a:lnTo>
                  <a:lnTo>
                    <a:pt x="186" y="288"/>
                  </a:lnTo>
                  <a:lnTo>
                    <a:pt x="165" y="288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2" name="Freeform 180"/>
            <p:cNvSpPr>
              <a:spLocks/>
            </p:cNvSpPr>
            <p:nvPr/>
          </p:nvSpPr>
          <p:spPr bwMode="auto">
            <a:xfrm>
              <a:off x="2335312" y="1905917"/>
              <a:ext cx="664142" cy="602993"/>
            </a:xfrm>
            <a:custGeom>
              <a:avLst/>
              <a:gdLst>
                <a:gd name="T0" fmla="*/ 2 w 553"/>
                <a:gd name="T1" fmla="*/ 34 h 607"/>
                <a:gd name="T2" fmla="*/ 1 w 553"/>
                <a:gd name="T3" fmla="*/ 36 h 607"/>
                <a:gd name="T4" fmla="*/ 0 w 553"/>
                <a:gd name="T5" fmla="*/ 37 h 607"/>
                <a:gd name="T6" fmla="*/ 1 w 553"/>
                <a:gd name="T7" fmla="*/ 37 h 607"/>
                <a:gd name="T8" fmla="*/ 3 w 553"/>
                <a:gd name="T9" fmla="*/ 39 h 607"/>
                <a:gd name="T10" fmla="*/ 5 w 553"/>
                <a:gd name="T11" fmla="*/ 39 h 607"/>
                <a:gd name="T12" fmla="*/ 6 w 553"/>
                <a:gd name="T13" fmla="*/ 43 h 607"/>
                <a:gd name="T14" fmla="*/ 5 w 553"/>
                <a:gd name="T15" fmla="*/ 46 h 607"/>
                <a:gd name="T16" fmla="*/ 4 w 553"/>
                <a:gd name="T17" fmla="*/ 46 h 607"/>
                <a:gd name="T18" fmla="*/ 7 w 553"/>
                <a:gd name="T19" fmla="*/ 56 h 607"/>
                <a:gd name="T20" fmla="*/ 4 w 553"/>
                <a:gd name="T21" fmla="*/ 65 h 607"/>
                <a:gd name="T22" fmla="*/ 5 w 553"/>
                <a:gd name="T23" fmla="*/ 63 h 607"/>
                <a:gd name="T24" fmla="*/ 6 w 553"/>
                <a:gd name="T25" fmla="*/ 62 h 607"/>
                <a:gd name="T26" fmla="*/ 10 w 553"/>
                <a:gd name="T27" fmla="*/ 63 h 607"/>
                <a:gd name="T28" fmla="*/ 11 w 553"/>
                <a:gd name="T29" fmla="*/ 62 h 607"/>
                <a:gd name="T30" fmla="*/ 14 w 553"/>
                <a:gd name="T31" fmla="*/ 62 h 607"/>
                <a:gd name="T32" fmla="*/ 14 w 553"/>
                <a:gd name="T33" fmla="*/ 62 h 607"/>
                <a:gd name="T34" fmla="*/ 15 w 553"/>
                <a:gd name="T35" fmla="*/ 62 h 607"/>
                <a:gd name="T36" fmla="*/ 19 w 553"/>
                <a:gd name="T37" fmla="*/ 62 h 607"/>
                <a:gd name="T38" fmla="*/ 20 w 553"/>
                <a:gd name="T39" fmla="*/ 62 h 607"/>
                <a:gd name="T40" fmla="*/ 21 w 553"/>
                <a:gd name="T41" fmla="*/ 62 h 607"/>
                <a:gd name="T42" fmla="*/ 23 w 553"/>
                <a:gd name="T43" fmla="*/ 64 h 607"/>
                <a:gd name="T44" fmla="*/ 25 w 553"/>
                <a:gd name="T45" fmla="*/ 64 h 607"/>
                <a:gd name="T46" fmla="*/ 26 w 553"/>
                <a:gd name="T47" fmla="*/ 65 h 607"/>
                <a:gd name="T48" fmla="*/ 27 w 553"/>
                <a:gd name="T49" fmla="*/ 64 h 607"/>
                <a:gd name="T50" fmla="*/ 29 w 553"/>
                <a:gd name="T51" fmla="*/ 67 h 607"/>
                <a:gd name="T52" fmla="*/ 30 w 553"/>
                <a:gd name="T53" fmla="*/ 68 h 607"/>
                <a:gd name="T54" fmla="*/ 31 w 553"/>
                <a:gd name="T55" fmla="*/ 68 h 607"/>
                <a:gd name="T56" fmla="*/ 31 w 553"/>
                <a:gd name="T57" fmla="*/ 68 h 607"/>
                <a:gd name="T58" fmla="*/ 32 w 553"/>
                <a:gd name="T59" fmla="*/ 69 h 607"/>
                <a:gd name="T60" fmla="*/ 32 w 553"/>
                <a:gd name="T61" fmla="*/ 70 h 607"/>
                <a:gd name="T62" fmla="*/ 33 w 553"/>
                <a:gd name="T63" fmla="*/ 70 h 607"/>
                <a:gd name="T64" fmla="*/ 33 w 553"/>
                <a:gd name="T65" fmla="*/ 70 h 607"/>
                <a:gd name="T66" fmla="*/ 35 w 553"/>
                <a:gd name="T67" fmla="*/ 71 h 607"/>
                <a:gd name="T68" fmla="*/ 35 w 553"/>
                <a:gd name="T69" fmla="*/ 71 h 607"/>
                <a:gd name="T70" fmla="*/ 36 w 553"/>
                <a:gd name="T71" fmla="*/ 72 h 607"/>
                <a:gd name="T72" fmla="*/ 40 w 553"/>
                <a:gd name="T73" fmla="*/ 70 h 607"/>
                <a:gd name="T74" fmla="*/ 43 w 553"/>
                <a:gd name="T75" fmla="*/ 66 h 607"/>
                <a:gd name="T76" fmla="*/ 44 w 553"/>
                <a:gd name="T77" fmla="*/ 66 h 607"/>
                <a:gd name="T78" fmla="*/ 45 w 553"/>
                <a:gd name="T79" fmla="*/ 66 h 607"/>
                <a:gd name="T80" fmla="*/ 49 w 553"/>
                <a:gd name="T81" fmla="*/ 70 h 607"/>
                <a:gd name="T82" fmla="*/ 88 w 553"/>
                <a:gd name="T83" fmla="*/ 69 h 607"/>
                <a:gd name="T84" fmla="*/ 87 w 553"/>
                <a:gd name="T85" fmla="*/ 63 h 607"/>
                <a:gd name="T86" fmla="*/ 93 w 553"/>
                <a:gd name="T87" fmla="*/ 13 h 607"/>
                <a:gd name="T88" fmla="*/ 65 w 553"/>
                <a:gd name="T89" fmla="*/ 7 h 607"/>
                <a:gd name="T90" fmla="*/ 40 w 553"/>
                <a:gd name="T91" fmla="*/ 22 h 607"/>
                <a:gd name="T92" fmla="*/ 32 w 553"/>
                <a:gd name="T93" fmla="*/ 24 h 607"/>
                <a:gd name="T94" fmla="*/ 31 w 553"/>
                <a:gd name="T95" fmla="*/ 34 h 60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3"/>
                <a:gd name="T145" fmla="*/ 0 h 607"/>
                <a:gd name="T146" fmla="*/ 553 w 553"/>
                <a:gd name="T147" fmla="*/ 607 h 60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3" h="607">
                  <a:moveTo>
                    <a:pt x="165" y="288"/>
                  </a:moveTo>
                  <a:lnTo>
                    <a:pt x="14" y="288"/>
                  </a:lnTo>
                  <a:lnTo>
                    <a:pt x="12" y="294"/>
                  </a:lnTo>
                  <a:lnTo>
                    <a:pt x="2" y="304"/>
                  </a:lnTo>
                  <a:lnTo>
                    <a:pt x="4" y="303"/>
                  </a:lnTo>
                  <a:lnTo>
                    <a:pt x="0" y="307"/>
                  </a:lnTo>
                  <a:lnTo>
                    <a:pt x="1" y="308"/>
                  </a:lnTo>
                  <a:lnTo>
                    <a:pt x="1" y="307"/>
                  </a:lnTo>
                  <a:lnTo>
                    <a:pt x="9" y="304"/>
                  </a:lnTo>
                  <a:lnTo>
                    <a:pt x="19" y="326"/>
                  </a:lnTo>
                  <a:lnTo>
                    <a:pt x="20" y="327"/>
                  </a:lnTo>
                  <a:lnTo>
                    <a:pt x="27" y="326"/>
                  </a:lnTo>
                  <a:lnTo>
                    <a:pt x="35" y="345"/>
                  </a:lnTo>
                  <a:lnTo>
                    <a:pt x="35" y="365"/>
                  </a:lnTo>
                  <a:lnTo>
                    <a:pt x="30" y="379"/>
                  </a:lnTo>
                  <a:lnTo>
                    <a:pt x="28" y="382"/>
                  </a:lnTo>
                  <a:lnTo>
                    <a:pt x="25" y="383"/>
                  </a:lnTo>
                  <a:lnTo>
                    <a:pt x="23" y="387"/>
                  </a:lnTo>
                  <a:lnTo>
                    <a:pt x="38" y="407"/>
                  </a:lnTo>
                  <a:lnTo>
                    <a:pt x="43" y="469"/>
                  </a:lnTo>
                  <a:lnTo>
                    <a:pt x="20" y="543"/>
                  </a:lnTo>
                  <a:lnTo>
                    <a:pt x="22" y="543"/>
                  </a:lnTo>
                  <a:lnTo>
                    <a:pt x="28" y="533"/>
                  </a:lnTo>
                  <a:lnTo>
                    <a:pt x="31" y="523"/>
                  </a:lnTo>
                  <a:lnTo>
                    <a:pt x="34" y="523"/>
                  </a:lnTo>
                  <a:lnTo>
                    <a:pt x="36" y="522"/>
                  </a:lnTo>
                  <a:lnTo>
                    <a:pt x="50" y="522"/>
                  </a:lnTo>
                  <a:lnTo>
                    <a:pt x="58" y="525"/>
                  </a:lnTo>
                  <a:lnTo>
                    <a:pt x="64" y="523"/>
                  </a:lnTo>
                  <a:lnTo>
                    <a:pt x="66" y="522"/>
                  </a:lnTo>
                  <a:lnTo>
                    <a:pt x="75" y="520"/>
                  </a:lnTo>
                  <a:lnTo>
                    <a:pt x="83" y="520"/>
                  </a:lnTo>
                  <a:lnTo>
                    <a:pt x="84" y="520"/>
                  </a:lnTo>
                  <a:lnTo>
                    <a:pt x="85" y="517"/>
                  </a:lnTo>
                  <a:lnTo>
                    <a:pt x="86" y="516"/>
                  </a:lnTo>
                  <a:lnTo>
                    <a:pt x="91" y="517"/>
                  </a:lnTo>
                  <a:lnTo>
                    <a:pt x="94" y="516"/>
                  </a:lnTo>
                  <a:lnTo>
                    <a:pt x="112" y="518"/>
                  </a:lnTo>
                  <a:lnTo>
                    <a:pt x="115" y="518"/>
                  </a:lnTo>
                  <a:lnTo>
                    <a:pt x="119" y="517"/>
                  </a:lnTo>
                  <a:lnTo>
                    <a:pt x="121" y="522"/>
                  </a:lnTo>
                  <a:lnTo>
                    <a:pt x="126" y="522"/>
                  </a:lnTo>
                  <a:lnTo>
                    <a:pt x="134" y="530"/>
                  </a:lnTo>
                  <a:lnTo>
                    <a:pt x="136" y="535"/>
                  </a:lnTo>
                  <a:lnTo>
                    <a:pt x="142" y="541"/>
                  </a:lnTo>
                  <a:lnTo>
                    <a:pt x="151" y="538"/>
                  </a:lnTo>
                  <a:lnTo>
                    <a:pt x="151" y="543"/>
                  </a:lnTo>
                  <a:lnTo>
                    <a:pt x="154" y="543"/>
                  </a:lnTo>
                  <a:lnTo>
                    <a:pt x="158" y="541"/>
                  </a:lnTo>
                  <a:lnTo>
                    <a:pt x="160" y="541"/>
                  </a:lnTo>
                  <a:lnTo>
                    <a:pt x="172" y="560"/>
                  </a:lnTo>
                  <a:lnTo>
                    <a:pt x="171" y="563"/>
                  </a:lnTo>
                  <a:lnTo>
                    <a:pt x="175" y="565"/>
                  </a:lnTo>
                  <a:lnTo>
                    <a:pt x="177" y="568"/>
                  </a:lnTo>
                  <a:lnTo>
                    <a:pt x="179" y="571"/>
                  </a:lnTo>
                  <a:lnTo>
                    <a:pt x="181" y="572"/>
                  </a:lnTo>
                  <a:lnTo>
                    <a:pt x="184" y="570"/>
                  </a:lnTo>
                  <a:lnTo>
                    <a:pt x="186" y="578"/>
                  </a:lnTo>
                  <a:lnTo>
                    <a:pt x="189" y="578"/>
                  </a:lnTo>
                  <a:lnTo>
                    <a:pt x="190" y="581"/>
                  </a:lnTo>
                  <a:lnTo>
                    <a:pt x="188" y="582"/>
                  </a:lnTo>
                  <a:lnTo>
                    <a:pt x="188" y="583"/>
                  </a:lnTo>
                  <a:lnTo>
                    <a:pt x="192" y="584"/>
                  </a:lnTo>
                  <a:lnTo>
                    <a:pt x="193" y="587"/>
                  </a:lnTo>
                  <a:lnTo>
                    <a:pt x="197" y="589"/>
                  </a:lnTo>
                  <a:lnTo>
                    <a:pt x="200" y="589"/>
                  </a:lnTo>
                  <a:lnTo>
                    <a:pt x="205" y="591"/>
                  </a:lnTo>
                  <a:lnTo>
                    <a:pt x="207" y="594"/>
                  </a:lnTo>
                  <a:lnTo>
                    <a:pt x="208" y="598"/>
                  </a:lnTo>
                  <a:lnTo>
                    <a:pt x="209" y="600"/>
                  </a:lnTo>
                  <a:lnTo>
                    <a:pt x="215" y="601"/>
                  </a:lnTo>
                  <a:lnTo>
                    <a:pt x="221" y="607"/>
                  </a:lnTo>
                  <a:lnTo>
                    <a:pt x="239" y="588"/>
                  </a:lnTo>
                  <a:lnTo>
                    <a:pt x="253" y="554"/>
                  </a:lnTo>
                  <a:lnTo>
                    <a:pt x="255" y="554"/>
                  </a:lnTo>
                  <a:lnTo>
                    <a:pt x="258" y="554"/>
                  </a:lnTo>
                  <a:lnTo>
                    <a:pt x="258" y="555"/>
                  </a:lnTo>
                  <a:lnTo>
                    <a:pt x="263" y="556"/>
                  </a:lnTo>
                  <a:lnTo>
                    <a:pt x="266" y="558"/>
                  </a:lnTo>
                  <a:lnTo>
                    <a:pt x="278" y="586"/>
                  </a:lnTo>
                  <a:lnTo>
                    <a:pt x="293" y="588"/>
                  </a:lnTo>
                  <a:lnTo>
                    <a:pt x="315" y="570"/>
                  </a:lnTo>
                  <a:lnTo>
                    <a:pt x="523" y="574"/>
                  </a:lnTo>
                  <a:lnTo>
                    <a:pt x="534" y="534"/>
                  </a:lnTo>
                  <a:lnTo>
                    <a:pt x="515" y="529"/>
                  </a:lnTo>
                  <a:lnTo>
                    <a:pt x="473" y="110"/>
                  </a:lnTo>
                  <a:lnTo>
                    <a:pt x="553" y="110"/>
                  </a:lnTo>
                  <a:lnTo>
                    <a:pt x="384" y="0"/>
                  </a:lnTo>
                  <a:lnTo>
                    <a:pt x="384" y="57"/>
                  </a:lnTo>
                  <a:lnTo>
                    <a:pt x="236" y="57"/>
                  </a:lnTo>
                  <a:lnTo>
                    <a:pt x="236" y="184"/>
                  </a:lnTo>
                  <a:lnTo>
                    <a:pt x="192" y="196"/>
                  </a:lnTo>
                  <a:lnTo>
                    <a:pt x="188" y="199"/>
                  </a:lnTo>
                  <a:lnTo>
                    <a:pt x="180" y="212"/>
                  </a:lnTo>
                  <a:lnTo>
                    <a:pt x="186" y="288"/>
                  </a:lnTo>
                  <a:lnTo>
                    <a:pt x="165" y="28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3" name="Freeform 181"/>
            <p:cNvSpPr>
              <a:spLocks/>
            </p:cNvSpPr>
            <p:nvPr/>
          </p:nvSpPr>
          <p:spPr bwMode="auto">
            <a:xfrm>
              <a:off x="4473973" y="3562756"/>
              <a:ext cx="641801" cy="458275"/>
            </a:xfrm>
            <a:custGeom>
              <a:avLst/>
              <a:gdLst>
                <a:gd name="T0" fmla="*/ 17 w 535"/>
                <a:gd name="T1" fmla="*/ 26 h 462"/>
                <a:gd name="T2" fmla="*/ 15 w 535"/>
                <a:gd name="T3" fmla="*/ 26 h 462"/>
                <a:gd name="T4" fmla="*/ 16 w 535"/>
                <a:gd name="T5" fmla="*/ 16 h 462"/>
                <a:gd name="T6" fmla="*/ 15 w 535"/>
                <a:gd name="T7" fmla="*/ 14 h 462"/>
                <a:gd name="T8" fmla="*/ 18 w 535"/>
                <a:gd name="T9" fmla="*/ 16 h 462"/>
                <a:gd name="T10" fmla="*/ 19 w 535"/>
                <a:gd name="T11" fmla="*/ 17 h 462"/>
                <a:gd name="T12" fmla="*/ 24 w 535"/>
                <a:gd name="T13" fmla="*/ 16 h 462"/>
                <a:gd name="T14" fmla="*/ 26 w 535"/>
                <a:gd name="T15" fmla="*/ 18 h 462"/>
                <a:gd name="T16" fmla="*/ 38 w 535"/>
                <a:gd name="T17" fmla="*/ 19 h 462"/>
                <a:gd name="T18" fmla="*/ 45 w 535"/>
                <a:gd name="T19" fmla="*/ 22 h 462"/>
                <a:gd name="T20" fmla="*/ 49 w 535"/>
                <a:gd name="T21" fmla="*/ 25 h 462"/>
                <a:gd name="T22" fmla="*/ 56 w 535"/>
                <a:gd name="T23" fmla="*/ 28 h 462"/>
                <a:gd name="T24" fmla="*/ 58 w 535"/>
                <a:gd name="T25" fmla="*/ 28 h 462"/>
                <a:gd name="T26" fmla="*/ 60 w 535"/>
                <a:gd name="T27" fmla="*/ 28 h 462"/>
                <a:gd name="T28" fmla="*/ 58 w 535"/>
                <a:gd name="T29" fmla="*/ 22 h 462"/>
                <a:gd name="T30" fmla="*/ 53 w 535"/>
                <a:gd name="T31" fmla="*/ 22 h 462"/>
                <a:gd name="T32" fmla="*/ 53 w 535"/>
                <a:gd name="T33" fmla="*/ 10 h 462"/>
                <a:gd name="T34" fmla="*/ 55 w 535"/>
                <a:gd name="T35" fmla="*/ 2 h 462"/>
                <a:gd name="T36" fmla="*/ 66 w 535"/>
                <a:gd name="T37" fmla="*/ 2 h 462"/>
                <a:gd name="T38" fmla="*/ 68 w 535"/>
                <a:gd name="T39" fmla="*/ 3 h 462"/>
                <a:gd name="T40" fmla="*/ 71 w 535"/>
                <a:gd name="T41" fmla="*/ 2 h 462"/>
                <a:gd name="T42" fmla="*/ 84 w 535"/>
                <a:gd name="T43" fmla="*/ 6 h 462"/>
                <a:gd name="T44" fmla="*/ 84 w 535"/>
                <a:gd name="T45" fmla="*/ 7 h 462"/>
                <a:gd name="T46" fmla="*/ 85 w 535"/>
                <a:gd name="T47" fmla="*/ 8 h 462"/>
                <a:gd name="T48" fmla="*/ 87 w 535"/>
                <a:gd name="T49" fmla="*/ 11 h 462"/>
                <a:gd name="T50" fmla="*/ 89 w 535"/>
                <a:gd name="T51" fmla="*/ 13 h 462"/>
                <a:gd name="T52" fmla="*/ 88 w 535"/>
                <a:gd name="T53" fmla="*/ 14 h 462"/>
                <a:gd name="T54" fmla="*/ 87 w 535"/>
                <a:gd name="T55" fmla="*/ 17 h 462"/>
                <a:gd name="T56" fmla="*/ 87 w 535"/>
                <a:gd name="T57" fmla="*/ 23 h 462"/>
                <a:gd name="T58" fmla="*/ 88 w 535"/>
                <a:gd name="T59" fmla="*/ 24 h 462"/>
                <a:gd name="T60" fmla="*/ 85 w 535"/>
                <a:gd name="T61" fmla="*/ 25 h 462"/>
                <a:gd name="T62" fmla="*/ 83 w 535"/>
                <a:gd name="T63" fmla="*/ 30 h 462"/>
                <a:gd name="T64" fmla="*/ 84 w 535"/>
                <a:gd name="T65" fmla="*/ 32 h 462"/>
                <a:gd name="T66" fmla="*/ 86 w 535"/>
                <a:gd name="T67" fmla="*/ 32 h 462"/>
                <a:gd name="T68" fmla="*/ 63 w 535"/>
                <a:gd name="T69" fmla="*/ 41 h 462"/>
                <a:gd name="T70" fmla="*/ 62 w 535"/>
                <a:gd name="T71" fmla="*/ 41 h 462"/>
                <a:gd name="T72" fmla="*/ 59 w 535"/>
                <a:gd name="T73" fmla="*/ 41 h 462"/>
                <a:gd name="T74" fmla="*/ 55 w 535"/>
                <a:gd name="T75" fmla="*/ 42 h 462"/>
                <a:gd name="T76" fmla="*/ 51 w 535"/>
                <a:gd name="T77" fmla="*/ 43 h 462"/>
                <a:gd name="T78" fmla="*/ 47 w 535"/>
                <a:gd name="T79" fmla="*/ 47 h 462"/>
                <a:gd name="T80" fmla="*/ 45 w 535"/>
                <a:gd name="T81" fmla="*/ 48 h 462"/>
                <a:gd name="T82" fmla="*/ 43 w 535"/>
                <a:gd name="T83" fmla="*/ 48 h 462"/>
                <a:gd name="T84" fmla="*/ 41 w 535"/>
                <a:gd name="T85" fmla="*/ 50 h 462"/>
                <a:gd name="T86" fmla="*/ 40 w 535"/>
                <a:gd name="T87" fmla="*/ 52 h 462"/>
                <a:gd name="T88" fmla="*/ 35 w 535"/>
                <a:gd name="T89" fmla="*/ 55 h 462"/>
                <a:gd name="T90" fmla="*/ 34 w 535"/>
                <a:gd name="T91" fmla="*/ 54 h 462"/>
                <a:gd name="T92" fmla="*/ 30 w 535"/>
                <a:gd name="T93" fmla="*/ 55 h 462"/>
                <a:gd name="T94" fmla="*/ 24 w 535"/>
                <a:gd name="T95" fmla="*/ 54 h 462"/>
                <a:gd name="T96" fmla="*/ 22 w 535"/>
                <a:gd name="T97" fmla="*/ 52 h 462"/>
                <a:gd name="T98" fmla="*/ 16 w 535"/>
                <a:gd name="T99" fmla="*/ 51 h 462"/>
                <a:gd name="T100" fmla="*/ 7 w 535"/>
                <a:gd name="T101" fmla="*/ 51 h 462"/>
                <a:gd name="T102" fmla="*/ 0 w 535"/>
                <a:gd name="T103" fmla="*/ 47 h 4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5"/>
                <a:gd name="T157" fmla="*/ 0 h 462"/>
                <a:gd name="T158" fmla="*/ 535 w 535"/>
                <a:gd name="T159" fmla="*/ 462 h 46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5" h="462">
                  <a:moveTo>
                    <a:pt x="0" y="391"/>
                  </a:moveTo>
                  <a:lnTo>
                    <a:pt x="0" y="223"/>
                  </a:lnTo>
                  <a:lnTo>
                    <a:pt x="99" y="223"/>
                  </a:lnTo>
                  <a:lnTo>
                    <a:pt x="92" y="220"/>
                  </a:lnTo>
                  <a:lnTo>
                    <a:pt x="89" y="217"/>
                  </a:lnTo>
                  <a:lnTo>
                    <a:pt x="87" y="214"/>
                  </a:lnTo>
                  <a:lnTo>
                    <a:pt x="94" y="141"/>
                  </a:lnTo>
                  <a:lnTo>
                    <a:pt x="92" y="132"/>
                  </a:lnTo>
                  <a:lnTo>
                    <a:pt x="93" y="130"/>
                  </a:lnTo>
                  <a:lnTo>
                    <a:pt x="95" y="129"/>
                  </a:lnTo>
                  <a:lnTo>
                    <a:pt x="94" y="126"/>
                  </a:lnTo>
                  <a:lnTo>
                    <a:pt x="92" y="123"/>
                  </a:lnTo>
                  <a:lnTo>
                    <a:pt x="104" y="121"/>
                  </a:lnTo>
                  <a:lnTo>
                    <a:pt x="105" y="121"/>
                  </a:lnTo>
                  <a:lnTo>
                    <a:pt x="111" y="130"/>
                  </a:lnTo>
                  <a:lnTo>
                    <a:pt x="110" y="141"/>
                  </a:lnTo>
                  <a:lnTo>
                    <a:pt x="112" y="144"/>
                  </a:lnTo>
                  <a:lnTo>
                    <a:pt x="114" y="145"/>
                  </a:lnTo>
                  <a:lnTo>
                    <a:pt x="130" y="139"/>
                  </a:lnTo>
                  <a:lnTo>
                    <a:pt x="136" y="139"/>
                  </a:lnTo>
                  <a:lnTo>
                    <a:pt x="145" y="135"/>
                  </a:lnTo>
                  <a:lnTo>
                    <a:pt x="150" y="142"/>
                  </a:lnTo>
                  <a:lnTo>
                    <a:pt x="152" y="149"/>
                  </a:lnTo>
                  <a:lnTo>
                    <a:pt x="156" y="154"/>
                  </a:lnTo>
                  <a:lnTo>
                    <a:pt x="193" y="172"/>
                  </a:lnTo>
                  <a:lnTo>
                    <a:pt x="204" y="172"/>
                  </a:lnTo>
                  <a:lnTo>
                    <a:pt x="228" y="164"/>
                  </a:lnTo>
                  <a:lnTo>
                    <a:pt x="233" y="164"/>
                  </a:lnTo>
                  <a:lnTo>
                    <a:pt x="248" y="180"/>
                  </a:lnTo>
                  <a:lnTo>
                    <a:pt x="270" y="189"/>
                  </a:lnTo>
                  <a:lnTo>
                    <a:pt x="279" y="189"/>
                  </a:lnTo>
                  <a:lnTo>
                    <a:pt x="284" y="195"/>
                  </a:lnTo>
                  <a:lnTo>
                    <a:pt x="291" y="211"/>
                  </a:lnTo>
                  <a:lnTo>
                    <a:pt x="315" y="227"/>
                  </a:lnTo>
                  <a:lnTo>
                    <a:pt x="331" y="233"/>
                  </a:lnTo>
                  <a:lnTo>
                    <a:pt x="334" y="233"/>
                  </a:lnTo>
                  <a:lnTo>
                    <a:pt x="339" y="230"/>
                  </a:lnTo>
                  <a:lnTo>
                    <a:pt x="343" y="230"/>
                  </a:lnTo>
                  <a:lnTo>
                    <a:pt x="347" y="236"/>
                  </a:lnTo>
                  <a:lnTo>
                    <a:pt x="350" y="237"/>
                  </a:lnTo>
                  <a:lnTo>
                    <a:pt x="353" y="237"/>
                  </a:lnTo>
                  <a:lnTo>
                    <a:pt x="355" y="235"/>
                  </a:lnTo>
                  <a:lnTo>
                    <a:pt x="353" y="193"/>
                  </a:lnTo>
                  <a:lnTo>
                    <a:pt x="351" y="187"/>
                  </a:lnTo>
                  <a:lnTo>
                    <a:pt x="346" y="186"/>
                  </a:lnTo>
                  <a:lnTo>
                    <a:pt x="339" y="190"/>
                  </a:lnTo>
                  <a:lnTo>
                    <a:pt x="319" y="188"/>
                  </a:lnTo>
                  <a:lnTo>
                    <a:pt x="313" y="184"/>
                  </a:lnTo>
                  <a:lnTo>
                    <a:pt x="299" y="166"/>
                  </a:lnTo>
                  <a:lnTo>
                    <a:pt x="299" y="158"/>
                  </a:lnTo>
                  <a:lnTo>
                    <a:pt x="316" y="83"/>
                  </a:lnTo>
                  <a:lnTo>
                    <a:pt x="309" y="47"/>
                  </a:lnTo>
                  <a:lnTo>
                    <a:pt x="324" y="17"/>
                  </a:lnTo>
                  <a:lnTo>
                    <a:pt x="329" y="15"/>
                  </a:lnTo>
                  <a:lnTo>
                    <a:pt x="391" y="0"/>
                  </a:lnTo>
                  <a:lnTo>
                    <a:pt x="394" y="6"/>
                  </a:lnTo>
                  <a:lnTo>
                    <a:pt x="392" y="11"/>
                  </a:lnTo>
                  <a:lnTo>
                    <a:pt x="394" y="18"/>
                  </a:lnTo>
                  <a:lnTo>
                    <a:pt x="397" y="20"/>
                  </a:lnTo>
                  <a:lnTo>
                    <a:pt x="403" y="21"/>
                  </a:lnTo>
                  <a:lnTo>
                    <a:pt x="412" y="28"/>
                  </a:lnTo>
                  <a:lnTo>
                    <a:pt x="418" y="18"/>
                  </a:lnTo>
                  <a:lnTo>
                    <a:pt x="424" y="18"/>
                  </a:lnTo>
                  <a:lnTo>
                    <a:pt x="431" y="19"/>
                  </a:lnTo>
                  <a:lnTo>
                    <a:pt x="449" y="35"/>
                  </a:lnTo>
                  <a:lnTo>
                    <a:pt x="499" y="52"/>
                  </a:lnTo>
                  <a:lnTo>
                    <a:pt x="501" y="53"/>
                  </a:lnTo>
                  <a:lnTo>
                    <a:pt x="504" y="57"/>
                  </a:lnTo>
                  <a:lnTo>
                    <a:pt x="502" y="58"/>
                  </a:lnTo>
                  <a:lnTo>
                    <a:pt x="502" y="62"/>
                  </a:lnTo>
                  <a:lnTo>
                    <a:pt x="504" y="64"/>
                  </a:lnTo>
                  <a:lnTo>
                    <a:pt x="505" y="68"/>
                  </a:lnTo>
                  <a:lnTo>
                    <a:pt x="513" y="68"/>
                  </a:lnTo>
                  <a:lnTo>
                    <a:pt x="520" y="80"/>
                  </a:lnTo>
                  <a:lnTo>
                    <a:pt x="523" y="89"/>
                  </a:lnTo>
                  <a:lnTo>
                    <a:pt x="528" y="93"/>
                  </a:lnTo>
                  <a:lnTo>
                    <a:pt x="530" y="109"/>
                  </a:lnTo>
                  <a:lnTo>
                    <a:pt x="534" y="111"/>
                  </a:lnTo>
                  <a:lnTo>
                    <a:pt x="535" y="116"/>
                  </a:lnTo>
                  <a:lnTo>
                    <a:pt x="534" y="119"/>
                  </a:lnTo>
                  <a:lnTo>
                    <a:pt x="528" y="123"/>
                  </a:lnTo>
                  <a:lnTo>
                    <a:pt x="526" y="124"/>
                  </a:lnTo>
                  <a:lnTo>
                    <a:pt x="523" y="126"/>
                  </a:lnTo>
                  <a:lnTo>
                    <a:pt x="521" y="142"/>
                  </a:lnTo>
                  <a:lnTo>
                    <a:pt x="516" y="156"/>
                  </a:lnTo>
                  <a:lnTo>
                    <a:pt x="517" y="189"/>
                  </a:lnTo>
                  <a:lnTo>
                    <a:pt x="520" y="192"/>
                  </a:lnTo>
                  <a:lnTo>
                    <a:pt x="525" y="194"/>
                  </a:lnTo>
                  <a:lnTo>
                    <a:pt x="526" y="200"/>
                  </a:lnTo>
                  <a:lnTo>
                    <a:pt x="525" y="202"/>
                  </a:lnTo>
                  <a:lnTo>
                    <a:pt x="516" y="204"/>
                  </a:lnTo>
                  <a:lnTo>
                    <a:pt x="512" y="207"/>
                  </a:lnTo>
                  <a:lnTo>
                    <a:pt x="507" y="209"/>
                  </a:lnTo>
                  <a:lnTo>
                    <a:pt x="506" y="210"/>
                  </a:lnTo>
                  <a:lnTo>
                    <a:pt x="499" y="246"/>
                  </a:lnTo>
                  <a:lnTo>
                    <a:pt x="494" y="252"/>
                  </a:lnTo>
                  <a:lnTo>
                    <a:pt x="493" y="255"/>
                  </a:lnTo>
                  <a:lnTo>
                    <a:pt x="495" y="263"/>
                  </a:lnTo>
                  <a:lnTo>
                    <a:pt x="499" y="265"/>
                  </a:lnTo>
                  <a:lnTo>
                    <a:pt x="501" y="270"/>
                  </a:lnTo>
                  <a:lnTo>
                    <a:pt x="508" y="270"/>
                  </a:lnTo>
                  <a:lnTo>
                    <a:pt x="510" y="271"/>
                  </a:lnTo>
                  <a:lnTo>
                    <a:pt x="511" y="272"/>
                  </a:lnTo>
                  <a:lnTo>
                    <a:pt x="366" y="320"/>
                  </a:lnTo>
                  <a:lnTo>
                    <a:pt x="374" y="344"/>
                  </a:lnTo>
                  <a:lnTo>
                    <a:pt x="378" y="346"/>
                  </a:lnTo>
                  <a:lnTo>
                    <a:pt x="377" y="347"/>
                  </a:lnTo>
                  <a:lnTo>
                    <a:pt x="371" y="347"/>
                  </a:lnTo>
                  <a:lnTo>
                    <a:pt x="364" y="349"/>
                  </a:lnTo>
                  <a:lnTo>
                    <a:pt x="358" y="348"/>
                  </a:lnTo>
                  <a:lnTo>
                    <a:pt x="354" y="346"/>
                  </a:lnTo>
                  <a:lnTo>
                    <a:pt x="350" y="345"/>
                  </a:lnTo>
                  <a:lnTo>
                    <a:pt x="341" y="350"/>
                  </a:lnTo>
                  <a:lnTo>
                    <a:pt x="327" y="352"/>
                  </a:lnTo>
                  <a:lnTo>
                    <a:pt x="316" y="361"/>
                  </a:lnTo>
                  <a:lnTo>
                    <a:pt x="310" y="362"/>
                  </a:lnTo>
                  <a:lnTo>
                    <a:pt x="306" y="364"/>
                  </a:lnTo>
                  <a:lnTo>
                    <a:pt x="303" y="391"/>
                  </a:lnTo>
                  <a:lnTo>
                    <a:pt x="286" y="391"/>
                  </a:lnTo>
                  <a:lnTo>
                    <a:pt x="280" y="393"/>
                  </a:lnTo>
                  <a:lnTo>
                    <a:pt x="279" y="395"/>
                  </a:lnTo>
                  <a:lnTo>
                    <a:pt x="276" y="396"/>
                  </a:lnTo>
                  <a:lnTo>
                    <a:pt x="271" y="403"/>
                  </a:lnTo>
                  <a:lnTo>
                    <a:pt x="263" y="403"/>
                  </a:lnTo>
                  <a:lnTo>
                    <a:pt x="260" y="404"/>
                  </a:lnTo>
                  <a:lnTo>
                    <a:pt x="258" y="405"/>
                  </a:lnTo>
                  <a:lnTo>
                    <a:pt x="256" y="409"/>
                  </a:lnTo>
                  <a:lnTo>
                    <a:pt x="253" y="411"/>
                  </a:lnTo>
                  <a:lnTo>
                    <a:pt x="248" y="420"/>
                  </a:lnTo>
                  <a:lnTo>
                    <a:pt x="239" y="429"/>
                  </a:lnTo>
                  <a:lnTo>
                    <a:pt x="238" y="433"/>
                  </a:lnTo>
                  <a:lnTo>
                    <a:pt x="238" y="438"/>
                  </a:lnTo>
                  <a:lnTo>
                    <a:pt x="220" y="460"/>
                  </a:lnTo>
                  <a:lnTo>
                    <a:pt x="216" y="459"/>
                  </a:lnTo>
                  <a:lnTo>
                    <a:pt x="210" y="462"/>
                  </a:lnTo>
                  <a:lnTo>
                    <a:pt x="207" y="461"/>
                  </a:lnTo>
                  <a:lnTo>
                    <a:pt x="205" y="457"/>
                  </a:lnTo>
                  <a:lnTo>
                    <a:pt x="201" y="455"/>
                  </a:lnTo>
                  <a:lnTo>
                    <a:pt x="194" y="456"/>
                  </a:lnTo>
                  <a:lnTo>
                    <a:pt x="190" y="455"/>
                  </a:lnTo>
                  <a:lnTo>
                    <a:pt x="177" y="458"/>
                  </a:lnTo>
                  <a:lnTo>
                    <a:pt x="164" y="452"/>
                  </a:lnTo>
                  <a:lnTo>
                    <a:pt x="149" y="455"/>
                  </a:lnTo>
                  <a:lnTo>
                    <a:pt x="146" y="453"/>
                  </a:lnTo>
                  <a:lnTo>
                    <a:pt x="143" y="450"/>
                  </a:lnTo>
                  <a:lnTo>
                    <a:pt x="138" y="449"/>
                  </a:lnTo>
                  <a:lnTo>
                    <a:pt x="130" y="438"/>
                  </a:lnTo>
                  <a:lnTo>
                    <a:pt x="127" y="436"/>
                  </a:lnTo>
                  <a:lnTo>
                    <a:pt x="98" y="433"/>
                  </a:lnTo>
                  <a:lnTo>
                    <a:pt x="96" y="431"/>
                  </a:lnTo>
                  <a:lnTo>
                    <a:pt x="54" y="440"/>
                  </a:lnTo>
                  <a:lnTo>
                    <a:pt x="48" y="437"/>
                  </a:lnTo>
                  <a:lnTo>
                    <a:pt x="44" y="432"/>
                  </a:lnTo>
                  <a:lnTo>
                    <a:pt x="9" y="404"/>
                  </a:lnTo>
                  <a:lnTo>
                    <a:pt x="5" y="398"/>
                  </a:lnTo>
                  <a:lnTo>
                    <a:pt x="0" y="393"/>
                  </a:lnTo>
                  <a:lnTo>
                    <a:pt x="0" y="391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4" name="Freeform 182"/>
            <p:cNvSpPr>
              <a:spLocks/>
            </p:cNvSpPr>
            <p:nvPr/>
          </p:nvSpPr>
          <p:spPr bwMode="auto">
            <a:xfrm>
              <a:off x="4473973" y="3562756"/>
              <a:ext cx="641801" cy="458275"/>
            </a:xfrm>
            <a:custGeom>
              <a:avLst/>
              <a:gdLst>
                <a:gd name="T0" fmla="*/ 17 w 535"/>
                <a:gd name="T1" fmla="*/ 26 h 462"/>
                <a:gd name="T2" fmla="*/ 15 w 535"/>
                <a:gd name="T3" fmla="*/ 26 h 462"/>
                <a:gd name="T4" fmla="*/ 16 w 535"/>
                <a:gd name="T5" fmla="*/ 16 h 462"/>
                <a:gd name="T6" fmla="*/ 15 w 535"/>
                <a:gd name="T7" fmla="*/ 14 h 462"/>
                <a:gd name="T8" fmla="*/ 18 w 535"/>
                <a:gd name="T9" fmla="*/ 16 h 462"/>
                <a:gd name="T10" fmla="*/ 19 w 535"/>
                <a:gd name="T11" fmla="*/ 17 h 462"/>
                <a:gd name="T12" fmla="*/ 24 w 535"/>
                <a:gd name="T13" fmla="*/ 16 h 462"/>
                <a:gd name="T14" fmla="*/ 26 w 535"/>
                <a:gd name="T15" fmla="*/ 18 h 462"/>
                <a:gd name="T16" fmla="*/ 38 w 535"/>
                <a:gd name="T17" fmla="*/ 19 h 462"/>
                <a:gd name="T18" fmla="*/ 45 w 535"/>
                <a:gd name="T19" fmla="*/ 22 h 462"/>
                <a:gd name="T20" fmla="*/ 49 w 535"/>
                <a:gd name="T21" fmla="*/ 25 h 462"/>
                <a:gd name="T22" fmla="*/ 56 w 535"/>
                <a:gd name="T23" fmla="*/ 28 h 462"/>
                <a:gd name="T24" fmla="*/ 58 w 535"/>
                <a:gd name="T25" fmla="*/ 28 h 462"/>
                <a:gd name="T26" fmla="*/ 60 w 535"/>
                <a:gd name="T27" fmla="*/ 28 h 462"/>
                <a:gd name="T28" fmla="*/ 58 w 535"/>
                <a:gd name="T29" fmla="*/ 22 h 462"/>
                <a:gd name="T30" fmla="*/ 53 w 535"/>
                <a:gd name="T31" fmla="*/ 22 h 462"/>
                <a:gd name="T32" fmla="*/ 53 w 535"/>
                <a:gd name="T33" fmla="*/ 10 h 462"/>
                <a:gd name="T34" fmla="*/ 55 w 535"/>
                <a:gd name="T35" fmla="*/ 2 h 462"/>
                <a:gd name="T36" fmla="*/ 66 w 535"/>
                <a:gd name="T37" fmla="*/ 2 h 462"/>
                <a:gd name="T38" fmla="*/ 68 w 535"/>
                <a:gd name="T39" fmla="*/ 3 h 462"/>
                <a:gd name="T40" fmla="*/ 71 w 535"/>
                <a:gd name="T41" fmla="*/ 2 h 462"/>
                <a:gd name="T42" fmla="*/ 84 w 535"/>
                <a:gd name="T43" fmla="*/ 6 h 462"/>
                <a:gd name="T44" fmla="*/ 84 w 535"/>
                <a:gd name="T45" fmla="*/ 7 h 462"/>
                <a:gd name="T46" fmla="*/ 85 w 535"/>
                <a:gd name="T47" fmla="*/ 8 h 462"/>
                <a:gd name="T48" fmla="*/ 87 w 535"/>
                <a:gd name="T49" fmla="*/ 11 h 462"/>
                <a:gd name="T50" fmla="*/ 89 w 535"/>
                <a:gd name="T51" fmla="*/ 13 h 462"/>
                <a:gd name="T52" fmla="*/ 88 w 535"/>
                <a:gd name="T53" fmla="*/ 14 h 462"/>
                <a:gd name="T54" fmla="*/ 87 w 535"/>
                <a:gd name="T55" fmla="*/ 17 h 462"/>
                <a:gd name="T56" fmla="*/ 87 w 535"/>
                <a:gd name="T57" fmla="*/ 23 h 462"/>
                <a:gd name="T58" fmla="*/ 88 w 535"/>
                <a:gd name="T59" fmla="*/ 24 h 462"/>
                <a:gd name="T60" fmla="*/ 85 w 535"/>
                <a:gd name="T61" fmla="*/ 25 h 462"/>
                <a:gd name="T62" fmla="*/ 83 w 535"/>
                <a:gd name="T63" fmla="*/ 30 h 462"/>
                <a:gd name="T64" fmla="*/ 84 w 535"/>
                <a:gd name="T65" fmla="*/ 32 h 462"/>
                <a:gd name="T66" fmla="*/ 86 w 535"/>
                <a:gd name="T67" fmla="*/ 32 h 462"/>
                <a:gd name="T68" fmla="*/ 63 w 535"/>
                <a:gd name="T69" fmla="*/ 41 h 462"/>
                <a:gd name="T70" fmla="*/ 62 w 535"/>
                <a:gd name="T71" fmla="*/ 41 h 462"/>
                <a:gd name="T72" fmla="*/ 59 w 535"/>
                <a:gd name="T73" fmla="*/ 41 h 462"/>
                <a:gd name="T74" fmla="*/ 55 w 535"/>
                <a:gd name="T75" fmla="*/ 42 h 462"/>
                <a:gd name="T76" fmla="*/ 51 w 535"/>
                <a:gd name="T77" fmla="*/ 43 h 462"/>
                <a:gd name="T78" fmla="*/ 47 w 535"/>
                <a:gd name="T79" fmla="*/ 47 h 462"/>
                <a:gd name="T80" fmla="*/ 45 w 535"/>
                <a:gd name="T81" fmla="*/ 48 h 462"/>
                <a:gd name="T82" fmla="*/ 43 w 535"/>
                <a:gd name="T83" fmla="*/ 48 h 462"/>
                <a:gd name="T84" fmla="*/ 41 w 535"/>
                <a:gd name="T85" fmla="*/ 50 h 462"/>
                <a:gd name="T86" fmla="*/ 40 w 535"/>
                <a:gd name="T87" fmla="*/ 52 h 462"/>
                <a:gd name="T88" fmla="*/ 35 w 535"/>
                <a:gd name="T89" fmla="*/ 55 h 462"/>
                <a:gd name="T90" fmla="*/ 34 w 535"/>
                <a:gd name="T91" fmla="*/ 54 h 462"/>
                <a:gd name="T92" fmla="*/ 30 w 535"/>
                <a:gd name="T93" fmla="*/ 55 h 462"/>
                <a:gd name="T94" fmla="*/ 24 w 535"/>
                <a:gd name="T95" fmla="*/ 54 h 462"/>
                <a:gd name="T96" fmla="*/ 22 w 535"/>
                <a:gd name="T97" fmla="*/ 52 h 462"/>
                <a:gd name="T98" fmla="*/ 16 w 535"/>
                <a:gd name="T99" fmla="*/ 51 h 462"/>
                <a:gd name="T100" fmla="*/ 7 w 535"/>
                <a:gd name="T101" fmla="*/ 51 h 462"/>
                <a:gd name="T102" fmla="*/ 0 w 535"/>
                <a:gd name="T103" fmla="*/ 47 h 46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5"/>
                <a:gd name="T157" fmla="*/ 0 h 462"/>
                <a:gd name="T158" fmla="*/ 535 w 535"/>
                <a:gd name="T159" fmla="*/ 462 h 46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5" h="462">
                  <a:moveTo>
                    <a:pt x="0" y="391"/>
                  </a:moveTo>
                  <a:lnTo>
                    <a:pt x="0" y="223"/>
                  </a:lnTo>
                  <a:lnTo>
                    <a:pt x="99" y="223"/>
                  </a:lnTo>
                  <a:lnTo>
                    <a:pt x="92" y="220"/>
                  </a:lnTo>
                  <a:lnTo>
                    <a:pt x="89" y="217"/>
                  </a:lnTo>
                  <a:lnTo>
                    <a:pt x="87" y="214"/>
                  </a:lnTo>
                  <a:lnTo>
                    <a:pt x="94" y="141"/>
                  </a:lnTo>
                  <a:lnTo>
                    <a:pt x="92" y="132"/>
                  </a:lnTo>
                  <a:lnTo>
                    <a:pt x="93" y="130"/>
                  </a:lnTo>
                  <a:lnTo>
                    <a:pt x="95" y="129"/>
                  </a:lnTo>
                  <a:lnTo>
                    <a:pt x="94" y="126"/>
                  </a:lnTo>
                  <a:lnTo>
                    <a:pt x="92" y="123"/>
                  </a:lnTo>
                  <a:lnTo>
                    <a:pt x="104" y="121"/>
                  </a:lnTo>
                  <a:lnTo>
                    <a:pt x="105" y="121"/>
                  </a:lnTo>
                  <a:lnTo>
                    <a:pt x="111" y="130"/>
                  </a:lnTo>
                  <a:lnTo>
                    <a:pt x="110" y="141"/>
                  </a:lnTo>
                  <a:lnTo>
                    <a:pt x="112" y="144"/>
                  </a:lnTo>
                  <a:lnTo>
                    <a:pt x="114" y="145"/>
                  </a:lnTo>
                  <a:lnTo>
                    <a:pt x="130" y="139"/>
                  </a:lnTo>
                  <a:lnTo>
                    <a:pt x="136" y="139"/>
                  </a:lnTo>
                  <a:lnTo>
                    <a:pt x="145" y="135"/>
                  </a:lnTo>
                  <a:lnTo>
                    <a:pt x="150" y="142"/>
                  </a:lnTo>
                  <a:lnTo>
                    <a:pt x="152" y="149"/>
                  </a:lnTo>
                  <a:lnTo>
                    <a:pt x="156" y="154"/>
                  </a:lnTo>
                  <a:lnTo>
                    <a:pt x="193" y="172"/>
                  </a:lnTo>
                  <a:lnTo>
                    <a:pt x="204" y="172"/>
                  </a:lnTo>
                  <a:lnTo>
                    <a:pt x="228" y="164"/>
                  </a:lnTo>
                  <a:lnTo>
                    <a:pt x="233" y="164"/>
                  </a:lnTo>
                  <a:lnTo>
                    <a:pt x="248" y="180"/>
                  </a:lnTo>
                  <a:lnTo>
                    <a:pt x="270" y="189"/>
                  </a:lnTo>
                  <a:lnTo>
                    <a:pt x="279" y="189"/>
                  </a:lnTo>
                  <a:lnTo>
                    <a:pt x="284" y="195"/>
                  </a:lnTo>
                  <a:lnTo>
                    <a:pt x="291" y="211"/>
                  </a:lnTo>
                  <a:lnTo>
                    <a:pt x="315" y="227"/>
                  </a:lnTo>
                  <a:lnTo>
                    <a:pt x="331" y="233"/>
                  </a:lnTo>
                  <a:lnTo>
                    <a:pt x="334" y="233"/>
                  </a:lnTo>
                  <a:lnTo>
                    <a:pt x="339" y="230"/>
                  </a:lnTo>
                  <a:lnTo>
                    <a:pt x="343" y="230"/>
                  </a:lnTo>
                  <a:lnTo>
                    <a:pt x="347" y="236"/>
                  </a:lnTo>
                  <a:lnTo>
                    <a:pt x="350" y="237"/>
                  </a:lnTo>
                  <a:lnTo>
                    <a:pt x="353" y="237"/>
                  </a:lnTo>
                  <a:lnTo>
                    <a:pt x="355" y="235"/>
                  </a:lnTo>
                  <a:lnTo>
                    <a:pt x="353" y="193"/>
                  </a:lnTo>
                  <a:lnTo>
                    <a:pt x="351" y="187"/>
                  </a:lnTo>
                  <a:lnTo>
                    <a:pt x="346" y="186"/>
                  </a:lnTo>
                  <a:lnTo>
                    <a:pt x="339" y="190"/>
                  </a:lnTo>
                  <a:lnTo>
                    <a:pt x="319" y="188"/>
                  </a:lnTo>
                  <a:lnTo>
                    <a:pt x="313" y="184"/>
                  </a:lnTo>
                  <a:lnTo>
                    <a:pt x="299" y="166"/>
                  </a:lnTo>
                  <a:lnTo>
                    <a:pt x="299" y="158"/>
                  </a:lnTo>
                  <a:lnTo>
                    <a:pt x="316" y="83"/>
                  </a:lnTo>
                  <a:lnTo>
                    <a:pt x="309" y="47"/>
                  </a:lnTo>
                  <a:lnTo>
                    <a:pt x="324" y="17"/>
                  </a:lnTo>
                  <a:lnTo>
                    <a:pt x="329" y="15"/>
                  </a:lnTo>
                  <a:lnTo>
                    <a:pt x="391" y="0"/>
                  </a:lnTo>
                  <a:lnTo>
                    <a:pt x="394" y="6"/>
                  </a:lnTo>
                  <a:lnTo>
                    <a:pt x="392" y="11"/>
                  </a:lnTo>
                  <a:lnTo>
                    <a:pt x="394" y="18"/>
                  </a:lnTo>
                  <a:lnTo>
                    <a:pt x="397" y="20"/>
                  </a:lnTo>
                  <a:lnTo>
                    <a:pt x="403" y="21"/>
                  </a:lnTo>
                  <a:lnTo>
                    <a:pt x="412" y="28"/>
                  </a:lnTo>
                  <a:lnTo>
                    <a:pt x="418" y="18"/>
                  </a:lnTo>
                  <a:lnTo>
                    <a:pt x="424" y="18"/>
                  </a:lnTo>
                  <a:lnTo>
                    <a:pt x="431" y="19"/>
                  </a:lnTo>
                  <a:lnTo>
                    <a:pt x="449" y="35"/>
                  </a:lnTo>
                  <a:lnTo>
                    <a:pt x="499" y="52"/>
                  </a:lnTo>
                  <a:lnTo>
                    <a:pt x="501" y="53"/>
                  </a:lnTo>
                  <a:lnTo>
                    <a:pt x="504" y="57"/>
                  </a:lnTo>
                  <a:lnTo>
                    <a:pt x="502" y="58"/>
                  </a:lnTo>
                  <a:lnTo>
                    <a:pt x="502" y="62"/>
                  </a:lnTo>
                  <a:lnTo>
                    <a:pt x="504" y="64"/>
                  </a:lnTo>
                  <a:lnTo>
                    <a:pt x="505" y="68"/>
                  </a:lnTo>
                  <a:lnTo>
                    <a:pt x="513" y="68"/>
                  </a:lnTo>
                  <a:lnTo>
                    <a:pt x="520" y="80"/>
                  </a:lnTo>
                  <a:lnTo>
                    <a:pt x="523" y="89"/>
                  </a:lnTo>
                  <a:lnTo>
                    <a:pt x="528" y="93"/>
                  </a:lnTo>
                  <a:lnTo>
                    <a:pt x="530" y="109"/>
                  </a:lnTo>
                  <a:lnTo>
                    <a:pt x="534" y="111"/>
                  </a:lnTo>
                  <a:lnTo>
                    <a:pt x="535" y="116"/>
                  </a:lnTo>
                  <a:lnTo>
                    <a:pt x="534" y="119"/>
                  </a:lnTo>
                  <a:lnTo>
                    <a:pt x="528" y="123"/>
                  </a:lnTo>
                  <a:lnTo>
                    <a:pt x="526" y="124"/>
                  </a:lnTo>
                  <a:lnTo>
                    <a:pt x="523" y="126"/>
                  </a:lnTo>
                  <a:lnTo>
                    <a:pt x="521" y="142"/>
                  </a:lnTo>
                  <a:lnTo>
                    <a:pt x="516" y="156"/>
                  </a:lnTo>
                  <a:lnTo>
                    <a:pt x="517" y="189"/>
                  </a:lnTo>
                  <a:lnTo>
                    <a:pt x="520" y="192"/>
                  </a:lnTo>
                  <a:lnTo>
                    <a:pt x="525" y="194"/>
                  </a:lnTo>
                  <a:lnTo>
                    <a:pt x="526" y="200"/>
                  </a:lnTo>
                  <a:lnTo>
                    <a:pt x="525" y="202"/>
                  </a:lnTo>
                  <a:lnTo>
                    <a:pt x="516" y="204"/>
                  </a:lnTo>
                  <a:lnTo>
                    <a:pt x="512" y="207"/>
                  </a:lnTo>
                  <a:lnTo>
                    <a:pt x="507" y="209"/>
                  </a:lnTo>
                  <a:lnTo>
                    <a:pt x="506" y="210"/>
                  </a:lnTo>
                  <a:lnTo>
                    <a:pt x="499" y="246"/>
                  </a:lnTo>
                  <a:lnTo>
                    <a:pt x="494" y="252"/>
                  </a:lnTo>
                  <a:lnTo>
                    <a:pt x="493" y="255"/>
                  </a:lnTo>
                  <a:lnTo>
                    <a:pt x="495" y="263"/>
                  </a:lnTo>
                  <a:lnTo>
                    <a:pt x="499" y="265"/>
                  </a:lnTo>
                  <a:lnTo>
                    <a:pt x="501" y="270"/>
                  </a:lnTo>
                  <a:lnTo>
                    <a:pt x="508" y="270"/>
                  </a:lnTo>
                  <a:lnTo>
                    <a:pt x="510" y="271"/>
                  </a:lnTo>
                  <a:lnTo>
                    <a:pt x="511" y="272"/>
                  </a:lnTo>
                  <a:lnTo>
                    <a:pt x="366" y="320"/>
                  </a:lnTo>
                  <a:lnTo>
                    <a:pt x="374" y="344"/>
                  </a:lnTo>
                  <a:lnTo>
                    <a:pt x="378" y="346"/>
                  </a:lnTo>
                  <a:lnTo>
                    <a:pt x="377" y="347"/>
                  </a:lnTo>
                  <a:lnTo>
                    <a:pt x="371" y="347"/>
                  </a:lnTo>
                  <a:lnTo>
                    <a:pt x="364" y="349"/>
                  </a:lnTo>
                  <a:lnTo>
                    <a:pt x="358" y="348"/>
                  </a:lnTo>
                  <a:lnTo>
                    <a:pt x="354" y="346"/>
                  </a:lnTo>
                  <a:lnTo>
                    <a:pt x="350" y="345"/>
                  </a:lnTo>
                  <a:lnTo>
                    <a:pt x="341" y="350"/>
                  </a:lnTo>
                  <a:lnTo>
                    <a:pt x="327" y="352"/>
                  </a:lnTo>
                  <a:lnTo>
                    <a:pt x="316" y="361"/>
                  </a:lnTo>
                  <a:lnTo>
                    <a:pt x="310" y="362"/>
                  </a:lnTo>
                  <a:lnTo>
                    <a:pt x="306" y="364"/>
                  </a:lnTo>
                  <a:lnTo>
                    <a:pt x="303" y="391"/>
                  </a:lnTo>
                  <a:lnTo>
                    <a:pt x="286" y="391"/>
                  </a:lnTo>
                  <a:lnTo>
                    <a:pt x="280" y="393"/>
                  </a:lnTo>
                  <a:lnTo>
                    <a:pt x="279" y="395"/>
                  </a:lnTo>
                  <a:lnTo>
                    <a:pt x="276" y="396"/>
                  </a:lnTo>
                  <a:lnTo>
                    <a:pt x="271" y="403"/>
                  </a:lnTo>
                  <a:lnTo>
                    <a:pt x="263" y="403"/>
                  </a:lnTo>
                  <a:lnTo>
                    <a:pt x="260" y="404"/>
                  </a:lnTo>
                  <a:lnTo>
                    <a:pt x="258" y="405"/>
                  </a:lnTo>
                  <a:lnTo>
                    <a:pt x="256" y="409"/>
                  </a:lnTo>
                  <a:lnTo>
                    <a:pt x="253" y="411"/>
                  </a:lnTo>
                  <a:lnTo>
                    <a:pt x="248" y="420"/>
                  </a:lnTo>
                  <a:lnTo>
                    <a:pt x="239" y="429"/>
                  </a:lnTo>
                  <a:lnTo>
                    <a:pt x="238" y="433"/>
                  </a:lnTo>
                  <a:lnTo>
                    <a:pt x="238" y="438"/>
                  </a:lnTo>
                  <a:lnTo>
                    <a:pt x="220" y="460"/>
                  </a:lnTo>
                  <a:lnTo>
                    <a:pt x="216" y="459"/>
                  </a:lnTo>
                  <a:lnTo>
                    <a:pt x="210" y="462"/>
                  </a:lnTo>
                  <a:lnTo>
                    <a:pt x="207" y="461"/>
                  </a:lnTo>
                  <a:lnTo>
                    <a:pt x="205" y="457"/>
                  </a:lnTo>
                  <a:lnTo>
                    <a:pt x="201" y="455"/>
                  </a:lnTo>
                  <a:lnTo>
                    <a:pt x="194" y="456"/>
                  </a:lnTo>
                  <a:lnTo>
                    <a:pt x="190" y="455"/>
                  </a:lnTo>
                  <a:lnTo>
                    <a:pt x="177" y="458"/>
                  </a:lnTo>
                  <a:lnTo>
                    <a:pt x="164" y="452"/>
                  </a:lnTo>
                  <a:lnTo>
                    <a:pt x="149" y="455"/>
                  </a:lnTo>
                  <a:lnTo>
                    <a:pt x="146" y="453"/>
                  </a:lnTo>
                  <a:lnTo>
                    <a:pt x="143" y="450"/>
                  </a:lnTo>
                  <a:lnTo>
                    <a:pt x="138" y="449"/>
                  </a:lnTo>
                  <a:lnTo>
                    <a:pt x="130" y="438"/>
                  </a:lnTo>
                  <a:lnTo>
                    <a:pt x="127" y="436"/>
                  </a:lnTo>
                  <a:lnTo>
                    <a:pt x="98" y="433"/>
                  </a:lnTo>
                  <a:lnTo>
                    <a:pt x="96" y="431"/>
                  </a:lnTo>
                  <a:lnTo>
                    <a:pt x="54" y="440"/>
                  </a:lnTo>
                  <a:lnTo>
                    <a:pt x="48" y="437"/>
                  </a:lnTo>
                  <a:lnTo>
                    <a:pt x="44" y="432"/>
                  </a:lnTo>
                  <a:lnTo>
                    <a:pt x="9" y="404"/>
                  </a:lnTo>
                  <a:lnTo>
                    <a:pt x="5" y="398"/>
                  </a:lnTo>
                  <a:lnTo>
                    <a:pt x="0" y="393"/>
                  </a:lnTo>
                  <a:lnTo>
                    <a:pt x="0" y="39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5" name="Freeform 183"/>
            <p:cNvSpPr>
              <a:spLocks/>
            </p:cNvSpPr>
            <p:nvPr/>
          </p:nvSpPr>
          <p:spPr bwMode="auto">
            <a:xfrm>
              <a:off x="5042658" y="1449498"/>
              <a:ext cx="127953" cy="61227"/>
            </a:xfrm>
            <a:custGeom>
              <a:avLst/>
              <a:gdLst>
                <a:gd name="T0" fmla="*/ 13 w 106"/>
                <a:gd name="T1" fmla="*/ 2 h 61"/>
                <a:gd name="T2" fmla="*/ 18 w 106"/>
                <a:gd name="T3" fmla="*/ 0 h 61"/>
                <a:gd name="T4" fmla="*/ 18 w 106"/>
                <a:gd name="T5" fmla="*/ 0 h 61"/>
                <a:gd name="T6" fmla="*/ 18 w 106"/>
                <a:gd name="T7" fmla="*/ 1 h 61"/>
                <a:gd name="T8" fmla="*/ 17 w 106"/>
                <a:gd name="T9" fmla="*/ 2 h 61"/>
                <a:gd name="T10" fmla="*/ 16 w 106"/>
                <a:gd name="T11" fmla="*/ 2 h 61"/>
                <a:gd name="T12" fmla="*/ 14 w 106"/>
                <a:gd name="T13" fmla="*/ 4 h 61"/>
                <a:gd name="T14" fmla="*/ 14 w 106"/>
                <a:gd name="T15" fmla="*/ 5 h 61"/>
                <a:gd name="T16" fmla="*/ 13 w 106"/>
                <a:gd name="T17" fmla="*/ 5 h 61"/>
                <a:gd name="T18" fmla="*/ 12 w 106"/>
                <a:gd name="T19" fmla="*/ 5 h 61"/>
                <a:gd name="T20" fmla="*/ 10 w 106"/>
                <a:gd name="T21" fmla="*/ 6 h 61"/>
                <a:gd name="T22" fmla="*/ 7 w 106"/>
                <a:gd name="T23" fmla="*/ 7 h 61"/>
                <a:gd name="T24" fmla="*/ 7 w 106"/>
                <a:gd name="T25" fmla="*/ 8 h 61"/>
                <a:gd name="T26" fmla="*/ 4 w 106"/>
                <a:gd name="T27" fmla="*/ 8 h 61"/>
                <a:gd name="T28" fmla="*/ 2 w 106"/>
                <a:gd name="T29" fmla="*/ 7 h 61"/>
                <a:gd name="T30" fmla="*/ 0 w 106"/>
                <a:gd name="T31" fmla="*/ 5 h 61"/>
                <a:gd name="T32" fmla="*/ 5 w 106"/>
                <a:gd name="T33" fmla="*/ 3 h 61"/>
                <a:gd name="T34" fmla="*/ 6 w 106"/>
                <a:gd name="T35" fmla="*/ 2 h 61"/>
                <a:gd name="T36" fmla="*/ 7 w 106"/>
                <a:gd name="T37" fmla="*/ 3 h 61"/>
                <a:gd name="T38" fmla="*/ 13 w 106"/>
                <a:gd name="T39" fmla="*/ 2 h 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61"/>
                <a:gd name="T62" fmla="*/ 106 w 106"/>
                <a:gd name="T63" fmla="*/ 61 h 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61">
                  <a:moveTo>
                    <a:pt x="77" y="13"/>
                  </a:moveTo>
                  <a:lnTo>
                    <a:pt x="102" y="0"/>
                  </a:lnTo>
                  <a:lnTo>
                    <a:pt x="106" y="0"/>
                  </a:lnTo>
                  <a:lnTo>
                    <a:pt x="103" y="7"/>
                  </a:lnTo>
                  <a:lnTo>
                    <a:pt x="96" y="14"/>
                  </a:lnTo>
                  <a:lnTo>
                    <a:pt x="91" y="16"/>
                  </a:lnTo>
                  <a:lnTo>
                    <a:pt x="82" y="30"/>
                  </a:lnTo>
                  <a:lnTo>
                    <a:pt x="83" y="36"/>
                  </a:lnTo>
                  <a:lnTo>
                    <a:pt x="77" y="42"/>
                  </a:lnTo>
                  <a:lnTo>
                    <a:pt x="67" y="44"/>
                  </a:lnTo>
                  <a:lnTo>
                    <a:pt x="58" y="53"/>
                  </a:lnTo>
                  <a:lnTo>
                    <a:pt x="44" y="55"/>
                  </a:lnTo>
                  <a:lnTo>
                    <a:pt x="36" y="61"/>
                  </a:lnTo>
                  <a:lnTo>
                    <a:pt x="22" y="60"/>
                  </a:lnTo>
                  <a:lnTo>
                    <a:pt x="11" y="55"/>
                  </a:lnTo>
                  <a:lnTo>
                    <a:pt x="0" y="38"/>
                  </a:lnTo>
                  <a:lnTo>
                    <a:pt x="32" y="27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77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6" name="Freeform 184"/>
            <p:cNvSpPr>
              <a:spLocks/>
            </p:cNvSpPr>
            <p:nvPr/>
          </p:nvSpPr>
          <p:spPr bwMode="auto">
            <a:xfrm>
              <a:off x="5042658" y="1449498"/>
              <a:ext cx="127953" cy="61227"/>
            </a:xfrm>
            <a:custGeom>
              <a:avLst/>
              <a:gdLst>
                <a:gd name="T0" fmla="*/ 13 w 106"/>
                <a:gd name="T1" fmla="*/ 2 h 61"/>
                <a:gd name="T2" fmla="*/ 18 w 106"/>
                <a:gd name="T3" fmla="*/ 0 h 61"/>
                <a:gd name="T4" fmla="*/ 18 w 106"/>
                <a:gd name="T5" fmla="*/ 0 h 61"/>
                <a:gd name="T6" fmla="*/ 18 w 106"/>
                <a:gd name="T7" fmla="*/ 1 h 61"/>
                <a:gd name="T8" fmla="*/ 17 w 106"/>
                <a:gd name="T9" fmla="*/ 2 h 61"/>
                <a:gd name="T10" fmla="*/ 16 w 106"/>
                <a:gd name="T11" fmla="*/ 2 h 61"/>
                <a:gd name="T12" fmla="*/ 14 w 106"/>
                <a:gd name="T13" fmla="*/ 4 h 61"/>
                <a:gd name="T14" fmla="*/ 14 w 106"/>
                <a:gd name="T15" fmla="*/ 5 h 61"/>
                <a:gd name="T16" fmla="*/ 13 w 106"/>
                <a:gd name="T17" fmla="*/ 5 h 61"/>
                <a:gd name="T18" fmla="*/ 12 w 106"/>
                <a:gd name="T19" fmla="*/ 5 h 61"/>
                <a:gd name="T20" fmla="*/ 10 w 106"/>
                <a:gd name="T21" fmla="*/ 6 h 61"/>
                <a:gd name="T22" fmla="*/ 7 w 106"/>
                <a:gd name="T23" fmla="*/ 7 h 61"/>
                <a:gd name="T24" fmla="*/ 7 w 106"/>
                <a:gd name="T25" fmla="*/ 8 h 61"/>
                <a:gd name="T26" fmla="*/ 4 w 106"/>
                <a:gd name="T27" fmla="*/ 8 h 61"/>
                <a:gd name="T28" fmla="*/ 2 w 106"/>
                <a:gd name="T29" fmla="*/ 7 h 61"/>
                <a:gd name="T30" fmla="*/ 0 w 106"/>
                <a:gd name="T31" fmla="*/ 5 h 61"/>
                <a:gd name="T32" fmla="*/ 5 w 106"/>
                <a:gd name="T33" fmla="*/ 3 h 61"/>
                <a:gd name="T34" fmla="*/ 6 w 106"/>
                <a:gd name="T35" fmla="*/ 2 h 61"/>
                <a:gd name="T36" fmla="*/ 7 w 106"/>
                <a:gd name="T37" fmla="*/ 3 h 61"/>
                <a:gd name="T38" fmla="*/ 13 w 106"/>
                <a:gd name="T39" fmla="*/ 2 h 6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06"/>
                <a:gd name="T61" fmla="*/ 0 h 61"/>
                <a:gd name="T62" fmla="*/ 106 w 106"/>
                <a:gd name="T63" fmla="*/ 61 h 6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06" h="61">
                  <a:moveTo>
                    <a:pt x="77" y="13"/>
                  </a:moveTo>
                  <a:lnTo>
                    <a:pt x="102" y="0"/>
                  </a:lnTo>
                  <a:lnTo>
                    <a:pt x="106" y="0"/>
                  </a:lnTo>
                  <a:lnTo>
                    <a:pt x="103" y="7"/>
                  </a:lnTo>
                  <a:lnTo>
                    <a:pt x="96" y="14"/>
                  </a:lnTo>
                  <a:lnTo>
                    <a:pt x="91" y="16"/>
                  </a:lnTo>
                  <a:lnTo>
                    <a:pt x="82" y="30"/>
                  </a:lnTo>
                  <a:lnTo>
                    <a:pt x="83" y="36"/>
                  </a:lnTo>
                  <a:lnTo>
                    <a:pt x="77" y="42"/>
                  </a:lnTo>
                  <a:lnTo>
                    <a:pt x="67" y="44"/>
                  </a:lnTo>
                  <a:lnTo>
                    <a:pt x="58" y="53"/>
                  </a:lnTo>
                  <a:lnTo>
                    <a:pt x="44" y="55"/>
                  </a:lnTo>
                  <a:lnTo>
                    <a:pt x="36" y="61"/>
                  </a:lnTo>
                  <a:lnTo>
                    <a:pt x="22" y="60"/>
                  </a:lnTo>
                  <a:lnTo>
                    <a:pt x="11" y="55"/>
                  </a:lnTo>
                  <a:lnTo>
                    <a:pt x="0" y="38"/>
                  </a:lnTo>
                  <a:lnTo>
                    <a:pt x="32" y="27"/>
                  </a:lnTo>
                  <a:lnTo>
                    <a:pt x="33" y="19"/>
                  </a:lnTo>
                  <a:lnTo>
                    <a:pt x="36" y="21"/>
                  </a:lnTo>
                  <a:lnTo>
                    <a:pt x="77" y="13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7" name="Freeform 185"/>
            <p:cNvSpPr>
              <a:spLocks/>
            </p:cNvSpPr>
            <p:nvPr/>
          </p:nvSpPr>
          <p:spPr bwMode="auto">
            <a:xfrm>
              <a:off x="3663597" y="3108192"/>
              <a:ext cx="6092" cy="11132"/>
            </a:xfrm>
            <a:custGeom>
              <a:avLst/>
              <a:gdLst>
                <a:gd name="T0" fmla="*/ 1 w 5"/>
                <a:gd name="T1" fmla="*/ 0 h 10"/>
                <a:gd name="T2" fmla="*/ 1 w 5"/>
                <a:gd name="T3" fmla="*/ 0 h 10"/>
                <a:gd name="T4" fmla="*/ 1 w 5"/>
                <a:gd name="T5" fmla="*/ 1 h 10"/>
                <a:gd name="T6" fmla="*/ 1 w 5"/>
                <a:gd name="T7" fmla="*/ 2 h 10"/>
                <a:gd name="T8" fmla="*/ 1 w 5"/>
                <a:gd name="T9" fmla="*/ 2 h 10"/>
                <a:gd name="T10" fmla="*/ 0 w 5"/>
                <a:gd name="T11" fmla="*/ 1 h 10"/>
                <a:gd name="T12" fmla="*/ 0 w 5"/>
                <a:gd name="T13" fmla="*/ 0 h 10"/>
                <a:gd name="T14" fmla="*/ 1 w 5"/>
                <a:gd name="T15" fmla="*/ 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3" y="0"/>
                  </a:moveTo>
                  <a:lnTo>
                    <a:pt x="5" y="0"/>
                  </a:lnTo>
                  <a:lnTo>
                    <a:pt x="5" y="4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8" name="Freeform 186"/>
            <p:cNvSpPr>
              <a:spLocks/>
            </p:cNvSpPr>
            <p:nvPr/>
          </p:nvSpPr>
          <p:spPr bwMode="auto">
            <a:xfrm>
              <a:off x="3663597" y="3108192"/>
              <a:ext cx="6092" cy="11132"/>
            </a:xfrm>
            <a:custGeom>
              <a:avLst/>
              <a:gdLst>
                <a:gd name="T0" fmla="*/ 1 w 5"/>
                <a:gd name="T1" fmla="*/ 0 h 10"/>
                <a:gd name="T2" fmla="*/ 1 w 5"/>
                <a:gd name="T3" fmla="*/ 0 h 10"/>
                <a:gd name="T4" fmla="*/ 1 w 5"/>
                <a:gd name="T5" fmla="*/ 1 h 10"/>
                <a:gd name="T6" fmla="*/ 1 w 5"/>
                <a:gd name="T7" fmla="*/ 2 h 10"/>
                <a:gd name="T8" fmla="*/ 1 w 5"/>
                <a:gd name="T9" fmla="*/ 2 h 10"/>
                <a:gd name="T10" fmla="*/ 0 w 5"/>
                <a:gd name="T11" fmla="*/ 1 h 10"/>
                <a:gd name="T12" fmla="*/ 0 w 5"/>
                <a:gd name="T13" fmla="*/ 0 h 10"/>
                <a:gd name="T14" fmla="*/ 1 w 5"/>
                <a:gd name="T15" fmla="*/ 0 h 1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0"/>
                <a:gd name="T26" fmla="*/ 5 w 5"/>
                <a:gd name="T27" fmla="*/ 10 h 1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0">
                  <a:moveTo>
                    <a:pt x="3" y="0"/>
                  </a:moveTo>
                  <a:lnTo>
                    <a:pt x="5" y="0"/>
                  </a:lnTo>
                  <a:lnTo>
                    <a:pt x="5" y="4"/>
                  </a:lnTo>
                  <a:lnTo>
                    <a:pt x="3" y="10"/>
                  </a:lnTo>
                  <a:lnTo>
                    <a:pt x="1" y="10"/>
                  </a:lnTo>
                  <a:lnTo>
                    <a:pt x="0" y="1"/>
                  </a:lnTo>
                  <a:lnTo>
                    <a:pt x="0" y="0"/>
                  </a:lnTo>
                  <a:lnTo>
                    <a:pt x="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79" name="Freeform 187"/>
            <p:cNvSpPr>
              <a:spLocks/>
            </p:cNvSpPr>
            <p:nvPr/>
          </p:nvSpPr>
          <p:spPr bwMode="auto">
            <a:xfrm>
              <a:off x="3618916" y="3169419"/>
              <a:ext cx="18279" cy="11132"/>
            </a:xfrm>
            <a:custGeom>
              <a:avLst/>
              <a:gdLst>
                <a:gd name="T0" fmla="*/ 1 w 15"/>
                <a:gd name="T1" fmla="*/ 0 h 16"/>
                <a:gd name="T2" fmla="*/ 2 w 15"/>
                <a:gd name="T3" fmla="*/ 0 h 16"/>
                <a:gd name="T4" fmla="*/ 2 w 15"/>
                <a:gd name="T5" fmla="*/ 0 h 16"/>
                <a:gd name="T6" fmla="*/ 2 w 15"/>
                <a:gd name="T7" fmla="*/ 0 h 16"/>
                <a:gd name="T8" fmla="*/ 1 w 15"/>
                <a:gd name="T9" fmla="*/ 0 h 16"/>
                <a:gd name="T10" fmla="*/ 1 w 15"/>
                <a:gd name="T11" fmla="*/ 0 h 16"/>
                <a:gd name="T12" fmla="*/ 1 w 15"/>
                <a:gd name="T13" fmla="*/ 0 h 16"/>
                <a:gd name="T14" fmla="*/ 0 w 15"/>
                <a:gd name="T15" fmla="*/ 0 h 16"/>
                <a:gd name="T16" fmla="*/ 1 w 15"/>
                <a:gd name="T17" fmla="*/ 0 h 16"/>
                <a:gd name="T18" fmla="*/ 1 w 15"/>
                <a:gd name="T19" fmla="*/ 0 h 16"/>
                <a:gd name="T20" fmla="*/ 1 w 15"/>
                <a:gd name="T21" fmla="*/ 0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6"/>
                <a:gd name="T35" fmla="*/ 15 w 15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6">
                  <a:moveTo>
                    <a:pt x="7" y="0"/>
                  </a:moveTo>
                  <a:lnTo>
                    <a:pt x="12" y="0"/>
                  </a:lnTo>
                  <a:lnTo>
                    <a:pt x="13" y="1"/>
                  </a:lnTo>
                  <a:lnTo>
                    <a:pt x="15" y="7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1" y="4"/>
                  </a:lnTo>
                  <a:lnTo>
                    <a:pt x="3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0" name="Freeform 188"/>
            <p:cNvSpPr>
              <a:spLocks/>
            </p:cNvSpPr>
            <p:nvPr/>
          </p:nvSpPr>
          <p:spPr bwMode="auto">
            <a:xfrm>
              <a:off x="3618916" y="3169419"/>
              <a:ext cx="18279" cy="11132"/>
            </a:xfrm>
            <a:custGeom>
              <a:avLst/>
              <a:gdLst>
                <a:gd name="T0" fmla="*/ 1 w 15"/>
                <a:gd name="T1" fmla="*/ 0 h 16"/>
                <a:gd name="T2" fmla="*/ 2 w 15"/>
                <a:gd name="T3" fmla="*/ 0 h 16"/>
                <a:gd name="T4" fmla="*/ 2 w 15"/>
                <a:gd name="T5" fmla="*/ 0 h 16"/>
                <a:gd name="T6" fmla="*/ 2 w 15"/>
                <a:gd name="T7" fmla="*/ 0 h 16"/>
                <a:gd name="T8" fmla="*/ 1 w 15"/>
                <a:gd name="T9" fmla="*/ 0 h 16"/>
                <a:gd name="T10" fmla="*/ 1 w 15"/>
                <a:gd name="T11" fmla="*/ 0 h 16"/>
                <a:gd name="T12" fmla="*/ 1 w 15"/>
                <a:gd name="T13" fmla="*/ 0 h 16"/>
                <a:gd name="T14" fmla="*/ 0 w 15"/>
                <a:gd name="T15" fmla="*/ 0 h 16"/>
                <a:gd name="T16" fmla="*/ 1 w 15"/>
                <a:gd name="T17" fmla="*/ 0 h 16"/>
                <a:gd name="T18" fmla="*/ 1 w 15"/>
                <a:gd name="T19" fmla="*/ 0 h 16"/>
                <a:gd name="T20" fmla="*/ 1 w 15"/>
                <a:gd name="T21" fmla="*/ 0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5"/>
                <a:gd name="T34" fmla="*/ 0 h 16"/>
                <a:gd name="T35" fmla="*/ 15 w 15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5" h="16">
                  <a:moveTo>
                    <a:pt x="7" y="0"/>
                  </a:moveTo>
                  <a:lnTo>
                    <a:pt x="12" y="0"/>
                  </a:lnTo>
                  <a:lnTo>
                    <a:pt x="13" y="1"/>
                  </a:lnTo>
                  <a:lnTo>
                    <a:pt x="15" y="7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1" y="4"/>
                  </a:lnTo>
                  <a:lnTo>
                    <a:pt x="3" y="1"/>
                  </a:lnTo>
                  <a:lnTo>
                    <a:pt x="7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1" name="Freeform 189"/>
            <p:cNvSpPr>
              <a:spLocks/>
            </p:cNvSpPr>
            <p:nvPr/>
          </p:nvSpPr>
          <p:spPr bwMode="auto">
            <a:xfrm>
              <a:off x="5134053" y="2978317"/>
              <a:ext cx="434638" cy="421167"/>
            </a:xfrm>
            <a:custGeom>
              <a:avLst/>
              <a:gdLst>
                <a:gd name="T0" fmla="*/ 53 w 365"/>
                <a:gd name="T1" fmla="*/ 26 h 421"/>
                <a:gd name="T2" fmla="*/ 53 w 365"/>
                <a:gd name="T3" fmla="*/ 10 h 421"/>
                <a:gd name="T4" fmla="*/ 53 w 365"/>
                <a:gd name="T5" fmla="*/ 10 h 421"/>
                <a:gd name="T6" fmla="*/ 59 w 365"/>
                <a:gd name="T7" fmla="*/ 4 h 421"/>
                <a:gd name="T8" fmla="*/ 59 w 365"/>
                <a:gd name="T9" fmla="*/ 4 h 421"/>
                <a:gd name="T10" fmla="*/ 56 w 365"/>
                <a:gd name="T11" fmla="*/ 4 h 421"/>
                <a:gd name="T12" fmla="*/ 51 w 365"/>
                <a:gd name="T13" fmla="*/ 2 h 421"/>
                <a:gd name="T14" fmla="*/ 46 w 365"/>
                <a:gd name="T15" fmla="*/ 3 h 421"/>
                <a:gd name="T16" fmla="*/ 43 w 365"/>
                <a:gd name="T17" fmla="*/ 5 h 421"/>
                <a:gd name="T18" fmla="*/ 40 w 365"/>
                <a:gd name="T19" fmla="*/ 6 h 421"/>
                <a:gd name="T20" fmla="*/ 29 w 365"/>
                <a:gd name="T21" fmla="*/ 5 h 421"/>
                <a:gd name="T22" fmla="*/ 21 w 365"/>
                <a:gd name="T23" fmla="*/ 1 h 421"/>
                <a:gd name="T24" fmla="*/ 16 w 365"/>
                <a:gd name="T25" fmla="*/ 1 h 421"/>
                <a:gd name="T26" fmla="*/ 14 w 365"/>
                <a:gd name="T27" fmla="*/ 0 h 421"/>
                <a:gd name="T28" fmla="*/ 4 w 365"/>
                <a:gd name="T29" fmla="*/ 1 h 421"/>
                <a:gd name="T30" fmla="*/ 2 w 365"/>
                <a:gd name="T31" fmla="*/ 1 h 421"/>
                <a:gd name="T32" fmla="*/ 0 w 365"/>
                <a:gd name="T33" fmla="*/ 3 h 421"/>
                <a:gd name="T34" fmla="*/ 1 w 365"/>
                <a:gd name="T35" fmla="*/ 3 h 421"/>
                <a:gd name="T36" fmla="*/ 1 w 365"/>
                <a:gd name="T37" fmla="*/ 3 h 421"/>
                <a:gd name="T38" fmla="*/ 3 w 365"/>
                <a:gd name="T39" fmla="*/ 3 h 421"/>
                <a:gd name="T40" fmla="*/ 3 w 365"/>
                <a:gd name="T41" fmla="*/ 4 h 421"/>
                <a:gd name="T42" fmla="*/ 3 w 365"/>
                <a:gd name="T43" fmla="*/ 4 h 421"/>
                <a:gd name="T44" fmla="*/ 3 w 365"/>
                <a:gd name="T45" fmla="*/ 5 h 421"/>
                <a:gd name="T46" fmla="*/ 3 w 365"/>
                <a:gd name="T47" fmla="*/ 5 h 421"/>
                <a:gd name="T48" fmla="*/ 4 w 365"/>
                <a:gd name="T49" fmla="*/ 9 h 421"/>
                <a:gd name="T50" fmla="*/ 5 w 365"/>
                <a:gd name="T51" fmla="*/ 9 h 421"/>
                <a:gd name="T52" fmla="*/ 6 w 365"/>
                <a:gd name="T53" fmla="*/ 9 h 421"/>
                <a:gd name="T54" fmla="*/ 8 w 365"/>
                <a:gd name="T55" fmla="*/ 10 h 421"/>
                <a:gd name="T56" fmla="*/ 8 w 365"/>
                <a:gd name="T57" fmla="*/ 16 h 421"/>
                <a:gd name="T58" fmla="*/ 8 w 365"/>
                <a:gd name="T59" fmla="*/ 17 h 421"/>
                <a:gd name="T60" fmla="*/ 1 w 365"/>
                <a:gd name="T61" fmla="*/ 24 h 421"/>
                <a:gd name="T62" fmla="*/ 1 w 365"/>
                <a:gd name="T63" fmla="*/ 26 h 421"/>
                <a:gd name="T64" fmla="*/ 1 w 365"/>
                <a:gd name="T65" fmla="*/ 27 h 421"/>
                <a:gd name="T66" fmla="*/ 2 w 365"/>
                <a:gd name="T67" fmla="*/ 27 h 421"/>
                <a:gd name="T68" fmla="*/ 3 w 365"/>
                <a:gd name="T69" fmla="*/ 27 h 421"/>
                <a:gd name="T70" fmla="*/ 4 w 365"/>
                <a:gd name="T71" fmla="*/ 27 h 421"/>
                <a:gd name="T72" fmla="*/ 6 w 365"/>
                <a:gd name="T73" fmla="*/ 27 h 421"/>
                <a:gd name="T74" fmla="*/ 6 w 365"/>
                <a:gd name="T75" fmla="*/ 27 h 421"/>
                <a:gd name="T76" fmla="*/ 5 w 365"/>
                <a:gd name="T77" fmla="*/ 28 h 421"/>
                <a:gd name="T78" fmla="*/ 4 w 365"/>
                <a:gd name="T79" fmla="*/ 29 h 421"/>
                <a:gd name="T80" fmla="*/ 2 w 365"/>
                <a:gd name="T81" fmla="*/ 29 h 421"/>
                <a:gd name="T82" fmla="*/ 1 w 365"/>
                <a:gd name="T83" fmla="*/ 30 h 421"/>
                <a:gd name="T84" fmla="*/ 2 w 365"/>
                <a:gd name="T85" fmla="*/ 31 h 421"/>
                <a:gd name="T86" fmla="*/ 29 w 365"/>
                <a:gd name="T87" fmla="*/ 43 h 421"/>
                <a:gd name="T88" fmla="*/ 30 w 365"/>
                <a:gd name="T89" fmla="*/ 47 h 421"/>
                <a:gd name="T90" fmla="*/ 40 w 365"/>
                <a:gd name="T91" fmla="*/ 52 h 421"/>
                <a:gd name="T92" fmla="*/ 42 w 365"/>
                <a:gd name="T93" fmla="*/ 51 h 421"/>
                <a:gd name="T94" fmla="*/ 47 w 365"/>
                <a:gd name="T95" fmla="*/ 44 h 421"/>
                <a:gd name="T96" fmla="*/ 47 w 365"/>
                <a:gd name="T97" fmla="*/ 43 h 421"/>
                <a:gd name="T98" fmla="*/ 49 w 365"/>
                <a:gd name="T99" fmla="*/ 40 h 421"/>
                <a:gd name="T100" fmla="*/ 52 w 365"/>
                <a:gd name="T101" fmla="*/ 39 h 421"/>
                <a:gd name="T102" fmla="*/ 52 w 365"/>
                <a:gd name="T103" fmla="*/ 38 h 421"/>
                <a:gd name="T104" fmla="*/ 53 w 365"/>
                <a:gd name="T105" fmla="*/ 37 h 421"/>
                <a:gd name="T106" fmla="*/ 54 w 365"/>
                <a:gd name="T107" fmla="*/ 37 h 421"/>
                <a:gd name="T108" fmla="*/ 55 w 365"/>
                <a:gd name="T109" fmla="*/ 37 h 421"/>
                <a:gd name="T110" fmla="*/ 56 w 365"/>
                <a:gd name="T111" fmla="*/ 36 h 421"/>
                <a:gd name="T112" fmla="*/ 57 w 365"/>
                <a:gd name="T113" fmla="*/ 35 h 421"/>
                <a:gd name="T114" fmla="*/ 57 w 365"/>
                <a:gd name="T115" fmla="*/ 35 h 421"/>
                <a:gd name="T116" fmla="*/ 53 w 365"/>
                <a:gd name="T117" fmla="*/ 31 h 421"/>
                <a:gd name="T118" fmla="*/ 53 w 365"/>
                <a:gd name="T119" fmla="*/ 26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5"/>
                <a:gd name="T181" fmla="*/ 0 h 421"/>
                <a:gd name="T182" fmla="*/ 365 w 365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5" h="421">
                  <a:moveTo>
                    <a:pt x="324" y="215"/>
                  </a:moveTo>
                  <a:lnTo>
                    <a:pt x="324" y="82"/>
                  </a:lnTo>
                  <a:lnTo>
                    <a:pt x="327" y="80"/>
                  </a:lnTo>
                  <a:lnTo>
                    <a:pt x="364" y="35"/>
                  </a:lnTo>
                  <a:lnTo>
                    <a:pt x="365" y="31"/>
                  </a:lnTo>
                  <a:lnTo>
                    <a:pt x="341" y="31"/>
                  </a:lnTo>
                  <a:lnTo>
                    <a:pt x="314" y="18"/>
                  </a:lnTo>
                  <a:lnTo>
                    <a:pt x="281" y="26"/>
                  </a:lnTo>
                  <a:lnTo>
                    <a:pt x="269" y="39"/>
                  </a:lnTo>
                  <a:lnTo>
                    <a:pt x="249" y="50"/>
                  </a:lnTo>
                  <a:lnTo>
                    <a:pt x="180" y="38"/>
                  </a:lnTo>
                  <a:lnTo>
                    <a:pt x="124" y="3"/>
                  </a:lnTo>
                  <a:lnTo>
                    <a:pt x="98" y="3"/>
                  </a:lnTo>
                  <a:lnTo>
                    <a:pt x="87" y="0"/>
                  </a:lnTo>
                  <a:lnTo>
                    <a:pt x="24" y="1"/>
                  </a:lnTo>
                  <a:lnTo>
                    <a:pt x="14" y="6"/>
                  </a:lnTo>
                  <a:lnTo>
                    <a:pt x="0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16" y="28"/>
                  </a:lnTo>
                  <a:lnTo>
                    <a:pt x="17" y="30"/>
                  </a:lnTo>
                  <a:lnTo>
                    <a:pt x="17" y="36"/>
                  </a:lnTo>
                  <a:lnTo>
                    <a:pt x="18" y="37"/>
                  </a:lnTo>
                  <a:lnTo>
                    <a:pt x="20" y="39"/>
                  </a:lnTo>
                  <a:lnTo>
                    <a:pt x="26" y="67"/>
                  </a:lnTo>
                  <a:lnTo>
                    <a:pt x="30" y="71"/>
                  </a:lnTo>
                  <a:lnTo>
                    <a:pt x="40" y="77"/>
                  </a:lnTo>
                  <a:lnTo>
                    <a:pt x="46" y="84"/>
                  </a:lnTo>
                  <a:lnTo>
                    <a:pt x="48" y="129"/>
                  </a:lnTo>
                  <a:lnTo>
                    <a:pt x="46" y="141"/>
                  </a:lnTo>
                  <a:lnTo>
                    <a:pt x="3" y="199"/>
                  </a:lnTo>
                  <a:lnTo>
                    <a:pt x="2" y="212"/>
                  </a:lnTo>
                  <a:lnTo>
                    <a:pt x="9" y="219"/>
                  </a:lnTo>
                  <a:lnTo>
                    <a:pt x="11" y="226"/>
                  </a:lnTo>
                  <a:lnTo>
                    <a:pt x="17" y="225"/>
                  </a:lnTo>
                  <a:lnTo>
                    <a:pt x="22" y="222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29" y="229"/>
                  </a:lnTo>
                  <a:lnTo>
                    <a:pt x="22" y="235"/>
                  </a:lnTo>
                  <a:lnTo>
                    <a:pt x="14" y="235"/>
                  </a:lnTo>
                  <a:lnTo>
                    <a:pt x="6" y="246"/>
                  </a:lnTo>
                  <a:lnTo>
                    <a:pt x="14" y="253"/>
                  </a:lnTo>
                  <a:lnTo>
                    <a:pt x="174" y="347"/>
                  </a:lnTo>
                  <a:lnTo>
                    <a:pt x="184" y="382"/>
                  </a:lnTo>
                  <a:lnTo>
                    <a:pt x="248" y="421"/>
                  </a:lnTo>
                  <a:lnTo>
                    <a:pt x="256" y="416"/>
                  </a:lnTo>
                  <a:lnTo>
                    <a:pt x="287" y="358"/>
                  </a:lnTo>
                  <a:lnTo>
                    <a:pt x="290" y="345"/>
                  </a:lnTo>
                  <a:lnTo>
                    <a:pt x="300" y="328"/>
                  </a:lnTo>
                  <a:lnTo>
                    <a:pt x="317" y="319"/>
                  </a:lnTo>
                  <a:lnTo>
                    <a:pt x="319" y="309"/>
                  </a:lnTo>
                  <a:lnTo>
                    <a:pt x="325" y="302"/>
                  </a:lnTo>
                  <a:lnTo>
                    <a:pt x="331" y="300"/>
                  </a:lnTo>
                  <a:lnTo>
                    <a:pt x="338" y="299"/>
                  </a:lnTo>
                  <a:lnTo>
                    <a:pt x="347" y="289"/>
                  </a:lnTo>
                  <a:lnTo>
                    <a:pt x="349" y="285"/>
                  </a:lnTo>
                  <a:lnTo>
                    <a:pt x="349" y="281"/>
                  </a:lnTo>
                  <a:lnTo>
                    <a:pt x="324" y="250"/>
                  </a:lnTo>
                  <a:lnTo>
                    <a:pt x="324" y="21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2" name="Freeform 190"/>
            <p:cNvSpPr>
              <a:spLocks/>
            </p:cNvSpPr>
            <p:nvPr/>
          </p:nvSpPr>
          <p:spPr bwMode="auto">
            <a:xfrm>
              <a:off x="5134053" y="2978317"/>
              <a:ext cx="434638" cy="421167"/>
            </a:xfrm>
            <a:custGeom>
              <a:avLst/>
              <a:gdLst>
                <a:gd name="T0" fmla="*/ 53 w 365"/>
                <a:gd name="T1" fmla="*/ 26 h 421"/>
                <a:gd name="T2" fmla="*/ 53 w 365"/>
                <a:gd name="T3" fmla="*/ 10 h 421"/>
                <a:gd name="T4" fmla="*/ 53 w 365"/>
                <a:gd name="T5" fmla="*/ 10 h 421"/>
                <a:gd name="T6" fmla="*/ 59 w 365"/>
                <a:gd name="T7" fmla="*/ 4 h 421"/>
                <a:gd name="T8" fmla="*/ 59 w 365"/>
                <a:gd name="T9" fmla="*/ 4 h 421"/>
                <a:gd name="T10" fmla="*/ 56 w 365"/>
                <a:gd name="T11" fmla="*/ 4 h 421"/>
                <a:gd name="T12" fmla="*/ 51 w 365"/>
                <a:gd name="T13" fmla="*/ 2 h 421"/>
                <a:gd name="T14" fmla="*/ 46 w 365"/>
                <a:gd name="T15" fmla="*/ 3 h 421"/>
                <a:gd name="T16" fmla="*/ 43 w 365"/>
                <a:gd name="T17" fmla="*/ 5 h 421"/>
                <a:gd name="T18" fmla="*/ 40 w 365"/>
                <a:gd name="T19" fmla="*/ 6 h 421"/>
                <a:gd name="T20" fmla="*/ 29 w 365"/>
                <a:gd name="T21" fmla="*/ 5 h 421"/>
                <a:gd name="T22" fmla="*/ 21 w 365"/>
                <a:gd name="T23" fmla="*/ 1 h 421"/>
                <a:gd name="T24" fmla="*/ 16 w 365"/>
                <a:gd name="T25" fmla="*/ 1 h 421"/>
                <a:gd name="T26" fmla="*/ 14 w 365"/>
                <a:gd name="T27" fmla="*/ 0 h 421"/>
                <a:gd name="T28" fmla="*/ 4 w 365"/>
                <a:gd name="T29" fmla="*/ 1 h 421"/>
                <a:gd name="T30" fmla="*/ 2 w 365"/>
                <a:gd name="T31" fmla="*/ 1 h 421"/>
                <a:gd name="T32" fmla="*/ 0 w 365"/>
                <a:gd name="T33" fmla="*/ 3 h 421"/>
                <a:gd name="T34" fmla="*/ 1 w 365"/>
                <a:gd name="T35" fmla="*/ 3 h 421"/>
                <a:gd name="T36" fmla="*/ 1 w 365"/>
                <a:gd name="T37" fmla="*/ 3 h 421"/>
                <a:gd name="T38" fmla="*/ 3 w 365"/>
                <a:gd name="T39" fmla="*/ 3 h 421"/>
                <a:gd name="T40" fmla="*/ 3 w 365"/>
                <a:gd name="T41" fmla="*/ 4 h 421"/>
                <a:gd name="T42" fmla="*/ 3 w 365"/>
                <a:gd name="T43" fmla="*/ 4 h 421"/>
                <a:gd name="T44" fmla="*/ 3 w 365"/>
                <a:gd name="T45" fmla="*/ 5 h 421"/>
                <a:gd name="T46" fmla="*/ 3 w 365"/>
                <a:gd name="T47" fmla="*/ 5 h 421"/>
                <a:gd name="T48" fmla="*/ 4 w 365"/>
                <a:gd name="T49" fmla="*/ 9 h 421"/>
                <a:gd name="T50" fmla="*/ 5 w 365"/>
                <a:gd name="T51" fmla="*/ 9 h 421"/>
                <a:gd name="T52" fmla="*/ 6 w 365"/>
                <a:gd name="T53" fmla="*/ 9 h 421"/>
                <a:gd name="T54" fmla="*/ 8 w 365"/>
                <a:gd name="T55" fmla="*/ 10 h 421"/>
                <a:gd name="T56" fmla="*/ 8 w 365"/>
                <a:gd name="T57" fmla="*/ 16 h 421"/>
                <a:gd name="T58" fmla="*/ 8 w 365"/>
                <a:gd name="T59" fmla="*/ 17 h 421"/>
                <a:gd name="T60" fmla="*/ 1 w 365"/>
                <a:gd name="T61" fmla="*/ 24 h 421"/>
                <a:gd name="T62" fmla="*/ 1 w 365"/>
                <a:gd name="T63" fmla="*/ 26 h 421"/>
                <a:gd name="T64" fmla="*/ 1 w 365"/>
                <a:gd name="T65" fmla="*/ 27 h 421"/>
                <a:gd name="T66" fmla="*/ 2 w 365"/>
                <a:gd name="T67" fmla="*/ 27 h 421"/>
                <a:gd name="T68" fmla="*/ 3 w 365"/>
                <a:gd name="T69" fmla="*/ 27 h 421"/>
                <a:gd name="T70" fmla="*/ 4 w 365"/>
                <a:gd name="T71" fmla="*/ 27 h 421"/>
                <a:gd name="T72" fmla="*/ 6 w 365"/>
                <a:gd name="T73" fmla="*/ 27 h 421"/>
                <a:gd name="T74" fmla="*/ 6 w 365"/>
                <a:gd name="T75" fmla="*/ 27 h 421"/>
                <a:gd name="T76" fmla="*/ 5 w 365"/>
                <a:gd name="T77" fmla="*/ 28 h 421"/>
                <a:gd name="T78" fmla="*/ 4 w 365"/>
                <a:gd name="T79" fmla="*/ 29 h 421"/>
                <a:gd name="T80" fmla="*/ 2 w 365"/>
                <a:gd name="T81" fmla="*/ 29 h 421"/>
                <a:gd name="T82" fmla="*/ 1 w 365"/>
                <a:gd name="T83" fmla="*/ 30 h 421"/>
                <a:gd name="T84" fmla="*/ 2 w 365"/>
                <a:gd name="T85" fmla="*/ 31 h 421"/>
                <a:gd name="T86" fmla="*/ 29 w 365"/>
                <a:gd name="T87" fmla="*/ 43 h 421"/>
                <a:gd name="T88" fmla="*/ 30 w 365"/>
                <a:gd name="T89" fmla="*/ 47 h 421"/>
                <a:gd name="T90" fmla="*/ 40 w 365"/>
                <a:gd name="T91" fmla="*/ 52 h 421"/>
                <a:gd name="T92" fmla="*/ 42 w 365"/>
                <a:gd name="T93" fmla="*/ 51 h 421"/>
                <a:gd name="T94" fmla="*/ 47 w 365"/>
                <a:gd name="T95" fmla="*/ 44 h 421"/>
                <a:gd name="T96" fmla="*/ 47 w 365"/>
                <a:gd name="T97" fmla="*/ 43 h 421"/>
                <a:gd name="T98" fmla="*/ 49 w 365"/>
                <a:gd name="T99" fmla="*/ 40 h 421"/>
                <a:gd name="T100" fmla="*/ 52 w 365"/>
                <a:gd name="T101" fmla="*/ 39 h 421"/>
                <a:gd name="T102" fmla="*/ 52 w 365"/>
                <a:gd name="T103" fmla="*/ 38 h 421"/>
                <a:gd name="T104" fmla="*/ 53 w 365"/>
                <a:gd name="T105" fmla="*/ 37 h 421"/>
                <a:gd name="T106" fmla="*/ 54 w 365"/>
                <a:gd name="T107" fmla="*/ 37 h 421"/>
                <a:gd name="T108" fmla="*/ 55 w 365"/>
                <a:gd name="T109" fmla="*/ 37 h 421"/>
                <a:gd name="T110" fmla="*/ 56 w 365"/>
                <a:gd name="T111" fmla="*/ 36 h 421"/>
                <a:gd name="T112" fmla="*/ 57 w 365"/>
                <a:gd name="T113" fmla="*/ 35 h 421"/>
                <a:gd name="T114" fmla="*/ 57 w 365"/>
                <a:gd name="T115" fmla="*/ 35 h 421"/>
                <a:gd name="T116" fmla="*/ 53 w 365"/>
                <a:gd name="T117" fmla="*/ 31 h 421"/>
                <a:gd name="T118" fmla="*/ 53 w 365"/>
                <a:gd name="T119" fmla="*/ 26 h 4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65"/>
                <a:gd name="T181" fmla="*/ 0 h 421"/>
                <a:gd name="T182" fmla="*/ 365 w 365"/>
                <a:gd name="T183" fmla="*/ 421 h 4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65" h="421">
                  <a:moveTo>
                    <a:pt x="324" y="215"/>
                  </a:moveTo>
                  <a:lnTo>
                    <a:pt x="324" y="82"/>
                  </a:lnTo>
                  <a:lnTo>
                    <a:pt x="327" y="80"/>
                  </a:lnTo>
                  <a:lnTo>
                    <a:pt x="364" y="35"/>
                  </a:lnTo>
                  <a:lnTo>
                    <a:pt x="365" y="31"/>
                  </a:lnTo>
                  <a:lnTo>
                    <a:pt x="341" y="31"/>
                  </a:lnTo>
                  <a:lnTo>
                    <a:pt x="314" y="18"/>
                  </a:lnTo>
                  <a:lnTo>
                    <a:pt x="281" y="26"/>
                  </a:lnTo>
                  <a:lnTo>
                    <a:pt x="269" y="39"/>
                  </a:lnTo>
                  <a:lnTo>
                    <a:pt x="249" y="50"/>
                  </a:lnTo>
                  <a:lnTo>
                    <a:pt x="180" y="38"/>
                  </a:lnTo>
                  <a:lnTo>
                    <a:pt x="124" y="3"/>
                  </a:lnTo>
                  <a:lnTo>
                    <a:pt x="98" y="3"/>
                  </a:lnTo>
                  <a:lnTo>
                    <a:pt x="87" y="0"/>
                  </a:lnTo>
                  <a:lnTo>
                    <a:pt x="24" y="1"/>
                  </a:lnTo>
                  <a:lnTo>
                    <a:pt x="14" y="6"/>
                  </a:lnTo>
                  <a:lnTo>
                    <a:pt x="0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16" y="28"/>
                  </a:lnTo>
                  <a:lnTo>
                    <a:pt x="17" y="30"/>
                  </a:lnTo>
                  <a:lnTo>
                    <a:pt x="17" y="36"/>
                  </a:lnTo>
                  <a:lnTo>
                    <a:pt x="18" y="37"/>
                  </a:lnTo>
                  <a:lnTo>
                    <a:pt x="20" y="39"/>
                  </a:lnTo>
                  <a:lnTo>
                    <a:pt x="26" y="67"/>
                  </a:lnTo>
                  <a:lnTo>
                    <a:pt x="30" y="71"/>
                  </a:lnTo>
                  <a:lnTo>
                    <a:pt x="40" y="77"/>
                  </a:lnTo>
                  <a:lnTo>
                    <a:pt x="46" y="84"/>
                  </a:lnTo>
                  <a:lnTo>
                    <a:pt x="48" y="129"/>
                  </a:lnTo>
                  <a:lnTo>
                    <a:pt x="46" y="141"/>
                  </a:lnTo>
                  <a:lnTo>
                    <a:pt x="3" y="199"/>
                  </a:lnTo>
                  <a:lnTo>
                    <a:pt x="2" y="212"/>
                  </a:lnTo>
                  <a:lnTo>
                    <a:pt x="9" y="219"/>
                  </a:lnTo>
                  <a:lnTo>
                    <a:pt x="11" y="226"/>
                  </a:lnTo>
                  <a:lnTo>
                    <a:pt x="17" y="225"/>
                  </a:lnTo>
                  <a:lnTo>
                    <a:pt x="22" y="222"/>
                  </a:lnTo>
                  <a:lnTo>
                    <a:pt x="40" y="222"/>
                  </a:lnTo>
                  <a:lnTo>
                    <a:pt x="40" y="225"/>
                  </a:lnTo>
                  <a:lnTo>
                    <a:pt x="29" y="229"/>
                  </a:lnTo>
                  <a:lnTo>
                    <a:pt x="22" y="235"/>
                  </a:lnTo>
                  <a:lnTo>
                    <a:pt x="14" y="235"/>
                  </a:lnTo>
                  <a:lnTo>
                    <a:pt x="6" y="246"/>
                  </a:lnTo>
                  <a:lnTo>
                    <a:pt x="14" y="253"/>
                  </a:lnTo>
                  <a:lnTo>
                    <a:pt x="174" y="347"/>
                  </a:lnTo>
                  <a:lnTo>
                    <a:pt x="184" y="382"/>
                  </a:lnTo>
                  <a:lnTo>
                    <a:pt x="248" y="421"/>
                  </a:lnTo>
                  <a:lnTo>
                    <a:pt x="256" y="416"/>
                  </a:lnTo>
                  <a:lnTo>
                    <a:pt x="287" y="358"/>
                  </a:lnTo>
                  <a:lnTo>
                    <a:pt x="290" y="345"/>
                  </a:lnTo>
                  <a:lnTo>
                    <a:pt x="300" y="328"/>
                  </a:lnTo>
                  <a:lnTo>
                    <a:pt x="317" y="319"/>
                  </a:lnTo>
                  <a:lnTo>
                    <a:pt x="319" y="309"/>
                  </a:lnTo>
                  <a:lnTo>
                    <a:pt x="325" y="302"/>
                  </a:lnTo>
                  <a:lnTo>
                    <a:pt x="331" y="300"/>
                  </a:lnTo>
                  <a:lnTo>
                    <a:pt x="338" y="299"/>
                  </a:lnTo>
                  <a:lnTo>
                    <a:pt x="347" y="289"/>
                  </a:lnTo>
                  <a:lnTo>
                    <a:pt x="349" y="285"/>
                  </a:lnTo>
                  <a:lnTo>
                    <a:pt x="349" y="281"/>
                  </a:lnTo>
                  <a:lnTo>
                    <a:pt x="324" y="250"/>
                  </a:lnTo>
                  <a:lnTo>
                    <a:pt x="324" y="215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3" name="Freeform 191"/>
            <p:cNvSpPr>
              <a:spLocks/>
            </p:cNvSpPr>
            <p:nvPr/>
          </p:nvSpPr>
          <p:spPr bwMode="auto">
            <a:xfrm>
              <a:off x="5560567" y="2410576"/>
              <a:ext cx="8124" cy="9277"/>
            </a:xfrm>
            <a:custGeom>
              <a:avLst/>
              <a:gdLst>
                <a:gd name="T0" fmla="*/ 0 w 9"/>
                <a:gd name="T1" fmla="*/ 1 h 9"/>
                <a:gd name="T2" fmla="*/ 0 w 9"/>
                <a:gd name="T3" fmla="*/ 1 h 9"/>
                <a:gd name="T4" fmla="*/ 0 w 9"/>
                <a:gd name="T5" fmla="*/ 1 h 9"/>
                <a:gd name="T6" fmla="*/ 0 w 9"/>
                <a:gd name="T7" fmla="*/ 1 h 9"/>
                <a:gd name="T8" fmla="*/ 0 w 9"/>
                <a:gd name="T9" fmla="*/ 1 h 9"/>
                <a:gd name="T10" fmla="*/ 0 w 9"/>
                <a:gd name="T11" fmla="*/ 0 h 9"/>
                <a:gd name="T12" fmla="*/ 0 w 9"/>
                <a:gd name="T13" fmla="*/ 1 h 9"/>
                <a:gd name="T14" fmla="*/ 0 w 9"/>
                <a:gd name="T15" fmla="*/ 1 h 9"/>
                <a:gd name="T16" fmla="*/ 0 w 9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7" y="9"/>
                  </a:moveTo>
                  <a:lnTo>
                    <a:pt x="9" y="9"/>
                  </a:lnTo>
                  <a:lnTo>
                    <a:pt x="9" y="8"/>
                  </a:lnTo>
                  <a:lnTo>
                    <a:pt x="5" y="6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9"/>
                  </a:lnTo>
                  <a:lnTo>
                    <a:pt x="7" y="9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4" name="Freeform 192"/>
            <p:cNvSpPr>
              <a:spLocks/>
            </p:cNvSpPr>
            <p:nvPr/>
          </p:nvSpPr>
          <p:spPr bwMode="auto">
            <a:xfrm>
              <a:off x="5560567" y="2410576"/>
              <a:ext cx="8124" cy="9277"/>
            </a:xfrm>
            <a:custGeom>
              <a:avLst/>
              <a:gdLst>
                <a:gd name="T0" fmla="*/ 0 w 9"/>
                <a:gd name="T1" fmla="*/ 1 h 9"/>
                <a:gd name="T2" fmla="*/ 0 w 9"/>
                <a:gd name="T3" fmla="*/ 1 h 9"/>
                <a:gd name="T4" fmla="*/ 0 w 9"/>
                <a:gd name="T5" fmla="*/ 1 h 9"/>
                <a:gd name="T6" fmla="*/ 0 w 9"/>
                <a:gd name="T7" fmla="*/ 1 h 9"/>
                <a:gd name="T8" fmla="*/ 0 w 9"/>
                <a:gd name="T9" fmla="*/ 1 h 9"/>
                <a:gd name="T10" fmla="*/ 0 w 9"/>
                <a:gd name="T11" fmla="*/ 0 h 9"/>
                <a:gd name="T12" fmla="*/ 0 w 9"/>
                <a:gd name="T13" fmla="*/ 1 h 9"/>
                <a:gd name="T14" fmla="*/ 0 w 9"/>
                <a:gd name="T15" fmla="*/ 1 h 9"/>
                <a:gd name="T16" fmla="*/ 0 w 9"/>
                <a:gd name="T17" fmla="*/ 1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7" y="9"/>
                  </a:moveTo>
                  <a:lnTo>
                    <a:pt x="9" y="9"/>
                  </a:lnTo>
                  <a:lnTo>
                    <a:pt x="9" y="8"/>
                  </a:lnTo>
                  <a:lnTo>
                    <a:pt x="5" y="6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9"/>
                  </a:lnTo>
                  <a:lnTo>
                    <a:pt x="7" y="9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5" name="Freeform 193"/>
            <p:cNvSpPr>
              <a:spLocks/>
            </p:cNvSpPr>
            <p:nvPr/>
          </p:nvSpPr>
          <p:spPr bwMode="auto">
            <a:xfrm>
              <a:off x="5562597" y="2406866"/>
              <a:ext cx="6092" cy="927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1 h 8"/>
                <a:gd name="T6" fmla="*/ 0 w 7"/>
                <a:gd name="T7" fmla="*/ 1 h 8"/>
                <a:gd name="T8" fmla="*/ 0 w 7"/>
                <a:gd name="T9" fmla="*/ 2 h 8"/>
                <a:gd name="T10" fmla="*/ 0 w 7"/>
                <a:gd name="T11" fmla="*/ 2 h 8"/>
                <a:gd name="T12" fmla="*/ 0 w 7"/>
                <a:gd name="T13" fmla="*/ 2 h 8"/>
                <a:gd name="T14" fmla="*/ 0 w 7"/>
                <a:gd name="T15" fmla="*/ 2 h 8"/>
                <a:gd name="T16" fmla="*/ 0 w 7"/>
                <a:gd name="T17" fmla="*/ 1 h 8"/>
                <a:gd name="T18" fmla="*/ 0 w 7"/>
                <a:gd name="T19" fmla="*/ 1 h 8"/>
                <a:gd name="T20" fmla="*/ 0 w 7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8"/>
                <a:gd name="T35" fmla="*/ 7 w 7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8">
                  <a:moveTo>
                    <a:pt x="1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2" y="4"/>
                  </a:lnTo>
                  <a:lnTo>
                    <a:pt x="3" y="7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5" y="5"/>
                  </a:lnTo>
                  <a:lnTo>
                    <a:pt x="5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6" name="Freeform 194"/>
            <p:cNvSpPr>
              <a:spLocks/>
            </p:cNvSpPr>
            <p:nvPr/>
          </p:nvSpPr>
          <p:spPr bwMode="auto">
            <a:xfrm>
              <a:off x="5562597" y="2406866"/>
              <a:ext cx="6092" cy="9277"/>
            </a:xfrm>
            <a:custGeom>
              <a:avLst/>
              <a:gdLst>
                <a:gd name="T0" fmla="*/ 0 w 7"/>
                <a:gd name="T1" fmla="*/ 0 h 8"/>
                <a:gd name="T2" fmla="*/ 0 w 7"/>
                <a:gd name="T3" fmla="*/ 0 h 8"/>
                <a:gd name="T4" fmla="*/ 0 w 7"/>
                <a:gd name="T5" fmla="*/ 1 h 8"/>
                <a:gd name="T6" fmla="*/ 0 w 7"/>
                <a:gd name="T7" fmla="*/ 1 h 8"/>
                <a:gd name="T8" fmla="*/ 0 w 7"/>
                <a:gd name="T9" fmla="*/ 2 h 8"/>
                <a:gd name="T10" fmla="*/ 0 w 7"/>
                <a:gd name="T11" fmla="*/ 2 h 8"/>
                <a:gd name="T12" fmla="*/ 0 w 7"/>
                <a:gd name="T13" fmla="*/ 2 h 8"/>
                <a:gd name="T14" fmla="*/ 0 w 7"/>
                <a:gd name="T15" fmla="*/ 2 h 8"/>
                <a:gd name="T16" fmla="*/ 0 w 7"/>
                <a:gd name="T17" fmla="*/ 1 h 8"/>
                <a:gd name="T18" fmla="*/ 0 w 7"/>
                <a:gd name="T19" fmla="*/ 1 h 8"/>
                <a:gd name="T20" fmla="*/ 0 w 7"/>
                <a:gd name="T21" fmla="*/ 0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"/>
                <a:gd name="T34" fmla="*/ 0 h 8"/>
                <a:gd name="T35" fmla="*/ 7 w 7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" h="8">
                  <a:moveTo>
                    <a:pt x="1" y="0"/>
                  </a:moveTo>
                  <a:lnTo>
                    <a:pt x="0" y="0"/>
                  </a:lnTo>
                  <a:lnTo>
                    <a:pt x="1" y="3"/>
                  </a:lnTo>
                  <a:lnTo>
                    <a:pt x="2" y="4"/>
                  </a:lnTo>
                  <a:lnTo>
                    <a:pt x="3" y="7"/>
                  </a:lnTo>
                  <a:lnTo>
                    <a:pt x="5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5" y="5"/>
                  </a:lnTo>
                  <a:lnTo>
                    <a:pt x="5" y="1"/>
                  </a:lnTo>
                  <a:lnTo>
                    <a:pt x="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7" name="Freeform 195"/>
            <p:cNvSpPr>
              <a:spLocks/>
            </p:cNvSpPr>
            <p:nvPr/>
          </p:nvSpPr>
          <p:spPr bwMode="auto">
            <a:xfrm>
              <a:off x="5570721" y="2416142"/>
              <a:ext cx="8124" cy="5567"/>
            </a:xfrm>
            <a:custGeom>
              <a:avLst/>
              <a:gdLst>
                <a:gd name="T0" fmla="*/ 2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1 w 5"/>
                <a:gd name="T9" fmla="*/ 0 h 8"/>
                <a:gd name="T10" fmla="*/ 0 w 5"/>
                <a:gd name="T11" fmla="*/ 0 h 8"/>
                <a:gd name="T12" fmla="*/ 2 w 5"/>
                <a:gd name="T13" fmla="*/ 0 h 8"/>
                <a:gd name="T14" fmla="*/ 2 w 5"/>
                <a:gd name="T15" fmla="*/ 0 h 8"/>
                <a:gd name="T16" fmla="*/ 2 w 5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4" y="8"/>
                  </a:moveTo>
                  <a:lnTo>
                    <a:pt x="5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4" y="8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8" name="Freeform 196"/>
            <p:cNvSpPr>
              <a:spLocks/>
            </p:cNvSpPr>
            <p:nvPr/>
          </p:nvSpPr>
          <p:spPr bwMode="auto">
            <a:xfrm>
              <a:off x="5570721" y="2416142"/>
              <a:ext cx="8124" cy="5567"/>
            </a:xfrm>
            <a:custGeom>
              <a:avLst/>
              <a:gdLst>
                <a:gd name="T0" fmla="*/ 2 w 5"/>
                <a:gd name="T1" fmla="*/ 0 h 8"/>
                <a:gd name="T2" fmla="*/ 2 w 5"/>
                <a:gd name="T3" fmla="*/ 0 h 8"/>
                <a:gd name="T4" fmla="*/ 2 w 5"/>
                <a:gd name="T5" fmla="*/ 0 h 8"/>
                <a:gd name="T6" fmla="*/ 2 w 5"/>
                <a:gd name="T7" fmla="*/ 0 h 8"/>
                <a:gd name="T8" fmla="*/ 1 w 5"/>
                <a:gd name="T9" fmla="*/ 0 h 8"/>
                <a:gd name="T10" fmla="*/ 0 w 5"/>
                <a:gd name="T11" fmla="*/ 0 h 8"/>
                <a:gd name="T12" fmla="*/ 2 w 5"/>
                <a:gd name="T13" fmla="*/ 0 h 8"/>
                <a:gd name="T14" fmla="*/ 2 w 5"/>
                <a:gd name="T15" fmla="*/ 0 h 8"/>
                <a:gd name="T16" fmla="*/ 2 w 5"/>
                <a:gd name="T17" fmla="*/ 0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4" y="8"/>
                  </a:moveTo>
                  <a:lnTo>
                    <a:pt x="5" y="6"/>
                  </a:lnTo>
                  <a:lnTo>
                    <a:pt x="4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3" y="7"/>
                  </a:lnTo>
                  <a:lnTo>
                    <a:pt x="4" y="8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89" name="Freeform 197"/>
            <p:cNvSpPr>
              <a:spLocks/>
            </p:cNvSpPr>
            <p:nvPr/>
          </p:nvSpPr>
          <p:spPr bwMode="auto">
            <a:xfrm>
              <a:off x="5215294" y="1353019"/>
              <a:ext cx="387924" cy="283871"/>
            </a:xfrm>
            <a:custGeom>
              <a:avLst/>
              <a:gdLst>
                <a:gd name="T0" fmla="*/ 43 w 323"/>
                <a:gd name="T1" fmla="*/ 21 h 280"/>
                <a:gd name="T2" fmla="*/ 46 w 323"/>
                <a:gd name="T3" fmla="*/ 7 h 280"/>
                <a:gd name="T4" fmla="*/ 53 w 323"/>
                <a:gd name="T5" fmla="*/ 2 h 280"/>
                <a:gd name="T6" fmla="*/ 53 w 323"/>
                <a:gd name="T7" fmla="*/ 1 h 280"/>
                <a:gd name="T8" fmla="*/ 53 w 323"/>
                <a:gd name="T9" fmla="*/ 1 h 280"/>
                <a:gd name="T10" fmla="*/ 52 w 323"/>
                <a:gd name="T11" fmla="*/ 0 h 280"/>
                <a:gd name="T12" fmla="*/ 48 w 323"/>
                <a:gd name="T13" fmla="*/ 2 h 280"/>
                <a:gd name="T14" fmla="*/ 43 w 323"/>
                <a:gd name="T15" fmla="*/ 1 h 280"/>
                <a:gd name="T16" fmla="*/ 36 w 323"/>
                <a:gd name="T17" fmla="*/ 3 h 280"/>
                <a:gd name="T18" fmla="*/ 34 w 323"/>
                <a:gd name="T19" fmla="*/ 4 h 280"/>
                <a:gd name="T20" fmla="*/ 25 w 323"/>
                <a:gd name="T21" fmla="*/ 4 h 280"/>
                <a:gd name="T22" fmla="*/ 22 w 323"/>
                <a:gd name="T23" fmla="*/ 3 h 280"/>
                <a:gd name="T24" fmla="*/ 17 w 323"/>
                <a:gd name="T25" fmla="*/ 4 h 280"/>
                <a:gd name="T26" fmla="*/ 14 w 323"/>
                <a:gd name="T27" fmla="*/ 5 h 280"/>
                <a:gd name="T28" fmla="*/ 12 w 323"/>
                <a:gd name="T29" fmla="*/ 5 h 280"/>
                <a:gd name="T30" fmla="*/ 12 w 323"/>
                <a:gd name="T31" fmla="*/ 4 h 280"/>
                <a:gd name="T32" fmla="*/ 11 w 323"/>
                <a:gd name="T33" fmla="*/ 4 h 280"/>
                <a:gd name="T34" fmla="*/ 9 w 323"/>
                <a:gd name="T35" fmla="*/ 5 h 280"/>
                <a:gd name="T36" fmla="*/ 9 w 323"/>
                <a:gd name="T37" fmla="*/ 5 h 280"/>
                <a:gd name="T38" fmla="*/ 9 w 323"/>
                <a:gd name="T39" fmla="*/ 8 h 280"/>
                <a:gd name="T40" fmla="*/ 9 w 323"/>
                <a:gd name="T41" fmla="*/ 8 h 280"/>
                <a:gd name="T42" fmla="*/ 7 w 323"/>
                <a:gd name="T43" fmla="*/ 8 h 280"/>
                <a:gd name="T44" fmla="*/ 7 w 323"/>
                <a:gd name="T45" fmla="*/ 10 h 280"/>
                <a:gd name="T46" fmla="*/ 5 w 323"/>
                <a:gd name="T47" fmla="*/ 11 h 280"/>
                <a:gd name="T48" fmla="*/ 4 w 323"/>
                <a:gd name="T49" fmla="*/ 10 h 280"/>
                <a:gd name="T50" fmla="*/ 4 w 323"/>
                <a:gd name="T51" fmla="*/ 11 h 280"/>
                <a:gd name="T52" fmla="*/ 3 w 323"/>
                <a:gd name="T53" fmla="*/ 13 h 280"/>
                <a:gd name="T54" fmla="*/ 4 w 323"/>
                <a:gd name="T55" fmla="*/ 17 h 280"/>
                <a:gd name="T56" fmla="*/ 4 w 323"/>
                <a:gd name="T57" fmla="*/ 19 h 280"/>
                <a:gd name="T58" fmla="*/ 7 w 323"/>
                <a:gd name="T59" fmla="*/ 19 h 280"/>
                <a:gd name="T60" fmla="*/ 7 w 323"/>
                <a:gd name="T61" fmla="*/ 19 h 280"/>
                <a:gd name="T62" fmla="*/ 8 w 323"/>
                <a:gd name="T63" fmla="*/ 19 h 280"/>
                <a:gd name="T64" fmla="*/ 8 w 323"/>
                <a:gd name="T65" fmla="*/ 20 h 280"/>
                <a:gd name="T66" fmla="*/ 7 w 323"/>
                <a:gd name="T67" fmla="*/ 20 h 280"/>
                <a:gd name="T68" fmla="*/ 8 w 323"/>
                <a:gd name="T69" fmla="*/ 20 h 280"/>
                <a:gd name="T70" fmla="*/ 9 w 323"/>
                <a:gd name="T71" fmla="*/ 21 h 280"/>
                <a:gd name="T72" fmla="*/ 9 w 323"/>
                <a:gd name="T73" fmla="*/ 22 h 280"/>
                <a:gd name="T74" fmla="*/ 9 w 323"/>
                <a:gd name="T75" fmla="*/ 22 h 280"/>
                <a:gd name="T76" fmla="*/ 9 w 323"/>
                <a:gd name="T77" fmla="*/ 23 h 280"/>
                <a:gd name="T78" fmla="*/ 8 w 323"/>
                <a:gd name="T79" fmla="*/ 23 h 280"/>
                <a:gd name="T80" fmla="*/ 7 w 323"/>
                <a:gd name="T81" fmla="*/ 24 h 280"/>
                <a:gd name="T82" fmla="*/ 7 w 323"/>
                <a:gd name="T83" fmla="*/ 25 h 280"/>
                <a:gd name="T84" fmla="*/ 7 w 323"/>
                <a:gd name="T85" fmla="*/ 25 h 280"/>
                <a:gd name="T86" fmla="*/ 7 w 323"/>
                <a:gd name="T87" fmla="*/ 25 h 280"/>
                <a:gd name="T88" fmla="*/ 5 w 323"/>
                <a:gd name="T89" fmla="*/ 25 h 280"/>
                <a:gd name="T90" fmla="*/ 4 w 323"/>
                <a:gd name="T91" fmla="*/ 26 h 280"/>
                <a:gd name="T92" fmla="*/ 4 w 323"/>
                <a:gd name="T93" fmla="*/ 27 h 280"/>
                <a:gd name="T94" fmla="*/ 4 w 323"/>
                <a:gd name="T95" fmla="*/ 27 h 280"/>
                <a:gd name="T96" fmla="*/ 3 w 323"/>
                <a:gd name="T97" fmla="*/ 28 h 280"/>
                <a:gd name="T98" fmla="*/ 2 w 323"/>
                <a:gd name="T99" fmla="*/ 29 h 280"/>
                <a:gd name="T100" fmla="*/ 1 w 323"/>
                <a:gd name="T101" fmla="*/ 31 h 280"/>
                <a:gd name="T102" fmla="*/ 1 w 323"/>
                <a:gd name="T103" fmla="*/ 31 h 280"/>
                <a:gd name="T104" fmla="*/ 1 w 323"/>
                <a:gd name="T105" fmla="*/ 33 h 280"/>
                <a:gd name="T106" fmla="*/ 2 w 323"/>
                <a:gd name="T107" fmla="*/ 33 h 280"/>
                <a:gd name="T108" fmla="*/ 3 w 323"/>
                <a:gd name="T109" fmla="*/ 34 h 280"/>
                <a:gd name="T110" fmla="*/ 8 w 323"/>
                <a:gd name="T111" fmla="*/ 36 h 280"/>
                <a:gd name="T112" fmla="*/ 26 w 323"/>
                <a:gd name="T113" fmla="*/ 29 h 28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3"/>
                <a:gd name="T172" fmla="*/ 0 h 280"/>
                <a:gd name="T173" fmla="*/ 323 w 323"/>
                <a:gd name="T174" fmla="*/ 280 h 28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3" h="280">
                  <a:moveTo>
                    <a:pt x="153" y="223"/>
                  </a:moveTo>
                  <a:lnTo>
                    <a:pt x="256" y="162"/>
                  </a:lnTo>
                  <a:lnTo>
                    <a:pt x="265" y="140"/>
                  </a:lnTo>
                  <a:lnTo>
                    <a:pt x="270" y="51"/>
                  </a:lnTo>
                  <a:lnTo>
                    <a:pt x="296" y="41"/>
                  </a:lnTo>
                  <a:lnTo>
                    <a:pt x="311" y="16"/>
                  </a:lnTo>
                  <a:lnTo>
                    <a:pt x="323" y="9"/>
                  </a:lnTo>
                  <a:lnTo>
                    <a:pt x="316" y="9"/>
                  </a:lnTo>
                  <a:lnTo>
                    <a:pt x="316" y="7"/>
                  </a:lnTo>
                  <a:lnTo>
                    <a:pt x="316" y="3"/>
                  </a:lnTo>
                  <a:lnTo>
                    <a:pt x="312" y="2"/>
                  </a:lnTo>
                  <a:lnTo>
                    <a:pt x="310" y="0"/>
                  </a:lnTo>
                  <a:lnTo>
                    <a:pt x="304" y="6"/>
                  </a:lnTo>
                  <a:lnTo>
                    <a:pt x="289" y="11"/>
                  </a:lnTo>
                  <a:lnTo>
                    <a:pt x="258" y="13"/>
                  </a:lnTo>
                  <a:lnTo>
                    <a:pt x="251" y="10"/>
                  </a:lnTo>
                  <a:lnTo>
                    <a:pt x="231" y="14"/>
                  </a:lnTo>
                  <a:lnTo>
                    <a:pt x="215" y="24"/>
                  </a:lnTo>
                  <a:lnTo>
                    <a:pt x="205" y="27"/>
                  </a:lnTo>
                  <a:lnTo>
                    <a:pt x="200" y="31"/>
                  </a:lnTo>
                  <a:lnTo>
                    <a:pt x="173" y="37"/>
                  </a:lnTo>
                  <a:lnTo>
                    <a:pt x="150" y="33"/>
                  </a:lnTo>
                  <a:lnTo>
                    <a:pt x="141" y="24"/>
                  </a:lnTo>
                  <a:lnTo>
                    <a:pt x="135" y="22"/>
                  </a:lnTo>
                  <a:lnTo>
                    <a:pt x="123" y="23"/>
                  </a:lnTo>
                  <a:lnTo>
                    <a:pt x="97" y="35"/>
                  </a:lnTo>
                  <a:lnTo>
                    <a:pt x="93" y="38"/>
                  </a:lnTo>
                  <a:lnTo>
                    <a:pt x="81" y="36"/>
                  </a:lnTo>
                  <a:lnTo>
                    <a:pt x="75" y="38"/>
                  </a:lnTo>
                  <a:lnTo>
                    <a:pt x="74" y="36"/>
                  </a:lnTo>
                  <a:lnTo>
                    <a:pt x="73" y="34"/>
                  </a:lnTo>
                  <a:lnTo>
                    <a:pt x="73" y="33"/>
                  </a:lnTo>
                  <a:lnTo>
                    <a:pt x="69" y="30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36"/>
                  </a:lnTo>
                  <a:lnTo>
                    <a:pt x="52" y="37"/>
                  </a:lnTo>
                  <a:lnTo>
                    <a:pt x="52" y="41"/>
                  </a:lnTo>
                  <a:lnTo>
                    <a:pt x="50" y="48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6" y="62"/>
                  </a:lnTo>
                  <a:lnTo>
                    <a:pt x="49" y="62"/>
                  </a:lnTo>
                  <a:lnTo>
                    <a:pt x="43" y="64"/>
                  </a:lnTo>
                  <a:lnTo>
                    <a:pt x="42" y="74"/>
                  </a:lnTo>
                  <a:lnTo>
                    <a:pt x="38" y="78"/>
                  </a:lnTo>
                  <a:lnTo>
                    <a:pt x="34" y="79"/>
                  </a:lnTo>
                  <a:lnTo>
                    <a:pt x="32" y="84"/>
                  </a:lnTo>
                  <a:lnTo>
                    <a:pt x="26" y="81"/>
                  </a:lnTo>
                  <a:lnTo>
                    <a:pt x="25" y="77"/>
                  </a:lnTo>
                  <a:lnTo>
                    <a:pt x="22" y="77"/>
                  </a:lnTo>
                  <a:lnTo>
                    <a:pt x="22" y="87"/>
                  </a:lnTo>
                  <a:lnTo>
                    <a:pt x="18" y="99"/>
                  </a:lnTo>
                  <a:lnTo>
                    <a:pt x="20" y="102"/>
                  </a:lnTo>
                  <a:lnTo>
                    <a:pt x="24" y="113"/>
                  </a:lnTo>
                  <a:lnTo>
                    <a:pt x="24" y="129"/>
                  </a:lnTo>
                  <a:lnTo>
                    <a:pt x="22" y="139"/>
                  </a:lnTo>
                  <a:lnTo>
                    <a:pt x="24" y="148"/>
                  </a:lnTo>
                  <a:lnTo>
                    <a:pt x="39" y="148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4" y="148"/>
                  </a:lnTo>
                  <a:lnTo>
                    <a:pt x="48" y="148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3" y="155"/>
                  </a:lnTo>
                  <a:lnTo>
                    <a:pt x="43" y="156"/>
                  </a:lnTo>
                  <a:lnTo>
                    <a:pt x="47" y="156"/>
                  </a:lnTo>
                  <a:lnTo>
                    <a:pt x="48" y="161"/>
                  </a:lnTo>
                  <a:lnTo>
                    <a:pt x="53" y="162"/>
                  </a:lnTo>
                  <a:lnTo>
                    <a:pt x="52" y="166"/>
                  </a:lnTo>
                  <a:lnTo>
                    <a:pt x="55" y="169"/>
                  </a:lnTo>
                  <a:lnTo>
                    <a:pt x="54" y="173"/>
                  </a:lnTo>
                  <a:lnTo>
                    <a:pt x="56" y="174"/>
                  </a:lnTo>
                  <a:lnTo>
                    <a:pt x="54" y="176"/>
                  </a:lnTo>
                  <a:lnTo>
                    <a:pt x="53" y="180"/>
                  </a:lnTo>
                  <a:lnTo>
                    <a:pt x="51" y="180"/>
                  </a:lnTo>
                  <a:lnTo>
                    <a:pt x="46" y="183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0" y="189"/>
                  </a:lnTo>
                  <a:lnTo>
                    <a:pt x="39" y="192"/>
                  </a:lnTo>
                  <a:lnTo>
                    <a:pt x="43" y="194"/>
                  </a:lnTo>
                  <a:lnTo>
                    <a:pt x="44" y="196"/>
                  </a:lnTo>
                  <a:lnTo>
                    <a:pt x="44" y="197"/>
                  </a:lnTo>
                  <a:lnTo>
                    <a:pt x="42" y="197"/>
                  </a:lnTo>
                  <a:lnTo>
                    <a:pt x="39" y="196"/>
                  </a:lnTo>
                  <a:lnTo>
                    <a:pt x="27" y="197"/>
                  </a:lnTo>
                  <a:lnTo>
                    <a:pt x="26" y="201"/>
                  </a:lnTo>
                  <a:lnTo>
                    <a:pt x="24" y="202"/>
                  </a:lnTo>
                  <a:lnTo>
                    <a:pt x="22" y="207"/>
                  </a:lnTo>
                  <a:lnTo>
                    <a:pt x="22" y="208"/>
                  </a:lnTo>
                  <a:lnTo>
                    <a:pt x="26" y="209"/>
                  </a:lnTo>
                  <a:lnTo>
                    <a:pt x="26" y="213"/>
                  </a:lnTo>
                  <a:lnTo>
                    <a:pt x="24" y="213"/>
                  </a:lnTo>
                  <a:lnTo>
                    <a:pt x="16" y="221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5" y="230"/>
                  </a:lnTo>
                  <a:lnTo>
                    <a:pt x="5" y="238"/>
                  </a:lnTo>
                  <a:lnTo>
                    <a:pt x="2" y="241"/>
                  </a:lnTo>
                  <a:lnTo>
                    <a:pt x="4" y="244"/>
                  </a:lnTo>
                  <a:lnTo>
                    <a:pt x="2" y="249"/>
                  </a:lnTo>
                  <a:lnTo>
                    <a:pt x="5" y="255"/>
                  </a:lnTo>
                  <a:lnTo>
                    <a:pt x="0" y="260"/>
                  </a:lnTo>
                  <a:lnTo>
                    <a:pt x="11" y="258"/>
                  </a:lnTo>
                  <a:lnTo>
                    <a:pt x="14" y="259"/>
                  </a:lnTo>
                  <a:lnTo>
                    <a:pt x="19" y="266"/>
                  </a:lnTo>
                  <a:lnTo>
                    <a:pt x="37" y="279"/>
                  </a:lnTo>
                  <a:lnTo>
                    <a:pt x="47" y="280"/>
                  </a:lnTo>
                  <a:lnTo>
                    <a:pt x="53" y="279"/>
                  </a:lnTo>
                  <a:lnTo>
                    <a:pt x="153" y="22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0" name="Freeform 198"/>
            <p:cNvSpPr>
              <a:spLocks/>
            </p:cNvSpPr>
            <p:nvPr/>
          </p:nvSpPr>
          <p:spPr bwMode="auto">
            <a:xfrm>
              <a:off x="5215294" y="1353019"/>
              <a:ext cx="387924" cy="283871"/>
            </a:xfrm>
            <a:custGeom>
              <a:avLst/>
              <a:gdLst>
                <a:gd name="T0" fmla="*/ 43 w 323"/>
                <a:gd name="T1" fmla="*/ 21 h 280"/>
                <a:gd name="T2" fmla="*/ 46 w 323"/>
                <a:gd name="T3" fmla="*/ 7 h 280"/>
                <a:gd name="T4" fmla="*/ 53 w 323"/>
                <a:gd name="T5" fmla="*/ 2 h 280"/>
                <a:gd name="T6" fmla="*/ 53 w 323"/>
                <a:gd name="T7" fmla="*/ 1 h 280"/>
                <a:gd name="T8" fmla="*/ 53 w 323"/>
                <a:gd name="T9" fmla="*/ 1 h 280"/>
                <a:gd name="T10" fmla="*/ 52 w 323"/>
                <a:gd name="T11" fmla="*/ 0 h 280"/>
                <a:gd name="T12" fmla="*/ 48 w 323"/>
                <a:gd name="T13" fmla="*/ 2 h 280"/>
                <a:gd name="T14" fmla="*/ 43 w 323"/>
                <a:gd name="T15" fmla="*/ 1 h 280"/>
                <a:gd name="T16" fmla="*/ 36 w 323"/>
                <a:gd name="T17" fmla="*/ 3 h 280"/>
                <a:gd name="T18" fmla="*/ 34 w 323"/>
                <a:gd name="T19" fmla="*/ 4 h 280"/>
                <a:gd name="T20" fmla="*/ 25 w 323"/>
                <a:gd name="T21" fmla="*/ 4 h 280"/>
                <a:gd name="T22" fmla="*/ 22 w 323"/>
                <a:gd name="T23" fmla="*/ 3 h 280"/>
                <a:gd name="T24" fmla="*/ 17 w 323"/>
                <a:gd name="T25" fmla="*/ 4 h 280"/>
                <a:gd name="T26" fmla="*/ 14 w 323"/>
                <a:gd name="T27" fmla="*/ 5 h 280"/>
                <a:gd name="T28" fmla="*/ 12 w 323"/>
                <a:gd name="T29" fmla="*/ 5 h 280"/>
                <a:gd name="T30" fmla="*/ 12 w 323"/>
                <a:gd name="T31" fmla="*/ 4 h 280"/>
                <a:gd name="T32" fmla="*/ 12 w 323"/>
                <a:gd name="T33" fmla="*/ 4 h 280"/>
                <a:gd name="T34" fmla="*/ 9 w 323"/>
                <a:gd name="T35" fmla="*/ 3 h 280"/>
                <a:gd name="T36" fmla="*/ 9 w 323"/>
                <a:gd name="T37" fmla="*/ 5 h 280"/>
                <a:gd name="T38" fmla="*/ 8 w 323"/>
                <a:gd name="T39" fmla="*/ 6 h 280"/>
                <a:gd name="T40" fmla="*/ 9 w 323"/>
                <a:gd name="T41" fmla="*/ 8 h 280"/>
                <a:gd name="T42" fmla="*/ 8 w 323"/>
                <a:gd name="T43" fmla="*/ 8 h 280"/>
                <a:gd name="T44" fmla="*/ 7 w 323"/>
                <a:gd name="T45" fmla="*/ 9 h 280"/>
                <a:gd name="T46" fmla="*/ 6 w 323"/>
                <a:gd name="T47" fmla="*/ 10 h 280"/>
                <a:gd name="T48" fmla="*/ 4 w 323"/>
                <a:gd name="T49" fmla="*/ 10 h 280"/>
                <a:gd name="T50" fmla="*/ 4 w 323"/>
                <a:gd name="T51" fmla="*/ 10 h 280"/>
                <a:gd name="T52" fmla="*/ 3 w 323"/>
                <a:gd name="T53" fmla="*/ 13 h 280"/>
                <a:gd name="T54" fmla="*/ 4 w 323"/>
                <a:gd name="T55" fmla="*/ 15 h 280"/>
                <a:gd name="T56" fmla="*/ 4 w 323"/>
                <a:gd name="T57" fmla="*/ 18 h 280"/>
                <a:gd name="T58" fmla="*/ 7 w 323"/>
                <a:gd name="T59" fmla="*/ 19 h 280"/>
                <a:gd name="T60" fmla="*/ 7 w 323"/>
                <a:gd name="T61" fmla="*/ 19 h 280"/>
                <a:gd name="T62" fmla="*/ 8 w 323"/>
                <a:gd name="T63" fmla="*/ 19 h 280"/>
                <a:gd name="T64" fmla="*/ 8 w 323"/>
                <a:gd name="T65" fmla="*/ 20 h 280"/>
                <a:gd name="T66" fmla="*/ 8 w 323"/>
                <a:gd name="T67" fmla="*/ 20 h 280"/>
                <a:gd name="T68" fmla="*/ 7 w 323"/>
                <a:gd name="T69" fmla="*/ 20 h 280"/>
                <a:gd name="T70" fmla="*/ 8 w 323"/>
                <a:gd name="T71" fmla="*/ 21 h 280"/>
                <a:gd name="T72" fmla="*/ 9 w 323"/>
                <a:gd name="T73" fmla="*/ 21 h 280"/>
                <a:gd name="T74" fmla="*/ 9 w 323"/>
                <a:gd name="T75" fmla="*/ 22 h 280"/>
                <a:gd name="T76" fmla="*/ 9 w 323"/>
                <a:gd name="T77" fmla="*/ 23 h 280"/>
                <a:gd name="T78" fmla="*/ 9 w 323"/>
                <a:gd name="T79" fmla="*/ 23 h 280"/>
                <a:gd name="T80" fmla="*/ 7 w 323"/>
                <a:gd name="T81" fmla="*/ 24 h 280"/>
                <a:gd name="T82" fmla="*/ 7 w 323"/>
                <a:gd name="T83" fmla="*/ 25 h 280"/>
                <a:gd name="T84" fmla="*/ 7 w 323"/>
                <a:gd name="T85" fmla="*/ 25 h 280"/>
                <a:gd name="T86" fmla="*/ 7 w 323"/>
                <a:gd name="T87" fmla="*/ 25 h 280"/>
                <a:gd name="T88" fmla="*/ 7 w 323"/>
                <a:gd name="T89" fmla="*/ 25 h 280"/>
                <a:gd name="T90" fmla="*/ 4 w 323"/>
                <a:gd name="T91" fmla="*/ 26 h 280"/>
                <a:gd name="T92" fmla="*/ 4 w 323"/>
                <a:gd name="T93" fmla="*/ 27 h 280"/>
                <a:gd name="T94" fmla="*/ 4 w 323"/>
                <a:gd name="T95" fmla="*/ 27 h 280"/>
                <a:gd name="T96" fmla="*/ 4 w 323"/>
                <a:gd name="T97" fmla="*/ 27 h 280"/>
                <a:gd name="T98" fmla="*/ 2 w 323"/>
                <a:gd name="T99" fmla="*/ 29 h 280"/>
                <a:gd name="T100" fmla="*/ 1 w 323"/>
                <a:gd name="T101" fmla="*/ 30 h 280"/>
                <a:gd name="T102" fmla="*/ 1 w 323"/>
                <a:gd name="T103" fmla="*/ 31 h 280"/>
                <a:gd name="T104" fmla="*/ 1 w 323"/>
                <a:gd name="T105" fmla="*/ 32 h 280"/>
                <a:gd name="T106" fmla="*/ 0 w 323"/>
                <a:gd name="T107" fmla="*/ 34 h 280"/>
                <a:gd name="T108" fmla="*/ 2 w 323"/>
                <a:gd name="T109" fmla="*/ 33 h 280"/>
                <a:gd name="T110" fmla="*/ 7 w 323"/>
                <a:gd name="T111" fmla="*/ 36 h 280"/>
                <a:gd name="T112" fmla="*/ 9 w 323"/>
                <a:gd name="T113" fmla="*/ 36 h 28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23"/>
                <a:gd name="T172" fmla="*/ 0 h 280"/>
                <a:gd name="T173" fmla="*/ 323 w 323"/>
                <a:gd name="T174" fmla="*/ 280 h 28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23" h="280">
                  <a:moveTo>
                    <a:pt x="153" y="223"/>
                  </a:moveTo>
                  <a:lnTo>
                    <a:pt x="256" y="162"/>
                  </a:lnTo>
                  <a:lnTo>
                    <a:pt x="265" y="140"/>
                  </a:lnTo>
                  <a:lnTo>
                    <a:pt x="270" y="51"/>
                  </a:lnTo>
                  <a:lnTo>
                    <a:pt x="296" y="41"/>
                  </a:lnTo>
                  <a:lnTo>
                    <a:pt x="311" y="16"/>
                  </a:lnTo>
                  <a:lnTo>
                    <a:pt x="323" y="9"/>
                  </a:lnTo>
                  <a:lnTo>
                    <a:pt x="316" y="9"/>
                  </a:lnTo>
                  <a:lnTo>
                    <a:pt x="316" y="7"/>
                  </a:lnTo>
                  <a:lnTo>
                    <a:pt x="316" y="3"/>
                  </a:lnTo>
                  <a:lnTo>
                    <a:pt x="312" y="2"/>
                  </a:lnTo>
                  <a:lnTo>
                    <a:pt x="310" y="0"/>
                  </a:lnTo>
                  <a:lnTo>
                    <a:pt x="304" y="6"/>
                  </a:lnTo>
                  <a:lnTo>
                    <a:pt x="289" y="11"/>
                  </a:lnTo>
                  <a:lnTo>
                    <a:pt x="258" y="13"/>
                  </a:lnTo>
                  <a:lnTo>
                    <a:pt x="251" y="10"/>
                  </a:lnTo>
                  <a:lnTo>
                    <a:pt x="231" y="14"/>
                  </a:lnTo>
                  <a:lnTo>
                    <a:pt x="215" y="24"/>
                  </a:lnTo>
                  <a:lnTo>
                    <a:pt x="205" y="27"/>
                  </a:lnTo>
                  <a:lnTo>
                    <a:pt x="200" y="31"/>
                  </a:lnTo>
                  <a:lnTo>
                    <a:pt x="173" y="37"/>
                  </a:lnTo>
                  <a:lnTo>
                    <a:pt x="150" y="33"/>
                  </a:lnTo>
                  <a:lnTo>
                    <a:pt x="141" y="24"/>
                  </a:lnTo>
                  <a:lnTo>
                    <a:pt x="135" y="22"/>
                  </a:lnTo>
                  <a:lnTo>
                    <a:pt x="123" y="23"/>
                  </a:lnTo>
                  <a:lnTo>
                    <a:pt x="97" y="35"/>
                  </a:lnTo>
                  <a:lnTo>
                    <a:pt x="93" y="38"/>
                  </a:lnTo>
                  <a:lnTo>
                    <a:pt x="81" y="36"/>
                  </a:lnTo>
                  <a:lnTo>
                    <a:pt x="75" y="38"/>
                  </a:lnTo>
                  <a:lnTo>
                    <a:pt x="74" y="36"/>
                  </a:lnTo>
                  <a:lnTo>
                    <a:pt x="73" y="34"/>
                  </a:lnTo>
                  <a:lnTo>
                    <a:pt x="73" y="33"/>
                  </a:lnTo>
                  <a:lnTo>
                    <a:pt x="69" y="30"/>
                  </a:lnTo>
                  <a:lnTo>
                    <a:pt x="61" y="28"/>
                  </a:lnTo>
                  <a:lnTo>
                    <a:pt x="57" y="26"/>
                  </a:lnTo>
                  <a:lnTo>
                    <a:pt x="53" y="36"/>
                  </a:lnTo>
                  <a:lnTo>
                    <a:pt x="52" y="37"/>
                  </a:lnTo>
                  <a:lnTo>
                    <a:pt x="52" y="41"/>
                  </a:lnTo>
                  <a:lnTo>
                    <a:pt x="50" y="48"/>
                  </a:lnTo>
                  <a:lnTo>
                    <a:pt x="57" y="58"/>
                  </a:lnTo>
                  <a:lnTo>
                    <a:pt x="57" y="60"/>
                  </a:lnTo>
                  <a:lnTo>
                    <a:pt x="56" y="62"/>
                  </a:lnTo>
                  <a:lnTo>
                    <a:pt x="49" y="62"/>
                  </a:lnTo>
                  <a:lnTo>
                    <a:pt x="43" y="64"/>
                  </a:lnTo>
                  <a:lnTo>
                    <a:pt x="42" y="74"/>
                  </a:lnTo>
                  <a:lnTo>
                    <a:pt x="38" y="78"/>
                  </a:lnTo>
                  <a:lnTo>
                    <a:pt x="34" y="79"/>
                  </a:lnTo>
                  <a:lnTo>
                    <a:pt x="32" y="84"/>
                  </a:lnTo>
                  <a:lnTo>
                    <a:pt x="26" y="81"/>
                  </a:lnTo>
                  <a:lnTo>
                    <a:pt x="25" y="77"/>
                  </a:lnTo>
                  <a:lnTo>
                    <a:pt x="22" y="77"/>
                  </a:lnTo>
                  <a:lnTo>
                    <a:pt x="22" y="87"/>
                  </a:lnTo>
                  <a:lnTo>
                    <a:pt x="18" y="99"/>
                  </a:lnTo>
                  <a:lnTo>
                    <a:pt x="20" y="102"/>
                  </a:lnTo>
                  <a:lnTo>
                    <a:pt x="24" y="113"/>
                  </a:lnTo>
                  <a:lnTo>
                    <a:pt x="24" y="129"/>
                  </a:lnTo>
                  <a:lnTo>
                    <a:pt x="22" y="139"/>
                  </a:lnTo>
                  <a:lnTo>
                    <a:pt x="24" y="148"/>
                  </a:lnTo>
                  <a:lnTo>
                    <a:pt x="39" y="148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4" y="148"/>
                  </a:lnTo>
                  <a:lnTo>
                    <a:pt x="48" y="148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3" y="155"/>
                  </a:lnTo>
                  <a:lnTo>
                    <a:pt x="43" y="156"/>
                  </a:lnTo>
                  <a:lnTo>
                    <a:pt x="47" y="156"/>
                  </a:lnTo>
                  <a:lnTo>
                    <a:pt x="48" y="161"/>
                  </a:lnTo>
                  <a:lnTo>
                    <a:pt x="53" y="162"/>
                  </a:lnTo>
                  <a:lnTo>
                    <a:pt x="52" y="166"/>
                  </a:lnTo>
                  <a:lnTo>
                    <a:pt x="55" y="169"/>
                  </a:lnTo>
                  <a:lnTo>
                    <a:pt x="54" y="173"/>
                  </a:lnTo>
                  <a:lnTo>
                    <a:pt x="56" y="174"/>
                  </a:lnTo>
                  <a:lnTo>
                    <a:pt x="54" y="176"/>
                  </a:lnTo>
                  <a:lnTo>
                    <a:pt x="53" y="180"/>
                  </a:lnTo>
                  <a:lnTo>
                    <a:pt x="51" y="180"/>
                  </a:lnTo>
                  <a:lnTo>
                    <a:pt x="46" y="183"/>
                  </a:lnTo>
                  <a:lnTo>
                    <a:pt x="43" y="184"/>
                  </a:lnTo>
                  <a:lnTo>
                    <a:pt x="43" y="187"/>
                  </a:lnTo>
                  <a:lnTo>
                    <a:pt x="40" y="189"/>
                  </a:lnTo>
                  <a:lnTo>
                    <a:pt x="39" y="192"/>
                  </a:lnTo>
                  <a:lnTo>
                    <a:pt x="43" y="194"/>
                  </a:lnTo>
                  <a:lnTo>
                    <a:pt x="44" y="196"/>
                  </a:lnTo>
                  <a:lnTo>
                    <a:pt x="44" y="197"/>
                  </a:lnTo>
                  <a:lnTo>
                    <a:pt x="42" y="197"/>
                  </a:lnTo>
                  <a:lnTo>
                    <a:pt x="39" y="196"/>
                  </a:lnTo>
                  <a:lnTo>
                    <a:pt x="27" y="197"/>
                  </a:lnTo>
                  <a:lnTo>
                    <a:pt x="26" y="201"/>
                  </a:lnTo>
                  <a:lnTo>
                    <a:pt x="24" y="202"/>
                  </a:lnTo>
                  <a:lnTo>
                    <a:pt x="22" y="207"/>
                  </a:lnTo>
                  <a:lnTo>
                    <a:pt x="22" y="208"/>
                  </a:lnTo>
                  <a:lnTo>
                    <a:pt x="26" y="209"/>
                  </a:lnTo>
                  <a:lnTo>
                    <a:pt x="26" y="213"/>
                  </a:lnTo>
                  <a:lnTo>
                    <a:pt x="24" y="213"/>
                  </a:lnTo>
                  <a:lnTo>
                    <a:pt x="16" y="221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5" y="230"/>
                  </a:lnTo>
                  <a:lnTo>
                    <a:pt x="5" y="238"/>
                  </a:lnTo>
                  <a:lnTo>
                    <a:pt x="2" y="241"/>
                  </a:lnTo>
                  <a:lnTo>
                    <a:pt x="4" y="244"/>
                  </a:lnTo>
                  <a:lnTo>
                    <a:pt x="2" y="249"/>
                  </a:lnTo>
                  <a:lnTo>
                    <a:pt x="5" y="255"/>
                  </a:lnTo>
                  <a:lnTo>
                    <a:pt x="0" y="260"/>
                  </a:lnTo>
                  <a:lnTo>
                    <a:pt x="11" y="258"/>
                  </a:lnTo>
                  <a:lnTo>
                    <a:pt x="14" y="259"/>
                  </a:lnTo>
                  <a:lnTo>
                    <a:pt x="19" y="266"/>
                  </a:lnTo>
                  <a:lnTo>
                    <a:pt x="37" y="279"/>
                  </a:lnTo>
                  <a:lnTo>
                    <a:pt x="47" y="280"/>
                  </a:lnTo>
                  <a:lnTo>
                    <a:pt x="53" y="279"/>
                  </a:lnTo>
                  <a:lnTo>
                    <a:pt x="153" y="22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1" name="Freeform 199"/>
            <p:cNvSpPr>
              <a:spLocks/>
            </p:cNvSpPr>
            <p:nvPr/>
          </p:nvSpPr>
          <p:spPr bwMode="auto">
            <a:xfrm>
              <a:off x="3310201" y="2620232"/>
              <a:ext cx="162481" cy="282015"/>
            </a:xfrm>
            <a:custGeom>
              <a:avLst/>
              <a:gdLst>
                <a:gd name="T0" fmla="*/ 20 w 138"/>
                <a:gd name="T1" fmla="*/ 4 h 284"/>
                <a:gd name="T2" fmla="*/ 15 w 138"/>
                <a:gd name="T3" fmla="*/ 0 h 284"/>
                <a:gd name="T4" fmla="*/ 14 w 138"/>
                <a:gd name="T5" fmla="*/ 1 h 284"/>
                <a:gd name="T6" fmla="*/ 12 w 138"/>
                <a:gd name="T7" fmla="*/ 1 h 284"/>
                <a:gd name="T8" fmla="*/ 12 w 138"/>
                <a:gd name="T9" fmla="*/ 1 h 284"/>
                <a:gd name="T10" fmla="*/ 13 w 138"/>
                <a:gd name="T11" fmla="*/ 2 h 284"/>
                <a:gd name="T12" fmla="*/ 12 w 138"/>
                <a:gd name="T13" fmla="*/ 3 h 284"/>
                <a:gd name="T14" fmla="*/ 12 w 138"/>
                <a:gd name="T15" fmla="*/ 3 h 284"/>
                <a:gd name="T16" fmla="*/ 12 w 138"/>
                <a:gd name="T17" fmla="*/ 3 h 284"/>
                <a:gd name="T18" fmla="*/ 12 w 138"/>
                <a:gd name="T19" fmla="*/ 3 h 284"/>
                <a:gd name="T20" fmla="*/ 11 w 138"/>
                <a:gd name="T21" fmla="*/ 3 h 284"/>
                <a:gd name="T22" fmla="*/ 11 w 138"/>
                <a:gd name="T23" fmla="*/ 4 h 284"/>
                <a:gd name="T24" fmla="*/ 11 w 138"/>
                <a:gd name="T25" fmla="*/ 4 h 284"/>
                <a:gd name="T26" fmla="*/ 9 w 138"/>
                <a:gd name="T27" fmla="*/ 5 h 284"/>
                <a:gd name="T28" fmla="*/ 9 w 138"/>
                <a:gd name="T29" fmla="*/ 5 h 284"/>
                <a:gd name="T30" fmla="*/ 8 w 138"/>
                <a:gd name="T31" fmla="*/ 5 h 284"/>
                <a:gd name="T32" fmla="*/ 7 w 138"/>
                <a:gd name="T33" fmla="*/ 5 h 284"/>
                <a:gd name="T34" fmla="*/ 6 w 138"/>
                <a:gd name="T35" fmla="*/ 5 h 284"/>
                <a:gd name="T36" fmla="*/ 5 w 138"/>
                <a:gd name="T37" fmla="*/ 5 h 284"/>
                <a:gd name="T38" fmla="*/ 5 w 138"/>
                <a:gd name="T39" fmla="*/ 5 h 284"/>
                <a:gd name="T40" fmla="*/ 3 w 138"/>
                <a:gd name="T41" fmla="*/ 6 h 284"/>
                <a:gd name="T42" fmla="*/ 3 w 138"/>
                <a:gd name="T43" fmla="*/ 6 h 284"/>
                <a:gd name="T44" fmla="*/ 3 w 138"/>
                <a:gd name="T45" fmla="*/ 6 h 284"/>
                <a:gd name="T46" fmla="*/ 3 w 138"/>
                <a:gd name="T47" fmla="*/ 6 h 284"/>
                <a:gd name="T48" fmla="*/ 2 w 138"/>
                <a:gd name="T49" fmla="*/ 7 h 284"/>
                <a:gd name="T50" fmla="*/ 2 w 138"/>
                <a:gd name="T51" fmla="*/ 7 h 284"/>
                <a:gd name="T52" fmla="*/ 2 w 138"/>
                <a:gd name="T53" fmla="*/ 7 h 284"/>
                <a:gd name="T54" fmla="*/ 1 w 138"/>
                <a:gd name="T55" fmla="*/ 8 h 284"/>
                <a:gd name="T56" fmla="*/ 1 w 138"/>
                <a:gd name="T57" fmla="*/ 9 h 284"/>
                <a:gd name="T58" fmla="*/ 1 w 138"/>
                <a:gd name="T59" fmla="*/ 10 h 284"/>
                <a:gd name="T60" fmla="*/ 0 w 138"/>
                <a:gd name="T61" fmla="*/ 11 h 284"/>
                <a:gd name="T62" fmla="*/ 1 w 138"/>
                <a:gd name="T63" fmla="*/ 11 h 284"/>
                <a:gd name="T64" fmla="*/ 1 w 138"/>
                <a:gd name="T65" fmla="*/ 12 h 284"/>
                <a:gd name="T66" fmla="*/ 2 w 138"/>
                <a:gd name="T67" fmla="*/ 12 h 284"/>
                <a:gd name="T68" fmla="*/ 2 w 138"/>
                <a:gd name="T69" fmla="*/ 12 h 284"/>
                <a:gd name="T70" fmla="*/ 3 w 138"/>
                <a:gd name="T71" fmla="*/ 12 h 284"/>
                <a:gd name="T72" fmla="*/ 5 w 138"/>
                <a:gd name="T73" fmla="*/ 14 h 284"/>
                <a:gd name="T74" fmla="*/ 8 w 138"/>
                <a:gd name="T75" fmla="*/ 33 h 284"/>
                <a:gd name="T76" fmla="*/ 8 w 138"/>
                <a:gd name="T77" fmla="*/ 34 h 284"/>
                <a:gd name="T78" fmla="*/ 15 w 138"/>
                <a:gd name="T79" fmla="*/ 34 h 284"/>
                <a:gd name="T80" fmla="*/ 14 w 138"/>
                <a:gd name="T81" fmla="*/ 33 h 284"/>
                <a:gd name="T82" fmla="*/ 15 w 138"/>
                <a:gd name="T83" fmla="*/ 21 h 284"/>
                <a:gd name="T84" fmla="*/ 17 w 138"/>
                <a:gd name="T85" fmla="*/ 18 h 284"/>
                <a:gd name="T86" fmla="*/ 17 w 138"/>
                <a:gd name="T87" fmla="*/ 16 h 284"/>
                <a:gd name="T88" fmla="*/ 20 w 138"/>
                <a:gd name="T89" fmla="*/ 14 h 284"/>
                <a:gd name="T90" fmla="*/ 20 w 138"/>
                <a:gd name="T91" fmla="*/ 13 h 284"/>
                <a:gd name="T92" fmla="*/ 21 w 138"/>
                <a:gd name="T93" fmla="*/ 13 h 284"/>
                <a:gd name="T94" fmla="*/ 21 w 138"/>
                <a:gd name="T95" fmla="*/ 13 h 284"/>
                <a:gd name="T96" fmla="*/ 21 w 138"/>
                <a:gd name="T97" fmla="*/ 12 h 284"/>
                <a:gd name="T98" fmla="*/ 20 w 138"/>
                <a:gd name="T99" fmla="*/ 12 h 284"/>
                <a:gd name="T100" fmla="*/ 20 w 138"/>
                <a:gd name="T101" fmla="*/ 12 h 284"/>
                <a:gd name="T102" fmla="*/ 20 w 138"/>
                <a:gd name="T103" fmla="*/ 11 h 284"/>
                <a:gd name="T104" fmla="*/ 21 w 138"/>
                <a:gd name="T105" fmla="*/ 11 h 284"/>
                <a:gd name="T106" fmla="*/ 21 w 138"/>
                <a:gd name="T107" fmla="*/ 11 h 284"/>
                <a:gd name="T108" fmla="*/ 21 w 138"/>
                <a:gd name="T109" fmla="*/ 11 h 284"/>
                <a:gd name="T110" fmla="*/ 21 w 138"/>
                <a:gd name="T111" fmla="*/ 7 h 284"/>
                <a:gd name="T112" fmla="*/ 20 w 138"/>
                <a:gd name="T113" fmla="*/ 6 h 284"/>
                <a:gd name="T114" fmla="*/ 20 w 138"/>
                <a:gd name="T115" fmla="*/ 5 h 284"/>
                <a:gd name="T116" fmla="*/ 20 w 138"/>
                <a:gd name="T117" fmla="*/ 5 h 284"/>
                <a:gd name="T118" fmla="*/ 20 w 138"/>
                <a:gd name="T119" fmla="*/ 4 h 2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284"/>
                <a:gd name="T182" fmla="*/ 138 w 138"/>
                <a:gd name="T183" fmla="*/ 284 h 2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284">
                  <a:moveTo>
                    <a:pt x="131" y="32"/>
                  </a:moveTo>
                  <a:lnTo>
                    <a:pt x="95" y="0"/>
                  </a:lnTo>
                  <a:lnTo>
                    <a:pt x="89" y="4"/>
                  </a:lnTo>
                  <a:lnTo>
                    <a:pt x="75" y="6"/>
                  </a:lnTo>
                  <a:lnTo>
                    <a:pt x="75" y="10"/>
                  </a:lnTo>
                  <a:lnTo>
                    <a:pt x="82" y="18"/>
                  </a:lnTo>
                  <a:lnTo>
                    <a:pt x="75" y="22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4" y="26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3"/>
                  </a:lnTo>
                  <a:lnTo>
                    <a:pt x="60" y="43"/>
                  </a:lnTo>
                  <a:lnTo>
                    <a:pt x="56" y="44"/>
                  </a:lnTo>
                  <a:lnTo>
                    <a:pt x="51" y="42"/>
                  </a:lnTo>
                  <a:lnTo>
                    <a:pt x="43" y="44"/>
                  </a:lnTo>
                  <a:lnTo>
                    <a:pt x="36" y="42"/>
                  </a:lnTo>
                  <a:lnTo>
                    <a:pt x="31" y="42"/>
                  </a:lnTo>
                  <a:lnTo>
                    <a:pt x="29" y="43"/>
                  </a:lnTo>
                  <a:lnTo>
                    <a:pt x="23" y="53"/>
                  </a:lnTo>
                  <a:lnTo>
                    <a:pt x="20" y="53"/>
                  </a:lnTo>
                  <a:lnTo>
                    <a:pt x="18" y="54"/>
                  </a:lnTo>
                  <a:lnTo>
                    <a:pt x="17" y="56"/>
                  </a:lnTo>
                  <a:lnTo>
                    <a:pt x="15" y="58"/>
                  </a:lnTo>
                  <a:lnTo>
                    <a:pt x="14" y="62"/>
                  </a:lnTo>
                  <a:lnTo>
                    <a:pt x="10" y="62"/>
                  </a:lnTo>
                  <a:lnTo>
                    <a:pt x="5" y="67"/>
                  </a:lnTo>
                  <a:lnTo>
                    <a:pt x="4" y="74"/>
                  </a:lnTo>
                  <a:lnTo>
                    <a:pt x="2" y="7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99"/>
                  </a:lnTo>
                  <a:lnTo>
                    <a:pt x="10" y="101"/>
                  </a:lnTo>
                  <a:lnTo>
                    <a:pt x="12" y="101"/>
                  </a:lnTo>
                  <a:lnTo>
                    <a:pt x="17" y="104"/>
                  </a:lnTo>
                  <a:lnTo>
                    <a:pt x="27" y="117"/>
                  </a:lnTo>
                  <a:lnTo>
                    <a:pt x="49" y="277"/>
                  </a:lnTo>
                  <a:lnTo>
                    <a:pt x="52" y="284"/>
                  </a:lnTo>
                  <a:lnTo>
                    <a:pt x="94" y="282"/>
                  </a:lnTo>
                  <a:lnTo>
                    <a:pt x="92" y="280"/>
                  </a:lnTo>
                  <a:lnTo>
                    <a:pt x="95" y="181"/>
                  </a:lnTo>
                  <a:lnTo>
                    <a:pt x="108" y="154"/>
                  </a:lnTo>
                  <a:lnTo>
                    <a:pt x="112" y="133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3" y="108"/>
                  </a:lnTo>
                  <a:lnTo>
                    <a:pt x="134" y="107"/>
                  </a:lnTo>
                  <a:lnTo>
                    <a:pt x="133" y="105"/>
                  </a:lnTo>
                  <a:lnTo>
                    <a:pt x="130" y="101"/>
                  </a:lnTo>
                  <a:lnTo>
                    <a:pt x="129" y="98"/>
                  </a:lnTo>
                  <a:lnTo>
                    <a:pt x="131" y="93"/>
                  </a:lnTo>
                  <a:lnTo>
                    <a:pt x="134" y="92"/>
                  </a:lnTo>
                  <a:lnTo>
                    <a:pt x="138" y="92"/>
                  </a:lnTo>
                  <a:lnTo>
                    <a:pt x="138" y="90"/>
                  </a:lnTo>
                  <a:lnTo>
                    <a:pt x="134" y="58"/>
                  </a:lnTo>
                  <a:lnTo>
                    <a:pt x="127" y="50"/>
                  </a:lnTo>
                  <a:lnTo>
                    <a:pt x="125" y="46"/>
                  </a:lnTo>
                  <a:lnTo>
                    <a:pt x="127" y="37"/>
                  </a:lnTo>
                  <a:lnTo>
                    <a:pt x="131" y="3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2" name="Freeform 200"/>
            <p:cNvSpPr>
              <a:spLocks/>
            </p:cNvSpPr>
            <p:nvPr/>
          </p:nvSpPr>
          <p:spPr bwMode="auto">
            <a:xfrm>
              <a:off x="3310201" y="2620232"/>
              <a:ext cx="162481" cy="282015"/>
            </a:xfrm>
            <a:custGeom>
              <a:avLst/>
              <a:gdLst>
                <a:gd name="T0" fmla="*/ 20 w 138"/>
                <a:gd name="T1" fmla="*/ 4 h 284"/>
                <a:gd name="T2" fmla="*/ 15 w 138"/>
                <a:gd name="T3" fmla="*/ 0 h 284"/>
                <a:gd name="T4" fmla="*/ 14 w 138"/>
                <a:gd name="T5" fmla="*/ 1 h 284"/>
                <a:gd name="T6" fmla="*/ 12 w 138"/>
                <a:gd name="T7" fmla="*/ 1 h 284"/>
                <a:gd name="T8" fmla="*/ 12 w 138"/>
                <a:gd name="T9" fmla="*/ 1 h 284"/>
                <a:gd name="T10" fmla="*/ 13 w 138"/>
                <a:gd name="T11" fmla="*/ 2 h 284"/>
                <a:gd name="T12" fmla="*/ 12 w 138"/>
                <a:gd name="T13" fmla="*/ 3 h 284"/>
                <a:gd name="T14" fmla="*/ 12 w 138"/>
                <a:gd name="T15" fmla="*/ 3 h 284"/>
                <a:gd name="T16" fmla="*/ 12 w 138"/>
                <a:gd name="T17" fmla="*/ 3 h 284"/>
                <a:gd name="T18" fmla="*/ 12 w 138"/>
                <a:gd name="T19" fmla="*/ 3 h 284"/>
                <a:gd name="T20" fmla="*/ 11 w 138"/>
                <a:gd name="T21" fmla="*/ 3 h 284"/>
                <a:gd name="T22" fmla="*/ 11 w 138"/>
                <a:gd name="T23" fmla="*/ 4 h 284"/>
                <a:gd name="T24" fmla="*/ 11 w 138"/>
                <a:gd name="T25" fmla="*/ 4 h 284"/>
                <a:gd name="T26" fmla="*/ 9 w 138"/>
                <a:gd name="T27" fmla="*/ 5 h 284"/>
                <a:gd name="T28" fmla="*/ 9 w 138"/>
                <a:gd name="T29" fmla="*/ 5 h 284"/>
                <a:gd name="T30" fmla="*/ 8 w 138"/>
                <a:gd name="T31" fmla="*/ 5 h 284"/>
                <a:gd name="T32" fmla="*/ 7 w 138"/>
                <a:gd name="T33" fmla="*/ 5 h 284"/>
                <a:gd name="T34" fmla="*/ 6 w 138"/>
                <a:gd name="T35" fmla="*/ 5 h 284"/>
                <a:gd name="T36" fmla="*/ 5 w 138"/>
                <a:gd name="T37" fmla="*/ 5 h 284"/>
                <a:gd name="T38" fmla="*/ 5 w 138"/>
                <a:gd name="T39" fmla="*/ 5 h 284"/>
                <a:gd name="T40" fmla="*/ 3 w 138"/>
                <a:gd name="T41" fmla="*/ 6 h 284"/>
                <a:gd name="T42" fmla="*/ 3 w 138"/>
                <a:gd name="T43" fmla="*/ 6 h 284"/>
                <a:gd name="T44" fmla="*/ 3 w 138"/>
                <a:gd name="T45" fmla="*/ 6 h 284"/>
                <a:gd name="T46" fmla="*/ 3 w 138"/>
                <a:gd name="T47" fmla="*/ 6 h 284"/>
                <a:gd name="T48" fmla="*/ 2 w 138"/>
                <a:gd name="T49" fmla="*/ 7 h 284"/>
                <a:gd name="T50" fmla="*/ 2 w 138"/>
                <a:gd name="T51" fmla="*/ 7 h 284"/>
                <a:gd name="T52" fmla="*/ 2 w 138"/>
                <a:gd name="T53" fmla="*/ 7 h 284"/>
                <a:gd name="T54" fmla="*/ 1 w 138"/>
                <a:gd name="T55" fmla="*/ 8 h 284"/>
                <a:gd name="T56" fmla="*/ 1 w 138"/>
                <a:gd name="T57" fmla="*/ 9 h 284"/>
                <a:gd name="T58" fmla="*/ 1 w 138"/>
                <a:gd name="T59" fmla="*/ 10 h 284"/>
                <a:gd name="T60" fmla="*/ 0 w 138"/>
                <a:gd name="T61" fmla="*/ 11 h 284"/>
                <a:gd name="T62" fmla="*/ 1 w 138"/>
                <a:gd name="T63" fmla="*/ 11 h 284"/>
                <a:gd name="T64" fmla="*/ 1 w 138"/>
                <a:gd name="T65" fmla="*/ 12 h 284"/>
                <a:gd name="T66" fmla="*/ 2 w 138"/>
                <a:gd name="T67" fmla="*/ 12 h 284"/>
                <a:gd name="T68" fmla="*/ 2 w 138"/>
                <a:gd name="T69" fmla="*/ 12 h 284"/>
                <a:gd name="T70" fmla="*/ 3 w 138"/>
                <a:gd name="T71" fmla="*/ 12 h 284"/>
                <a:gd name="T72" fmla="*/ 5 w 138"/>
                <a:gd name="T73" fmla="*/ 14 h 284"/>
                <a:gd name="T74" fmla="*/ 8 w 138"/>
                <a:gd name="T75" fmla="*/ 33 h 284"/>
                <a:gd name="T76" fmla="*/ 8 w 138"/>
                <a:gd name="T77" fmla="*/ 34 h 284"/>
                <a:gd name="T78" fmla="*/ 15 w 138"/>
                <a:gd name="T79" fmla="*/ 34 h 284"/>
                <a:gd name="T80" fmla="*/ 14 w 138"/>
                <a:gd name="T81" fmla="*/ 33 h 284"/>
                <a:gd name="T82" fmla="*/ 15 w 138"/>
                <a:gd name="T83" fmla="*/ 21 h 284"/>
                <a:gd name="T84" fmla="*/ 17 w 138"/>
                <a:gd name="T85" fmla="*/ 18 h 284"/>
                <a:gd name="T86" fmla="*/ 17 w 138"/>
                <a:gd name="T87" fmla="*/ 16 h 284"/>
                <a:gd name="T88" fmla="*/ 20 w 138"/>
                <a:gd name="T89" fmla="*/ 14 h 284"/>
                <a:gd name="T90" fmla="*/ 20 w 138"/>
                <a:gd name="T91" fmla="*/ 13 h 284"/>
                <a:gd name="T92" fmla="*/ 21 w 138"/>
                <a:gd name="T93" fmla="*/ 13 h 284"/>
                <a:gd name="T94" fmla="*/ 21 w 138"/>
                <a:gd name="T95" fmla="*/ 13 h 284"/>
                <a:gd name="T96" fmla="*/ 21 w 138"/>
                <a:gd name="T97" fmla="*/ 12 h 284"/>
                <a:gd name="T98" fmla="*/ 20 w 138"/>
                <a:gd name="T99" fmla="*/ 12 h 284"/>
                <a:gd name="T100" fmla="*/ 20 w 138"/>
                <a:gd name="T101" fmla="*/ 12 h 284"/>
                <a:gd name="T102" fmla="*/ 20 w 138"/>
                <a:gd name="T103" fmla="*/ 11 h 284"/>
                <a:gd name="T104" fmla="*/ 21 w 138"/>
                <a:gd name="T105" fmla="*/ 11 h 284"/>
                <a:gd name="T106" fmla="*/ 21 w 138"/>
                <a:gd name="T107" fmla="*/ 11 h 284"/>
                <a:gd name="T108" fmla="*/ 21 w 138"/>
                <a:gd name="T109" fmla="*/ 11 h 284"/>
                <a:gd name="T110" fmla="*/ 21 w 138"/>
                <a:gd name="T111" fmla="*/ 7 h 284"/>
                <a:gd name="T112" fmla="*/ 20 w 138"/>
                <a:gd name="T113" fmla="*/ 6 h 284"/>
                <a:gd name="T114" fmla="*/ 20 w 138"/>
                <a:gd name="T115" fmla="*/ 5 h 284"/>
                <a:gd name="T116" fmla="*/ 20 w 138"/>
                <a:gd name="T117" fmla="*/ 5 h 284"/>
                <a:gd name="T118" fmla="*/ 20 w 138"/>
                <a:gd name="T119" fmla="*/ 4 h 28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284"/>
                <a:gd name="T182" fmla="*/ 138 w 138"/>
                <a:gd name="T183" fmla="*/ 284 h 28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284">
                  <a:moveTo>
                    <a:pt x="131" y="32"/>
                  </a:moveTo>
                  <a:lnTo>
                    <a:pt x="95" y="0"/>
                  </a:lnTo>
                  <a:lnTo>
                    <a:pt x="89" y="4"/>
                  </a:lnTo>
                  <a:lnTo>
                    <a:pt x="75" y="6"/>
                  </a:lnTo>
                  <a:lnTo>
                    <a:pt x="75" y="10"/>
                  </a:lnTo>
                  <a:lnTo>
                    <a:pt x="82" y="18"/>
                  </a:lnTo>
                  <a:lnTo>
                    <a:pt x="75" y="22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4" y="26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3"/>
                  </a:lnTo>
                  <a:lnTo>
                    <a:pt x="60" y="43"/>
                  </a:lnTo>
                  <a:lnTo>
                    <a:pt x="56" y="44"/>
                  </a:lnTo>
                  <a:lnTo>
                    <a:pt x="51" y="42"/>
                  </a:lnTo>
                  <a:lnTo>
                    <a:pt x="43" y="44"/>
                  </a:lnTo>
                  <a:lnTo>
                    <a:pt x="36" y="42"/>
                  </a:lnTo>
                  <a:lnTo>
                    <a:pt x="31" y="42"/>
                  </a:lnTo>
                  <a:lnTo>
                    <a:pt x="29" y="43"/>
                  </a:lnTo>
                  <a:lnTo>
                    <a:pt x="23" y="53"/>
                  </a:lnTo>
                  <a:lnTo>
                    <a:pt x="20" y="53"/>
                  </a:lnTo>
                  <a:lnTo>
                    <a:pt x="18" y="54"/>
                  </a:lnTo>
                  <a:lnTo>
                    <a:pt x="17" y="56"/>
                  </a:lnTo>
                  <a:lnTo>
                    <a:pt x="15" y="58"/>
                  </a:lnTo>
                  <a:lnTo>
                    <a:pt x="14" y="62"/>
                  </a:lnTo>
                  <a:lnTo>
                    <a:pt x="10" y="62"/>
                  </a:lnTo>
                  <a:lnTo>
                    <a:pt x="5" y="67"/>
                  </a:lnTo>
                  <a:lnTo>
                    <a:pt x="4" y="74"/>
                  </a:lnTo>
                  <a:lnTo>
                    <a:pt x="2" y="79"/>
                  </a:lnTo>
                  <a:lnTo>
                    <a:pt x="0" y="89"/>
                  </a:lnTo>
                  <a:lnTo>
                    <a:pt x="1" y="95"/>
                  </a:lnTo>
                  <a:lnTo>
                    <a:pt x="4" y="99"/>
                  </a:lnTo>
                  <a:lnTo>
                    <a:pt x="10" y="101"/>
                  </a:lnTo>
                  <a:lnTo>
                    <a:pt x="12" y="101"/>
                  </a:lnTo>
                  <a:lnTo>
                    <a:pt x="17" y="104"/>
                  </a:lnTo>
                  <a:lnTo>
                    <a:pt x="27" y="117"/>
                  </a:lnTo>
                  <a:lnTo>
                    <a:pt x="49" y="277"/>
                  </a:lnTo>
                  <a:lnTo>
                    <a:pt x="52" y="284"/>
                  </a:lnTo>
                  <a:lnTo>
                    <a:pt x="94" y="282"/>
                  </a:lnTo>
                  <a:lnTo>
                    <a:pt x="92" y="280"/>
                  </a:lnTo>
                  <a:lnTo>
                    <a:pt x="95" y="181"/>
                  </a:lnTo>
                  <a:lnTo>
                    <a:pt x="108" y="154"/>
                  </a:lnTo>
                  <a:lnTo>
                    <a:pt x="112" y="133"/>
                  </a:lnTo>
                  <a:lnTo>
                    <a:pt x="130" y="116"/>
                  </a:lnTo>
                  <a:lnTo>
                    <a:pt x="130" y="110"/>
                  </a:lnTo>
                  <a:lnTo>
                    <a:pt x="133" y="108"/>
                  </a:lnTo>
                  <a:lnTo>
                    <a:pt x="134" y="107"/>
                  </a:lnTo>
                  <a:lnTo>
                    <a:pt x="133" y="105"/>
                  </a:lnTo>
                  <a:lnTo>
                    <a:pt x="130" y="101"/>
                  </a:lnTo>
                  <a:lnTo>
                    <a:pt x="129" y="98"/>
                  </a:lnTo>
                  <a:lnTo>
                    <a:pt x="131" y="93"/>
                  </a:lnTo>
                  <a:lnTo>
                    <a:pt x="134" y="92"/>
                  </a:lnTo>
                  <a:lnTo>
                    <a:pt x="138" y="92"/>
                  </a:lnTo>
                  <a:lnTo>
                    <a:pt x="138" y="90"/>
                  </a:lnTo>
                  <a:lnTo>
                    <a:pt x="134" y="58"/>
                  </a:lnTo>
                  <a:lnTo>
                    <a:pt x="127" y="50"/>
                  </a:lnTo>
                  <a:lnTo>
                    <a:pt x="125" y="46"/>
                  </a:lnTo>
                  <a:lnTo>
                    <a:pt x="127" y="37"/>
                  </a:lnTo>
                  <a:lnTo>
                    <a:pt x="131" y="3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3" name="Freeform 201"/>
            <p:cNvSpPr>
              <a:spLocks/>
            </p:cNvSpPr>
            <p:nvPr/>
          </p:nvSpPr>
          <p:spPr bwMode="auto">
            <a:xfrm>
              <a:off x="3746869" y="3087782"/>
              <a:ext cx="304653" cy="282015"/>
            </a:xfrm>
            <a:custGeom>
              <a:avLst/>
              <a:gdLst>
                <a:gd name="T0" fmla="*/ 18 w 254"/>
                <a:gd name="T1" fmla="*/ 34 h 282"/>
                <a:gd name="T2" fmla="*/ 17 w 254"/>
                <a:gd name="T3" fmla="*/ 33 h 282"/>
                <a:gd name="T4" fmla="*/ 4 w 254"/>
                <a:gd name="T5" fmla="*/ 23 h 282"/>
                <a:gd name="T6" fmla="*/ 0 w 254"/>
                <a:gd name="T7" fmla="*/ 17 h 282"/>
                <a:gd name="T8" fmla="*/ 2 w 254"/>
                <a:gd name="T9" fmla="*/ 16 h 282"/>
                <a:gd name="T10" fmla="*/ 2 w 254"/>
                <a:gd name="T11" fmla="*/ 16 h 282"/>
                <a:gd name="T12" fmla="*/ 4 w 254"/>
                <a:gd name="T13" fmla="*/ 15 h 282"/>
                <a:gd name="T14" fmla="*/ 4 w 254"/>
                <a:gd name="T15" fmla="*/ 11 h 282"/>
                <a:gd name="T16" fmla="*/ 4 w 254"/>
                <a:gd name="T17" fmla="*/ 11 h 282"/>
                <a:gd name="T18" fmla="*/ 5 w 254"/>
                <a:gd name="T19" fmla="*/ 12 h 282"/>
                <a:gd name="T20" fmla="*/ 6 w 254"/>
                <a:gd name="T21" fmla="*/ 12 h 282"/>
                <a:gd name="T22" fmla="*/ 8 w 254"/>
                <a:gd name="T23" fmla="*/ 12 h 282"/>
                <a:gd name="T24" fmla="*/ 8 w 254"/>
                <a:gd name="T25" fmla="*/ 12 h 282"/>
                <a:gd name="T26" fmla="*/ 8 w 254"/>
                <a:gd name="T27" fmla="*/ 11 h 282"/>
                <a:gd name="T28" fmla="*/ 6 w 254"/>
                <a:gd name="T29" fmla="*/ 11 h 282"/>
                <a:gd name="T30" fmla="*/ 5 w 254"/>
                <a:gd name="T31" fmla="*/ 10 h 282"/>
                <a:gd name="T32" fmla="*/ 4 w 254"/>
                <a:gd name="T33" fmla="*/ 10 h 282"/>
                <a:gd name="T34" fmla="*/ 5 w 254"/>
                <a:gd name="T35" fmla="*/ 9 h 282"/>
                <a:gd name="T36" fmla="*/ 6 w 254"/>
                <a:gd name="T37" fmla="*/ 9 h 282"/>
                <a:gd name="T38" fmla="*/ 6 w 254"/>
                <a:gd name="T39" fmla="*/ 9 h 282"/>
                <a:gd name="T40" fmla="*/ 6 w 254"/>
                <a:gd name="T41" fmla="*/ 7 h 282"/>
                <a:gd name="T42" fmla="*/ 19 w 254"/>
                <a:gd name="T43" fmla="*/ 6 h 282"/>
                <a:gd name="T44" fmla="*/ 19 w 254"/>
                <a:gd name="T45" fmla="*/ 6 h 282"/>
                <a:gd name="T46" fmla="*/ 18 w 254"/>
                <a:gd name="T47" fmla="*/ 2 h 282"/>
                <a:gd name="T48" fmla="*/ 19 w 254"/>
                <a:gd name="T49" fmla="*/ 0 h 282"/>
                <a:gd name="T50" fmla="*/ 33 w 254"/>
                <a:gd name="T51" fmla="*/ 0 h 282"/>
                <a:gd name="T52" fmla="*/ 34 w 254"/>
                <a:gd name="T53" fmla="*/ 1 h 282"/>
                <a:gd name="T54" fmla="*/ 34 w 254"/>
                <a:gd name="T55" fmla="*/ 2 h 282"/>
                <a:gd name="T56" fmla="*/ 34 w 254"/>
                <a:gd name="T57" fmla="*/ 5 h 282"/>
                <a:gd name="T58" fmla="*/ 35 w 254"/>
                <a:gd name="T59" fmla="*/ 6 h 282"/>
                <a:gd name="T60" fmla="*/ 37 w 254"/>
                <a:gd name="T61" fmla="*/ 3 h 282"/>
                <a:gd name="T62" fmla="*/ 41 w 254"/>
                <a:gd name="T63" fmla="*/ 4 h 282"/>
                <a:gd name="T64" fmla="*/ 43 w 254"/>
                <a:gd name="T65" fmla="*/ 5 h 282"/>
                <a:gd name="T66" fmla="*/ 43 w 254"/>
                <a:gd name="T67" fmla="*/ 8 h 282"/>
                <a:gd name="T68" fmla="*/ 40 w 254"/>
                <a:gd name="T69" fmla="*/ 11 h 282"/>
                <a:gd name="T70" fmla="*/ 40 w 254"/>
                <a:gd name="T71" fmla="*/ 12 h 282"/>
                <a:gd name="T72" fmla="*/ 42 w 254"/>
                <a:gd name="T73" fmla="*/ 17 h 282"/>
                <a:gd name="T74" fmla="*/ 41 w 254"/>
                <a:gd name="T75" fmla="*/ 25 h 282"/>
                <a:gd name="T76" fmla="*/ 38 w 254"/>
                <a:gd name="T77" fmla="*/ 26 h 282"/>
                <a:gd name="T78" fmla="*/ 35 w 254"/>
                <a:gd name="T79" fmla="*/ 24 h 282"/>
                <a:gd name="T80" fmla="*/ 32 w 254"/>
                <a:gd name="T81" fmla="*/ 24 h 282"/>
                <a:gd name="T82" fmla="*/ 31 w 254"/>
                <a:gd name="T83" fmla="*/ 23 h 282"/>
                <a:gd name="T84" fmla="*/ 30 w 254"/>
                <a:gd name="T85" fmla="*/ 23 h 282"/>
                <a:gd name="T86" fmla="*/ 27 w 254"/>
                <a:gd name="T87" fmla="*/ 25 h 282"/>
                <a:gd name="T88" fmla="*/ 22 w 254"/>
                <a:gd name="T89" fmla="*/ 26 h 282"/>
                <a:gd name="T90" fmla="*/ 21 w 254"/>
                <a:gd name="T91" fmla="*/ 27 h 282"/>
                <a:gd name="T92" fmla="*/ 21 w 254"/>
                <a:gd name="T93" fmla="*/ 29 h 282"/>
                <a:gd name="T94" fmla="*/ 22 w 254"/>
                <a:gd name="T95" fmla="*/ 31 h 282"/>
                <a:gd name="T96" fmla="*/ 22 w 254"/>
                <a:gd name="T97" fmla="*/ 32 h 282"/>
                <a:gd name="T98" fmla="*/ 20 w 254"/>
                <a:gd name="T99" fmla="*/ 32 h 282"/>
                <a:gd name="T100" fmla="*/ 19 w 254"/>
                <a:gd name="T101" fmla="*/ 32 h 282"/>
                <a:gd name="T102" fmla="*/ 18 w 254"/>
                <a:gd name="T103" fmla="*/ 33 h 282"/>
                <a:gd name="T104" fmla="*/ 18 w 254"/>
                <a:gd name="T105" fmla="*/ 34 h 28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4"/>
                <a:gd name="T160" fmla="*/ 0 h 282"/>
                <a:gd name="T161" fmla="*/ 254 w 254"/>
                <a:gd name="T162" fmla="*/ 282 h 28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4" h="282">
                  <a:moveTo>
                    <a:pt x="107" y="282"/>
                  </a:moveTo>
                  <a:lnTo>
                    <a:pt x="101" y="271"/>
                  </a:lnTo>
                  <a:lnTo>
                    <a:pt x="23" y="190"/>
                  </a:lnTo>
                  <a:lnTo>
                    <a:pt x="0" y="136"/>
                  </a:lnTo>
                  <a:lnTo>
                    <a:pt x="10" y="133"/>
                  </a:lnTo>
                  <a:lnTo>
                    <a:pt x="15" y="126"/>
                  </a:lnTo>
                  <a:lnTo>
                    <a:pt x="21" y="121"/>
                  </a:lnTo>
                  <a:lnTo>
                    <a:pt x="23" y="90"/>
                  </a:lnTo>
                  <a:lnTo>
                    <a:pt x="26" y="90"/>
                  </a:lnTo>
                  <a:lnTo>
                    <a:pt x="31" y="95"/>
                  </a:lnTo>
                  <a:lnTo>
                    <a:pt x="38" y="97"/>
                  </a:lnTo>
                  <a:lnTo>
                    <a:pt x="48" y="98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40" y="91"/>
                  </a:lnTo>
                  <a:lnTo>
                    <a:pt x="28" y="83"/>
                  </a:lnTo>
                  <a:lnTo>
                    <a:pt x="26" y="78"/>
                  </a:lnTo>
                  <a:lnTo>
                    <a:pt x="27" y="74"/>
                  </a:lnTo>
                  <a:lnTo>
                    <a:pt x="34" y="73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14" y="50"/>
                  </a:lnTo>
                  <a:lnTo>
                    <a:pt x="113" y="48"/>
                  </a:lnTo>
                  <a:lnTo>
                    <a:pt x="110" y="12"/>
                  </a:lnTo>
                  <a:lnTo>
                    <a:pt x="114" y="0"/>
                  </a:lnTo>
                  <a:lnTo>
                    <a:pt x="198" y="0"/>
                  </a:lnTo>
                  <a:lnTo>
                    <a:pt x="206" y="2"/>
                  </a:lnTo>
                  <a:lnTo>
                    <a:pt x="200" y="14"/>
                  </a:lnTo>
                  <a:lnTo>
                    <a:pt x="200" y="45"/>
                  </a:lnTo>
                  <a:lnTo>
                    <a:pt x="207" y="49"/>
                  </a:lnTo>
                  <a:lnTo>
                    <a:pt x="220" y="30"/>
                  </a:lnTo>
                  <a:lnTo>
                    <a:pt x="245" y="36"/>
                  </a:lnTo>
                  <a:lnTo>
                    <a:pt x="253" y="46"/>
                  </a:lnTo>
                  <a:lnTo>
                    <a:pt x="254" y="64"/>
                  </a:lnTo>
                  <a:lnTo>
                    <a:pt x="239" y="88"/>
                  </a:lnTo>
                  <a:lnTo>
                    <a:pt x="238" y="102"/>
                  </a:lnTo>
                  <a:lnTo>
                    <a:pt x="251" y="137"/>
                  </a:lnTo>
                  <a:lnTo>
                    <a:pt x="241" y="207"/>
                  </a:lnTo>
                  <a:lnTo>
                    <a:pt x="229" y="211"/>
                  </a:lnTo>
                  <a:lnTo>
                    <a:pt x="212" y="198"/>
                  </a:lnTo>
                  <a:lnTo>
                    <a:pt x="191" y="200"/>
                  </a:lnTo>
                  <a:lnTo>
                    <a:pt x="184" y="191"/>
                  </a:lnTo>
                  <a:lnTo>
                    <a:pt x="177" y="186"/>
                  </a:lnTo>
                  <a:lnTo>
                    <a:pt x="161" y="203"/>
                  </a:lnTo>
                  <a:lnTo>
                    <a:pt x="133" y="217"/>
                  </a:lnTo>
                  <a:lnTo>
                    <a:pt x="128" y="225"/>
                  </a:lnTo>
                  <a:lnTo>
                    <a:pt x="128" y="234"/>
                  </a:lnTo>
                  <a:lnTo>
                    <a:pt x="135" y="257"/>
                  </a:lnTo>
                  <a:lnTo>
                    <a:pt x="132" y="262"/>
                  </a:lnTo>
                  <a:lnTo>
                    <a:pt x="122" y="261"/>
                  </a:lnTo>
                  <a:lnTo>
                    <a:pt x="113" y="263"/>
                  </a:lnTo>
                  <a:lnTo>
                    <a:pt x="108" y="270"/>
                  </a:lnTo>
                  <a:lnTo>
                    <a:pt x="107" y="28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4" name="Freeform 202"/>
            <p:cNvSpPr>
              <a:spLocks/>
            </p:cNvSpPr>
            <p:nvPr/>
          </p:nvSpPr>
          <p:spPr bwMode="auto">
            <a:xfrm>
              <a:off x="3746869" y="3087782"/>
              <a:ext cx="304653" cy="282015"/>
            </a:xfrm>
            <a:custGeom>
              <a:avLst/>
              <a:gdLst>
                <a:gd name="T0" fmla="*/ 18 w 254"/>
                <a:gd name="T1" fmla="*/ 34 h 282"/>
                <a:gd name="T2" fmla="*/ 17 w 254"/>
                <a:gd name="T3" fmla="*/ 33 h 282"/>
                <a:gd name="T4" fmla="*/ 4 w 254"/>
                <a:gd name="T5" fmla="*/ 23 h 282"/>
                <a:gd name="T6" fmla="*/ 0 w 254"/>
                <a:gd name="T7" fmla="*/ 17 h 282"/>
                <a:gd name="T8" fmla="*/ 2 w 254"/>
                <a:gd name="T9" fmla="*/ 16 h 282"/>
                <a:gd name="T10" fmla="*/ 2 w 254"/>
                <a:gd name="T11" fmla="*/ 16 h 282"/>
                <a:gd name="T12" fmla="*/ 4 w 254"/>
                <a:gd name="T13" fmla="*/ 15 h 282"/>
                <a:gd name="T14" fmla="*/ 4 w 254"/>
                <a:gd name="T15" fmla="*/ 11 h 282"/>
                <a:gd name="T16" fmla="*/ 4 w 254"/>
                <a:gd name="T17" fmla="*/ 11 h 282"/>
                <a:gd name="T18" fmla="*/ 5 w 254"/>
                <a:gd name="T19" fmla="*/ 12 h 282"/>
                <a:gd name="T20" fmla="*/ 6 w 254"/>
                <a:gd name="T21" fmla="*/ 12 h 282"/>
                <a:gd name="T22" fmla="*/ 8 w 254"/>
                <a:gd name="T23" fmla="*/ 12 h 282"/>
                <a:gd name="T24" fmla="*/ 8 w 254"/>
                <a:gd name="T25" fmla="*/ 12 h 282"/>
                <a:gd name="T26" fmla="*/ 8 w 254"/>
                <a:gd name="T27" fmla="*/ 11 h 282"/>
                <a:gd name="T28" fmla="*/ 6 w 254"/>
                <a:gd name="T29" fmla="*/ 11 h 282"/>
                <a:gd name="T30" fmla="*/ 5 w 254"/>
                <a:gd name="T31" fmla="*/ 10 h 282"/>
                <a:gd name="T32" fmla="*/ 4 w 254"/>
                <a:gd name="T33" fmla="*/ 10 h 282"/>
                <a:gd name="T34" fmla="*/ 5 w 254"/>
                <a:gd name="T35" fmla="*/ 9 h 282"/>
                <a:gd name="T36" fmla="*/ 6 w 254"/>
                <a:gd name="T37" fmla="*/ 9 h 282"/>
                <a:gd name="T38" fmla="*/ 6 w 254"/>
                <a:gd name="T39" fmla="*/ 9 h 282"/>
                <a:gd name="T40" fmla="*/ 6 w 254"/>
                <a:gd name="T41" fmla="*/ 7 h 282"/>
                <a:gd name="T42" fmla="*/ 19 w 254"/>
                <a:gd name="T43" fmla="*/ 6 h 282"/>
                <a:gd name="T44" fmla="*/ 19 w 254"/>
                <a:gd name="T45" fmla="*/ 6 h 282"/>
                <a:gd name="T46" fmla="*/ 18 w 254"/>
                <a:gd name="T47" fmla="*/ 2 h 282"/>
                <a:gd name="T48" fmla="*/ 19 w 254"/>
                <a:gd name="T49" fmla="*/ 0 h 282"/>
                <a:gd name="T50" fmla="*/ 33 w 254"/>
                <a:gd name="T51" fmla="*/ 0 h 282"/>
                <a:gd name="T52" fmla="*/ 34 w 254"/>
                <a:gd name="T53" fmla="*/ 1 h 282"/>
                <a:gd name="T54" fmla="*/ 34 w 254"/>
                <a:gd name="T55" fmla="*/ 2 h 282"/>
                <a:gd name="T56" fmla="*/ 34 w 254"/>
                <a:gd name="T57" fmla="*/ 5 h 282"/>
                <a:gd name="T58" fmla="*/ 35 w 254"/>
                <a:gd name="T59" fmla="*/ 6 h 282"/>
                <a:gd name="T60" fmla="*/ 37 w 254"/>
                <a:gd name="T61" fmla="*/ 3 h 282"/>
                <a:gd name="T62" fmla="*/ 41 w 254"/>
                <a:gd name="T63" fmla="*/ 4 h 282"/>
                <a:gd name="T64" fmla="*/ 43 w 254"/>
                <a:gd name="T65" fmla="*/ 5 h 282"/>
                <a:gd name="T66" fmla="*/ 43 w 254"/>
                <a:gd name="T67" fmla="*/ 8 h 282"/>
                <a:gd name="T68" fmla="*/ 40 w 254"/>
                <a:gd name="T69" fmla="*/ 11 h 282"/>
                <a:gd name="T70" fmla="*/ 40 w 254"/>
                <a:gd name="T71" fmla="*/ 12 h 282"/>
                <a:gd name="T72" fmla="*/ 42 w 254"/>
                <a:gd name="T73" fmla="*/ 17 h 282"/>
                <a:gd name="T74" fmla="*/ 41 w 254"/>
                <a:gd name="T75" fmla="*/ 25 h 282"/>
                <a:gd name="T76" fmla="*/ 38 w 254"/>
                <a:gd name="T77" fmla="*/ 26 h 282"/>
                <a:gd name="T78" fmla="*/ 35 w 254"/>
                <a:gd name="T79" fmla="*/ 24 h 282"/>
                <a:gd name="T80" fmla="*/ 32 w 254"/>
                <a:gd name="T81" fmla="*/ 24 h 282"/>
                <a:gd name="T82" fmla="*/ 31 w 254"/>
                <a:gd name="T83" fmla="*/ 23 h 282"/>
                <a:gd name="T84" fmla="*/ 30 w 254"/>
                <a:gd name="T85" fmla="*/ 23 h 282"/>
                <a:gd name="T86" fmla="*/ 27 w 254"/>
                <a:gd name="T87" fmla="*/ 25 h 282"/>
                <a:gd name="T88" fmla="*/ 22 w 254"/>
                <a:gd name="T89" fmla="*/ 26 h 282"/>
                <a:gd name="T90" fmla="*/ 21 w 254"/>
                <a:gd name="T91" fmla="*/ 27 h 282"/>
                <a:gd name="T92" fmla="*/ 21 w 254"/>
                <a:gd name="T93" fmla="*/ 29 h 282"/>
                <a:gd name="T94" fmla="*/ 22 w 254"/>
                <a:gd name="T95" fmla="*/ 31 h 282"/>
                <a:gd name="T96" fmla="*/ 22 w 254"/>
                <a:gd name="T97" fmla="*/ 32 h 282"/>
                <a:gd name="T98" fmla="*/ 20 w 254"/>
                <a:gd name="T99" fmla="*/ 32 h 282"/>
                <a:gd name="T100" fmla="*/ 19 w 254"/>
                <a:gd name="T101" fmla="*/ 32 h 282"/>
                <a:gd name="T102" fmla="*/ 18 w 254"/>
                <a:gd name="T103" fmla="*/ 33 h 282"/>
                <a:gd name="T104" fmla="*/ 18 w 254"/>
                <a:gd name="T105" fmla="*/ 34 h 28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4"/>
                <a:gd name="T160" fmla="*/ 0 h 282"/>
                <a:gd name="T161" fmla="*/ 254 w 254"/>
                <a:gd name="T162" fmla="*/ 282 h 28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4" h="282">
                  <a:moveTo>
                    <a:pt x="107" y="282"/>
                  </a:moveTo>
                  <a:lnTo>
                    <a:pt x="101" y="271"/>
                  </a:lnTo>
                  <a:lnTo>
                    <a:pt x="23" y="190"/>
                  </a:lnTo>
                  <a:lnTo>
                    <a:pt x="0" y="136"/>
                  </a:lnTo>
                  <a:lnTo>
                    <a:pt x="10" y="133"/>
                  </a:lnTo>
                  <a:lnTo>
                    <a:pt x="15" y="126"/>
                  </a:lnTo>
                  <a:lnTo>
                    <a:pt x="21" y="121"/>
                  </a:lnTo>
                  <a:lnTo>
                    <a:pt x="23" y="90"/>
                  </a:lnTo>
                  <a:lnTo>
                    <a:pt x="26" y="90"/>
                  </a:lnTo>
                  <a:lnTo>
                    <a:pt x="31" y="95"/>
                  </a:lnTo>
                  <a:lnTo>
                    <a:pt x="38" y="97"/>
                  </a:lnTo>
                  <a:lnTo>
                    <a:pt x="48" y="98"/>
                  </a:lnTo>
                  <a:lnTo>
                    <a:pt x="50" y="96"/>
                  </a:lnTo>
                  <a:lnTo>
                    <a:pt x="48" y="94"/>
                  </a:lnTo>
                  <a:lnTo>
                    <a:pt x="40" y="91"/>
                  </a:lnTo>
                  <a:lnTo>
                    <a:pt x="28" y="83"/>
                  </a:lnTo>
                  <a:lnTo>
                    <a:pt x="26" y="78"/>
                  </a:lnTo>
                  <a:lnTo>
                    <a:pt x="27" y="74"/>
                  </a:lnTo>
                  <a:lnTo>
                    <a:pt x="34" y="73"/>
                  </a:lnTo>
                  <a:lnTo>
                    <a:pt x="36" y="70"/>
                  </a:lnTo>
                  <a:lnTo>
                    <a:pt x="36" y="56"/>
                  </a:lnTo>
                  <a:lnTo>
                    <a:pt x="114" y="50"/>
                  </a:lnTo>
                  <a:lnTo>
                    <a:pt x="113" y="48"/>
                  </a:lnTo>
                  <a:lnTo>
                    <a:pt x="110" y="12"/>
                  </a:lnTo>
                  <a:lnTo>
                    <a:pt x="114" y="0"/>
                  </a:lnTo>
                  <a:lnTo>
                    <a:pt x="198" y="0"/>
                  </a:lnTo>
                  <a:lnTo>
                    <a:pt x="206" y="2"/>
                  </a:lnTo>
                  <a:lnTo>
                    <a:pt x="200" y="14"/>
                  </a:lnTo>
                  <a:lnTo>
                    <a:pt x="200" y="45"/>
                  </a:lnTo>
                  <a:lnTo>
                    <a:pt x="207" y="49"/>
                  </a:lnTo>
                  <a:lnTo>
                    <a:pt x="220" y="30"/>
                  </a:lnTo>
                  <a:lnTo>
                    <a:pt x="245" y="36"/>
                  </a:lnTo>
                  <a:lnTo>
                    <a:pt x="253" y="46"/>
                  </a:lnTo>
                  <a:lnTo>
                    <a:pt x="254" y="64"/>
                  </a:lnTo>
                  <a:lnTo>
                    <a:pt x="239" y="88"/>
                  </a:lnTo>
                  <a:lnTo>
                    <a:pt x="238" y="102"/>
                  </a:lnTo>
                  <a:lnTo>
                    <a:pt x="251" y="137"/>
                  </a:lnTo>
                  <a:lnTo>
                    <a:pt x="241" y="207"/>
                  </a:lnTo>
                  <a:lnTo>
                    <a:pt x="229" y="211"/>
                  </a:lnTo>
                  <a:lnTo>
                    <a:pt x="212" y="198"/>
                  </a:lnTo>
                  <a:lnTo>
                    <a:pt x="191" y="200"/>
                  </a:lnTo>
                  <a:lnTo>
                    <a:pt x="184" y="191"/>
                  </a:lnTo>
                  <a:lnTo>
                    <a:pt x="177" y="186"/>
                  </a:lnTo>
                  <a:lnTo>
                    <a:pt x="161" y="203"/>
                  </a:lnTo>
                  <a:lnTo>
                    <a:pt x="133" y="217"/>
                  </a:lnTo>
                  <a:lnTo>
                    <a:pt x="128" y="225"/>
                  </a:lnTo>
                  <a:lnTo>
                    <a:pt x="128" y="234"/>
                  </a:lnTo>
                  <a:lnTo>
                    <a:pt x="135" y="257"/>
                  </a:lnTo>
                  <a:lnTo>
                    <a:pt x="132" y="262"/>
                  </a:lnTo>
                  <a:lnTo>
                    <a:pt x="122" y="261"/>
                  </a:lnTo>
                  <a:lnTo>
                    <a:pt x="113" y="263"/>
                  </a:lnTo>
                  <a:lnTo>
                    <a:pt x="108" y="270"/>
                  </a:lnTo>
                  <a:lnTo>
                    <a:pt x="107" y="28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5" name="Freeform 203"/>
            <p:cNvSpPr>
              <a:spLocks/>
            </p:cNvSpPr>
            <p:nvPr/>
          </p:nvSpPr>
          <p:spPr bwMode="auto">
            <a:xfrm>
              <a:off x="5079216" y="2508910"/>
              <a:ext cx="824593" cy="519502"/>
            </a:xfrm>
            <a:custGeom>
              <a:avLst/>
              <a:gdLst>
                <a:gd name="T0" fmla="*/ 24 w 688"/>
                <a:gd name="T1" fmla="*/ 10 h 522"/>
                <a:gd name="T2" fmla="*/ 22 w 688"/>
                <a:gd name="T3" fmla="*/ 11 h 522"/>
                <a:gd name="T4" fmla="*/ 15 w 688"/>
                <a:gd name="T5" fmla="*/ 21 h 522"/>
                <a:gd name="T6" fmla="*/ 12 w 688"/>
                <a:gd name="T7" fmla="*/ 22 h 522"/>
                <a:gd name="T8" fmla="*/ 10 w 688"/>
                <a:gd name="T9" fmla="*/ 25 h 522"/>
                <a:gd name="T10" fmla="*/ 8 w 688"/>
                <a:gd name="T11" fmla="*/ 35 h 522"/>
                <a:gd name="T12" fmla="*/ 6 w 688"/>
                <a:gd name="T13" fmla="*/ 36 h 522"/>
                <a:gd name="T14" fmla="*/ 1 w 688"/>
                <a:gd name="T15" fmla="*/ 36 h 522"/>
                <a:gd name="T16" fmla="*/ 1 w 688"/>
                <a:gd name="T17" fmla="*/ 38 h 522"/>
                <a:gd name="T18" fmla="*/ 1 w 688"/>
                <a:gd name="T19" fmla="*/ 39 h 522"/>
                <a:gd name="T20" fmla="*/ 3 w 688"/>
                <a:gd name="T21" fmla="*/ 40 h 522"/>
                <a:gd name="T22" fmla="*/ 5 w 688"/>
                <a:gd name="T23" fmla="*/ 40 h 522"/>
                <a:gd name="T24" fmla="*/ 8 w 688"/>
                <a:gd name="T25" fmla="*/ 41 h 522"/>
                <a:gd name="T26" fmla="*/ 10 w 688"/>
                <a:gd name="T27" fmla="*/ 44 h 522"/>
                <a:gd name="T28" fmla="*/ 17 w 688"/>
                <a:gd name="T29" fmla="*/ 51 h 522"/>
                <a:gd name="T30" fmla="*/ 21 w 688"/>
                <a:gd name="T31" fmla="*/ 53 h 522"/>
                <a:gd name="T32" fmla="*/ 22 w 688"/>
                <a:gd name="T33" fmla="*/ 57 h 522"/>
                <a:gd name="T34" fmla="*/ 28 w 688"/>
                <a:gd name="T35" fmla="*/ 57 h 522"/>
                <a:gd name="T36" fmla="*/ 37 w 688"/>
                <a:gd name="T37" fmla="*/ 61 h 522"/>
                <a:gd name="T38" fmla="*/ 53 w 688"/>
                <a:gd name="T39" fmla="*/ 61 h 522"/>
                <a:gd name="T40" fmla="*/ 60 w 688"/>
                <a:gd name="T41" fmla="*/ 59 h 522"/>
                <a:gd name="T42" fmla="*/ 68 w 688"/>
                <a:gd name="T43" fmla="*/ 61 h 522"/>
                <a:gd name="T44" fmla="*/ 76 w 688"/>
                <a:gd name="T45" fmla="*/ 58 h 522"/>
                <a:gd name="T46" fmla="*/ 83 w 688"/>
                <a:gd name="T47" fmla="*/ 55 h 522"/>
                <a:gd name="T48" fmla="*/ 114 w 688"/>
                <a:gd name="T49" fmla="*/ 38 h 522"/>
                <a:gd name="T50" fmla="*/ 107 w 688"/>
                <a:gd name="T51" fmla="*/ 38 h 522"/>
                <a:gd name="T52" fmla="*/ 84 w 688"/>
                <a:gd name="T53" fmla="*/ 31 h 522"/>
                <a:gd name="T54" fmla="*/ 80 w 688"/>
                <a:gd name="T55" fmla="*/ 29 h 522"/>
                <a:gd name="T56" fmla="*/ 78 w 688"/>
                <a:gd name="T57" fmla="*/ 27 h 522"/>
                <a:gd name="T58" fmla="*/ 77 w 688"/>
                <a:gd name="T59" fmla="*/ 26 h 522"/>
                <a:gd name="T60" fmla="*/ 75 w 688"/>
                <a:gd name="T61" fmla="*/ 23 h 522"/>
                <a:gd name="T62" fmla="*/ 76 w 688"/>
                <a:gd name="T63" fmla="*/ 22 h 522"/>
                <a:gd name="T64" fmla="*/ 74 w 688"/>
                <a:gd name="T65" fmla="*/ 21 h 522"/>
                <a:gd name="T66" fmla="*/ 72 w 688"/>
                <a:gd name="T67" fmla="*/ 21 h 522"/>
                <a:gd name="T68" fmla="*/ 72 w 688"/>
                <a:gd name="T69" fmla="*/ 22 h 522"/>
                <a:gd name="T70" fmla="*/ 70 w 688"/>
                <a:gd name="T71" fmla="*/ 22 h 522"/>
                <a:gd name="T72" fmla="*/ 67 w 688"/>
                <a:gd name="T73" fmla="*/ 21 h 522"/>
                <a:gd name="T74" fmla="*/ 69 w 688"/>
                <a:gd name="T75" fmla="*/ 18 h 522"/>
                <a:gd name="T76" fmla="*/ 71 w 688"/>
                <a:gd name="T77" fmla="*/ 14 h 522"/>
                <a:gd name="T78" fmla="*/ 68 w 688"/>
                <a:gd name="T79" fmla="*/ 11 h 522"/>
                <a:gd name="T80" fmla="*/ 58 w 688"/>
                <a:gd name="T81" fmla="*/ 4 h 522"/>
                <a:gd name="T82" fmla="*/ 54 w 688"/>
                <a:gd name="T83" fmla="*/ 2 h 522"/>
                <a:gd name="T84" fmla="*/ 53 w 688"/>
                <a:gd name="T85" fmla="*/ 3 h 522"/>
                <a:gd name="T86" fmla="*/ 52 w 688"/>
                <a:gd name="T87" fmla="*/ 2 h 522"/>
                <a:gd name="T88" fmla="*/ 50 w 688"/>
                <a:gd name="T89" fmla="*/ 2 h 522"/>
                <a:gd name="T90" fmla="*/ 48 w 688"/>
                <a:gd name="T91" fmla="*/ 2 h 522"/>
                <a:gd name="T92" fmla="*/ 47 w 688"/>
                <a:gd name="T93" fmla="*/ 2 h 522"/>
                <a:gd name="T94" fmla="*/ 47 w 688"/>
                <a:gd name="T95" fmla="*/ 2 h 522"/>
                <a:gd name="T96" fmla="*/ 45 w 688"/>
                <a:gd name="T97" fmla="*/ 1 h 522"/>
                <a:gd name="T98" fmla="*/ 44 w 688"/>
                <a:gd name="T99" fmla="*/ 2 h 522"/>
                <a:gd name="T100" fmla="*/ 42 w 688"/>
                <a:gd name="T101" fmla="*/ 3 h 522"/>
                <a:gd name="T102" fmla="*/ 40 w 688"/>
                <a:gd name="T103" fmla="*/ 2 h 522"/>
                <a:gd name="T104" fmla="*/ 39 w 688"/>
                <a:gd name="T105" fmla="*/ 1 h 522"/>
                <a:gd name="T106" fmla="*/ 37 w 688"/>
                <a:gd name="T107" fmla="*/ 0 h 522"/>
                <a:gd name="T108" fmla="*/ 32 w 688"/>
                <a:gd name="T109" fmla="*/ 3 h 522"/>
                <a:gd name="T110" fmla="*/ 32 w 688"/>
                <a:gd name="T111" fmla="*/ 2 h 522"/>
                <a:gd name="T112" fmla="*/ 31 w 688"/>
                <a:gd name="T113" fmla="*/ 3 h 522"/>
                <a:gd name="T114" fmla="*/ 30 w 688"/>
                <a:gd name="T115" fmla="*/ 3 h 522"/>
                <a:gd name="T116" fmla="*/ 29 w 688"/>
                <a:gd name="T117" fmla="*/ 3 h 522"/>
                <a:gd name="T118" fmla="*/ 27 w 688"/>
                <a:gd name="T119" fmla="*/ 3 h 5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88"/>
                <a:gd name="T181" fmla="*/ 0 h 522"/>
                <a:gd name="T182" fmla="*/ 688 w 688"/>
                <a:gd name="T183" fmla="*/ 522 h 5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88" h="522">
                  <a:moveTo>
                    <a:pt x="160" y="25"/>
                  </a:moveTo>
                  <a:lnTo>
                    <a:pt x="145" y="87"/>
                  </a:lnTo>
                  <a:lnTo>
                    <a:pt x="139" y="93"/>
                  </a:lnTo>
                  <a:lnTo>
                    <a:pt x="132" y="96"/>
                  </a:lnTo>
                  <a:lnTo>
                    <a:pt x="95" y="144"/>
                  </a:lnTo>
                  <a:lnTo>
                    <a:pt x="87" y="178"/>
                  </a:lnTo>
                  <a:lnTo>
                    <a:pt x="84" y="182"/>
                  </a:lnTo>
                  <a:lnTo>
                    <a:pt x="73" y="182"/>
                  </a:lnTo>
                  <a:lnTo>
                    <a:pt x="67" y="186"/>
                  </a:lnTo>
                  <a:lnTo>
                    <a:pt x="59" y="203"/>
                  </a:lnTo>
                  <a:lnTo>
                    <a:pt x="56" y="201"/>
                  </a:lnTo>
                  <a:lnTo>
                    <a:pt x="51" y="289"/>
                  </a:lnTo>
                  <a:lnTo>
                    <a:pt x="44" y="294"/>
                  </a:lnTo>
                  <a:lnTo>
                    <a:pt x="35" y="298"/>
                  </a:lnTo>
                  <a:lnTo>
                    <a:pt x="16" y="296"/>
                  </a:lnTo>
                  <a:lnTo>
                    <a:pt x="8" y="298"/>
                  </a:lnTo>
                  <a:lnTo>
                    <a:pt x="8" y="311"/>
                  </a:lnTo>
                  <a:lnTo>
                    <a:pt x="3" y="314"/>
                  </a:lnTo>
                  <a:lnTo>
                    <a:pt x="0" y="322"/>
                  </a:lnTo>
                  <a:lnTo>
                    <a:pt x="4" y="325"/>
                  </a:lnTo>
                  <a:lnTo>
                    <a:pt x="10" y="326"/>
                  </a:lnTo>
                  <a:lnTo>
                    <a:pt x="16" y="330"/>
                  </a:lnTo>
                  <a:lnTo>
                    <a:pt x="24" y="330"/>
                  </a:lnTo>
                  <a:lnTo>
                    <a:pt x="32" y="332"/>
                  </a:lnTo>
                  <a:lnTo>
                    <a:pt x="39" y="336"/>
                  </a:lnTo>
                  <a:lnTo>
                    <a:pt x="46" y="344"/>
                  </a:lnTo>
                  <a:lnTo>
                    <a:pt x="48" y="353"/>
                  </a:lnTo>
                  <a:lnTo>
                    <a:pt x="59" y="366"/>
                  </a:lnTo>
                  <a:lnTo>
                    <a:pt x="78" y="378"/>
                  </a:lnTo>
                  <a:lnTo>
                    <a:pt x="98" y="426"/>
                  </a:lnTo>
                  <a:lnTo>
                    <a:pt x="106" y="431"/>
                  </a:lnTo>
                  <a:lnTo>
                    <a:pt x="125" y="435"/>
                  </a:lnTo>
                  <a:lnTo>
                    <a:pt x="131" y="439"/>
                  </a:lnTo>
                  <a:lnTo>
                    <a:pt x="130" y="472"/>
                  </a:lnTo>
                  <a:lnTo>
                    <a:pt x="141" y="475"/>
                  </a:lnTo>
                  <a:lnTo>
                    <a:pt x="167" y="475"/>
                  </a:lnTo>
                  <a:lnTo>
                    <a:pt x="213" y="501"/>
                  </a:lnTo>
                  <a:lnTo>
                    <a:pt x="223" y="510"/>
                  </a:lnTo>
                  <a:lnTo>
                    <a:pt x="291" y="522"/>
                  </a:lnTo>
                  <a:lnTo>
                    <a:pt x="312" y="511"/>
                  </a:lnTo>
                  <a:lnTo>
                    <a:pt x="324" y="498"/>
                  </a:lnTo>
                  <a:lnTo>
                    <a:pt x="357" y="490"/>
                  </a:lnTo>
                  <a:lnTo>
                    <a:pt x="384" y="504"/>
                  </a:lnTo>
                  <a:lnTo>
                    <a:pt x="408" y="503"/>
                  </a:lnTo>
                  <a:lnTo>
                    <a:pt x="410" y="499"/>
                  </a:lnTo>
                  <a:lnTo>
                    <a:pt x="452" y="484"/>
                  </a:lnTo>
                  <a:lnTo>
                    <a:pt x="474" y="466"/>
                  </a:lnTo>
                  <a:lnTo>
                    <a:pt x="497" y="455"/>
                  </a:lnTo>
                  <a:lnTo>
                    <a:pt x="552" y="454"/>
                  </a:lnTo>
                  <a:lnTo>
                    <a:pt x="687" y="317"/>
                  </a:lnTo>
                  <a:lnTo>
                    <a:pt x="688" y="314"/>
                  </a:lnTo>
                  <a:lnTo>
                    <a:pt x="644" y="316"/>
                  </a:lnTo>
                  <a:lnTo>
                    <a:pt x="506" y="267"/>
                  </a:lnTo>
                  <a:lnTo>
                    <a:pt x="500" y="260"/>
                  </a:lnTo>
                  <a:lnTo>
                    <a:pt x="483" y="248"/>
                  </a:lnTo>
                  <a:lnTo>
                    <a:pt x="478" y="240"/>
                  </a:lnTo>
                  <a:lnTo>
                    <a:pt x="473" y="235"/>
                  </a:lnTo>
                  <a:lnTo>
                    <a:pt x="471" y="230"/>
                  </a:lnTo>
                  <a:lnTo>
                    <a:pt x="461" y="221"/>
                  </a:lnTo>
                  <a:lnTo>
                    <a:pt x="460" y="217"/>
                  </a:lnTo>
                  <a:lnTo>
                    <a:pt x="453" y="211"/>
                  </a:lnTo>
                  <a:lnTo>
                    <a:pt x="449" y="191"/>
                  </a:lnTo>
                  <a:lnTo>
                    <a:pt x="450" y="187"/>
                  </a:lnTo>
                  <a:lnTo>
                    <a:pt x="454" y="183"/>
                  </a:lnTo>
                  <a:lnTo>
                    <a:pt x="454" y="182"/>
                  </a:lnTo>
                  <a:lnTo>
                    <a:pt x="446" y="176"/>
                  </a:lnTo>
                  <a:lnTo>
                    <a:pt x="443" y="175"/>
                  </a:lnTo>
                  <a:lnTo>
                    <a:pt x="432" y="179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5" y="181"/>
                  </a:lnTo>
                  <a:lnTo>
                    <a:pt x="420" y="182"/>
                  </a:lnTo>
                  <a:lnTo>
                    <a:pt x="410" y="181"/>
                  </a:lnTo>
                  <a:lnTo>
                    <a:pt x="404" y="176"/>
                  </a:lnTo>
                  <a:lnTo>
                    <a:pt x="403" y="168"/>
                  </a:lnTo>
                  <a:lnTo>
                    <a:pt x="416" y="147"/>
                  </a:lnTo>
                  <a:lnTo>
                    <a:pt x="423" y="119"/>
                  </a:lnTo>
                  <a:lnTo>
                    <a:pt x="428" y="115"/>
                  </a:lnTo>
                  <a:lnTo>
                    <a:pt x="419" y="103"/>
                  </a:lnTo>
                  <a:lnTo>
                    <a:pt x="407" y="94"/>
                  </a:lnTo>
                  <a:lnTo>
                    <a:pt x="400" y="82"/>
                  </a:lnTo>
                  <a:lnTo>
                    <a:pt x="351" y="33"/>
                  </a:lnTo>
                  <a:lnTo>
                    <a:pt x="345" y="32"/>
                  </a:lnTo>
                  <a:lnTo>
                    <a:pt x="325" y="18"/>
                  </a:lnTo>
                  <a:lnTo>
                    <a:pt x="316" y="19"/>
                  </a:lnTo>
                  <a:lnTo>
                    <a:pt x="314" y="20"/>
                  </a:lnTo>
                  <a:lnTo>
                    <a:pt x="311" y="20"/>
                  </a:lnTo>
                  <a:lnTo>
                    <a:pt x="310" y="17"/>
                  </a:lnTo>
                  <a:lnTo>
                    <a:pt x="301" y="17"/>
                  </a:lnTo>
                  <a:lnTo>
                    <a:pt x="297" y="14"/>
                  </a:lnTo>
                  <a:lnTo>
                    <a:pt x="294" y="14"/>
                  </a:lnTo>
                  <a:lnTo>
                    <a:pt x="290" y="17"/>
                  </a:lnTo>
                  <a:lnTo>
                    <a:pt x="284" y="18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4"/>
                  </a:lnTo>
                  <a:lnTo>
                    <a:pt x="274" y="10"/>
                  </a:lnTo>
                  <a:lnTo>
                    <a:pt x="270" y="10"/>
                  </a:lnTo>
                  <a:lnTo>
                    <a:pt x="270" y="14"/>
                  </a:lnTo>
                  <a:lnTo>
                    <a:pt x="266" y="17"/>
                  </a:lnTo>
                  <a:lnTo>
                    <a:pt x="254" y="19"/>
                  </a:lnTo>
                  <a:lnTo>
                    <a:pt x="251" y="20"/>
                  </a:lnTo>
                  <a:lnTo>
                    <a:pt x="243" y="20"/>
                  </a:lnTo>
                  <a:lnTo>
                    <a:pt x="237" y="11"/>
                  </a:lnTo>
                  <a:lnTo>
                    <a:pt x="236" y="9"/>
                  </a:lnTo>
                  <a:lnTo>
                    <a:pt x="234" y="8"/>
                  </a:lnTo>
                  <a:lnTo>
                    <a:pt x="229" y="8"/>
                  </a:lnTo>
                  <a:lnTo>
                    <a:pt x="220" y="0"/>
                  </a:lnTo>
                  <a:lnTo>
                    <a:pt x="204" y="36"/>
                  </a:lnTo>
                  <a:lnTo>
                    <a:pt x="197" y="27"/>
                  </a:lnTo>
                  <a:lnTo>
                    <a:pt x="196" y="24"/>
                  </a:lnTo>
                  <a:lnTo>
                    <a:pt x="192" y="19"/>
                  </a:lnTo>
                  <a:lnTo>
                    <a:pt x="186" y="19"/>
                  </a:lnTo>
                  <a:lnTo>
                    <a:pt x="183" y="23"/>
                  </a:lnTo>
                  <a:lnTo>
                    <a:pt x="183" y="26"/>
                  </a:lnTo>
                  <a:lnTo>
                    <a:pt x="180" y="28"/>
                  </a:lnTo>
                  <a:lnTo>
                    <a:pt x="177" y="28"/>
                  </a:lnTo>
                  <a:lnTo>
                    <a:pt x="173" y="26"/>
                  </a:lnTo>
                  <a:lnTo>
                    <a:pt x="162" y="26"/>
                  </a:lnTo>
                  <a:lnTo>
                    <a:pt x="160" y="25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6" name="Freeform 204"/>
            <p:cNvSpPr>
              <a:spLocks/>
            </p:cNvSpPr>
            <p:nvPr/>
          </p:nvSpPr>
          <p:spPr bwMode="auto">
            <a:xfrm>
              <a:off x="5079216" y="2508910"/>
              <a:ext cx="824593" cy="519502"/>
            </a:xfrm>
            <a:custGeom>
              <a:avLst/>
              <a:gdLst>
                <a:gd name="T0" fmla="*/ 24 w 688"/>
                <a:gd name="T1" fmla="*/ 10 h 522"/>
                <a:gd name="T2" fmla="*/ 22 w 688"/>
                <a:gd name="T3" fmla="*/ 11 h 522"/>
                <a:gd name="T4" fmla="*/ 15 w 688"/>
                <a:gd name="T5" fmla="*/ 21 h 522"/>
                <a:gd name="T6" fmla="*/ 12 w 688"/>
                <a:gd name="T7" fmla="*/ 22 h 522"/>
                <a:gd name="T8" fmla="*/ 10 w 688"/>
                <a:gd name="T9" fmla="*/ 25 h 522"/>
                <a:gd name="T10" fmla="*/ 8 w 688"/>
                <a:gd name="T11" fmla="*/ 35 h 522"/>
                <a:gd name="T12" fmla="*/ 6 w 688"/>
                <a:gd name="T13" fmla="*/ 36 h 522"/>
                <a:gd name="T14" fmla="*/ 1 w 688"/>
                <a:gd name="T15" fmla="*/ 36 h 522"/>
                <a:gd name="T16" fmla="*/ 1 w 688"/>
                <a:gd name="T17" fmla="*/ 38 h 522"/>
                <a:gd name="T18" fmla="*/ 1 w 688"/>
                <a:gd name="T19" fmla="*/ 39 h 522"/>
                <a:gd name="T20" fmla="*/ 3 w 688"/>
                <a:gd name="T21" fmla="*/ 40 h 522"/>
                <a:gd name="T22" fmla="*/ 5 w 688"/>
                <a:gd name="T23" fmla="*/ 40 h 522"/>
                <a:gd name="T24" fmla="*/ 8 w 688"/>
                <a:gd name="T25" fmla="*/ 41 h 522"/>
                <a:gd name="T26" fmla="*/ 10 w 688"/>
                <a:gd name="T27" fmla="*/ 44 h 522"/>
                <a:gd name="T28" fmla="*/ 17 w 688"/>
                <a:gd name="T29" fmla="*/ 51 h 522"/>
                <a:gd name="T30" fmla="*/ 21 w 688"/>
                <a:gd name="T31" fmla="*/ 53 h 522"/>
                <a:gd name="T32" fmla="*/ 22 w 688"/>
                <a:gd name="T33" fmla="*/ 57 h 522"/>
                <a:gd name="T34" fmla="*/ 28 w 688"/>
                <a:gd name="T35" fmla="*/ 57 h 522"/>
                <a:gd name="T36" fmla="*/ 37 w 688"/>
                <a:gd name="T37" fmla="*/ 61 h 522"/>
                <a:gd name="T38" fmla="*/ 53 w 688"/>
                <a:gd name="T39" fmla="*/ 61 h 522"/>
                <a:gd name="T40" fmla="*/ 60 w 688"/>
                <a:gd name="T41" fmla="*/ 59 h 522"/>
                <a:gd name="T42" fmla="*/ 68 w 688"/>
                <a:gd name="T43" fmla="*/ 61 h 522"/>
                <a:gd name="T44" fmla="*/ 76 w 688"/>
                <a:gd name="T45" fmla="*/ 58 h 522"/>
                <a:gd name="T46" fmla="*/ 83 w 688"/>
                <a:gd name="T47" fmla="*/ 55 h 522"/>
                <a:gd name="T48" fmla="*/ 114 w 688"/>
                <a:gd name="T49" fmla="*/ 38 h 522"/>
                <a:gd name="T50" fmla="*/ 107 w 688"/>
                <a:gd name="T51" fmla="*/ 38 h 522"/>
                <a:gd name="T52" fmla="*/ 84 w 688"/>
                <a:gd name="T53" fmla="*/ 31 h 522"/>
                <a:gd name="T54" fmla="*/ 80 w 688"/>
                <a:gd name="T55" fmla="*/ 29 h 522"/>
                <a:gd name="T56" fmla="*/ 78 w 688"/>
                <a:gd name="T57" fmla="*/ 27 h 522"/>
                <a:gd name="T58" fmla="*/ 77 w 688"/>
                <a:gd name="T59" fmla="*/ 26 h 522"/>
                <a:gd name="T60" fmla="*/ 75 w 688"/>
                <a:gd name="T61" fmla="*/ 23 h 522"/>
                <a:gd name="T62" fmla="*/ 76 w 688"/>
                <a:gd name="T63" fmla="*/ 22 h 522"/>
                <a:gd name="T64" fmla="*/ 74 w 688"/>
                <a:gd name="T65" fmla="*/ 21 h 522"/>
                <a:gd name="T66" fmla="*/ 72 w 688"/>
                <a:gd name="T67" fmla="*/ 21 h 522"/>
                <a:gd name="T68" fmla="*/ 72 w 688"/>
                <a:gd name="T69" fmla="*/ 22 h 522"/>
                <a:gd name="T70" fmla="*/ 70 w 688"/>
                <a:gd name="T71" fmla="*/ 22 h 522"/>
                <a:gd name="T72" fmla="*/ 67 w 688"/>
                <a:gd name="T73" fmla="*/ 21 h 522"/>
                <a:gd name="T74" fmla="*/ 69 w 688"/>
                <a:gd name="T75" fmla="*/ 18 h 522"/>
                <a:gd name="T76" fmla="*/ 71 w 688"/>
                <a:gd name="T77" fmla="*/ 14 h 522"/>
                <a:gd name="T78" fmla="*/ 68 w 688"/>
                <a:gd name="T79" fmla="*/ 11 h 522"/>
                <a:gd name="T80" fmla="*/ 58 w 688"/>
                <a:gd name="T81" fmla="*/ 4 h 522"/>
                <a:gd name="T82" fmla="*/ 54 w 688"/>
                <a:gd name="T83" fmla="*/ 2 h 522"/>
                <a:gd name="T84" fmla="*/ 53 w 688"/>
                <a:gd name="T85" fmla="*/ 3 h 522"/>
                <a:gd name="T86" fmla="*/ 52 w 688"/>
                <a:gd name="T87" fmla="*/ 2 h 522"/>
                <a:gd name="T88" fmla="*/ 50 w 688"/>
                <a:gd name="T89" fmla="*/ 2 h 522"/>
                <a:gd name="T90" fmla="*/ 48 w 688"/>
                <a:gd name="T91" fmla="*/ 2 h 522"/>
                <a:gd name="T92" fmla="*/ 47 w 688"/>
                <a:gd name="T93" fmla="*/ 2 h 522"/>
                <a:gd name="T94" fmla="*/ 47 w 688"/>
                <a:gd name="T95" fmla="*/ 2 h 522"/>
                <a:gd name="T96" fmla="*/ 45 w 688"/>
                <a:gd name="T97" fmla="*/ 1 h 522"/>
                <a:gd name="T98" fmla="*/ 44 w 688"/>
                <a:gd name="T99" fmla="*/ 2 h 522"/>
                <a:gd name="T100" fmla="*/ 42 w 688"/>
                <a:gd name="T101" fmla="*/ 3 h 522"/>
                <a:gd name="T102" fmla="*/ 40 w 688"/>
                <a:gd name="T103" fmla="*/ 2 h 522"/>
                <a:gd name="T104" fmla="*/ 39 w 688"/>
                <a:gd name="T105" fmla="*/ 1 h 522"/>
                <a:gd name="T106" fmla="*/ 37 w 688"/>
                <a:gd name="T107" fmla="*/ 0 h 522"/>
                <a:gd name="T108" fmla="*/ 32 w 688"/>
                <a:gd name="T109" fmla="*/ 3 h 522"/>
                <a:gd name="T110" fmla="*/ 32 w 688"/>
                <a:gd name="T111" fmla="*/ 2 h 522"/>
                <a:gd name="T112" fmla="*/ 31 w 688"/>
                <a:gd name="T113" fmla="*/ 3 h 522"/>
                <a:gd name="T114" fmla="*/ 30 w 688"/>
                <a:gd name="T115" fmla="*/ 3 h 522"/>
                <a:gd name="T116" fmla="*/ 29 w 688"/>
                <a:gd name="T117" fmla="*/ 3 h 522"/>
                <a:gd name="T118" fmla="*/ 27 w 688"/>
                <a:gd name="T119" fmla="*/ 3 h 5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88"/>
                <a:gd name="T181" fmla="*/ 0 h 522"/>
                <a:gd name="T182" fmla="*/ 688 w 688"/>
                <a:gd name="T183" fmla="*/ 522 h 5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88" h="522">
                  <a:moveTo>
                    <a:pt x="160" y="25"/>
                  </a:moveTo>
                  <a:lnTo>
                    <a:pt x="145" y="87"/>
                  </a:lnTo>
                  <a:lnTo>
                    <a:pt x="139" y="93"/>
                  </a:lnTo>
                  <a:lnTo>
                    <a:pt x="132" y="96"/>
                  </a:lnTo>
                  <a:lnTo>
                    <a:pt x="95" y="144"/>
                  </a:lnTo>
                  <a:lnTo>
                    <a:pt x="87" y="178"/>
                  </a:lnTo>
                  <a:lnTo>
                    <a:pt x="84" y="182"/>
                  </a:lnTo>
                  <a:lnTo>
                    <a:pt x="73" y="182"/>
                  </a:lnTo>
                  <a:lnTo>
                    <a:pt x="67" y="186"/>
                  </a:lnTo>
                  <a:lnTo>
                    <a:pt x="59" y="203"/>
                  </a:lnTo>
                  <a:lnTo>
                    <a:pt x="56" y="201"/>
                  </a:lnTo>
                  <a:lnTo>
                    <a:pt x="51" y="289"/>
                  </a:lnTo>
                  <a:lnTo>
                    <a:pt x="44" y="294"/>
                  </a:lnTo>
                  <a:lnTo>
                    <a:pt x="35" y="298"/>
                  </a:lnTo>
                  <a:lnTo>
                    <a:pt x="16" y="296"/>
                  </a:lnTo>
                  <a:lnTo>
                    <a:pt x="8" y="298"/>
                  </a:lnTo>
                  <a:lnTo>
                    <a:pt x="8" y="311"/>
                  </a:lnTo>
                  <a:lnTo>
                    <a:pt x="3" y="314"/>
                  </a:lnTo>
                  <a:lnTo>
                    <a:pt x="0" y="322"/>
                  </a:lnTo>
                  <a:lnTo>
                    <a:pt x="4" y="325"/>
                  </a:lnTo>
                  <a:lnTo>
                    <a:pt x="10" y="326"/>
                  </a:lnTo>
                  <a:lnTo>
                    <a:pt x="16" y="330"/>
                  </a:lnTo>
                  <a:lnTo>
                    <a:pt x="24" y="330"/>
                  </a:lnTo>
                  <a:lnTo>
                    <a:pt x="32" y="332"/>
                  </a:lnTo>
                  <a:lnTo>
                    <a:pt x="39" y="336"/>
                  </a:lnTo>
                  <a:lnTo>
                    <a:pt x="46" y="344"/>
                  </a:lnTo>
                  <a:lnTo>
                    <a:pt x="48" y="353"/>
                  </a:lnTo>
                  <a:lnTo>
                    <a:pt x="59" y="366"/>
                  </a:lnTo>
                  <a:lnTo>
                    <a:pt x="78" y="378"/>
                  </a:lnTo>
                  <a:lnTo>
                    <a:pt x="98" y="426"/>
                  </a:lnTo>
                  <a:lnTo>
                    <a:pt x="106" y="431"/>
                  </a:lnTo>
                  <a:lnTo>
                    <a:pt x="125" y="435"/>
                  </a:lnTo>
                  <a:lnTo>
                    <a:pt x="131" y="439"/>
                  </a:lnTo>
                  <a:lnTo>
                    <a:pt x="130" y="472"/>
                  </a:lnTo>
                  <a:lnTo>
                    <a:pt x="141" y="475"/>
                  </a:lnTo>
                  <a:lnTo>
                    <a:pt x="167" y="475"/>
                  </a:lnTo>
                  <a:lnTo>
                    <a:pt x="213" y="501"/>
                  </a:lnTo>
                  <a:lnTo>
                    <a:pt x="223" y="510"/>
                  </a:lnTo>
                  <a:lnTo>
                    <a:pt x="291" y="522"/>
                  </a:lnTo>
                  <a:lnTo>
                    <a:pt x="312" y="511"/>
                  </a:lnTo>
                  <a:lnTo>
                    <a:pt x="324" y="498"/>
                  </a:lnTo>
                  <a:lnTo>
                    <a:pt x="357" y="490"/>
                  </a:lnTo>
                  <a:lnTo>
                    <a:pt x="384" y="504"/>
                  </a:lnTo>
                  <a:lnTo>
                    <a:pt x="408" y="503"/>
                  </a:lnTo>
                  <a:lnTo>
                    <a:pt x="410" y="499"/>
                  </a:lnTo>
                  <a:lnTo>
                    <a:pt x="452" y="484"/>
                  </a:lnTo>
                  <a:lnTo>
                    <a:pt x="474" y="466"/>
                  </a:lnTo>
                  <a:lnTo>
                    <a:pt x="497" y="455"/>
                  </a:lnTo>
                  <a:lnTo>
                    <a:pt x="552" y="454"/>
                  </a:lnTo>
                  <a:lnTo>
                    <a:pt x="687" y="317"/>
                  </a:lnTo>
                  <a:lnTo>
                    <a:pt x="688" y="314"/>
                  </a:lnTo>
                  <a:lnTo>
                    <a:pt x="644" y="316"/>
                  </a:lnTo>
                  <a:lnTo>
                    <a:pt x="506" y="267"/>
                  </a:lnTo>
                  <a:lnTo>
                    <a:pt x="500" y="260"/>
                  </a:lnTo>
                  <a:lnTo>
                    <a:pt x="483" y="248"/>
                  </a:lnTo>
                  <a:lnTo>
                    <a:pt x="478" y="240"/>
                  </a:lnTo>
                  <a:lnTo>
                    <a:pt x="473" y="235"/>
                  </a:lnTo>
                  <a:lnTo>
                    <a:pt x="471" y="230"/>
                  </a:lnTo>
                  <a:lnTo>
                    <a:pt x="461" y="221"/>
                  </a:lnTo>
                  <a:lnTo>
                    <a:pt x="460" y="217"/>
                  </a:lnTo>
                  <a:lnTo>
                    <a:pt x="453" y="211"/>
                  </a:lnTo>
                  <a:lnTo>
                    <a:pt x="449" y="191"/>
                  </a:lnTo>
                  <a:lnTo>
                    <a:pt x="450" y="187"/>
                  </a:lnTo>
                  <a:lnTo>
                    <a:pt x="454" y="183"/>
                  </a:lnTo>
                  <a:lnTo>
                    <a:pt x="454" y="182"/>
                  </a:lnTo>
                  <a:lnTo>
                    <a:pt x="446" y="176"/>
                  </a:lnTo>
                  <a:lnTo>
                    <a:pt x="443" y="175"/>
                  </a:lnTo>
                  <a:lnTo>
                    <a:pt x="432" y="179"/>
                  </a:lnTo>
                  <a:lnTo>
                    <a:pt x="430" y="181"/>
                  </a:lnTo>
                  <a:lnTo>
                    <a:pt x="429" y="182"/>
                  </a:lnTo>
                  <a:lnTo>
                    <a:pt x="425" y="181"/>
                  </a:lnTo>
                  <a:lnTo>
                    <a:pt x="420" y="182"/>
                  </a:lnTo>
                  <a:lnTo>
                    <a:pt x="410" y="181"/>
                  </a:lnTo>
                  <a:lnTo>
                    <a:pt x="404" y="176"/>
                  </a:lnTo>
                  <a:lnTo>
                    <a:pt x="403" y="168"/>
                  </a:lnTo>
                  <a:lnTo>
                    <a:pt x="416" y="147"/>
                  </a:lnTo>
                  <a:lnTo>
                    <a:pt x="423" y="119"/>
                  </a:lnTo>
                  <a:lnTo>
                    <a:pt x="428" y="115"/>
                  </a:lnTo>
                  <a:lnTo>
                    <a:pt x="419" y="103"/>
                  </a:lnTo>
                  <a:lnTo>
                    <a:pt x="407" y="94"/>
                  </a:lnTo>
                  <a:lnTo>
                    <a:pt x="400" y="82"/>
                  </a:lnTo>
                  <a:lnTo>
                    <a:pt x="351" y="33"/>
                  </a:lnTo>
                  <a:lnTo>
                    <a:pt x="345" y="32"/>
                  </a:lnTo>
                  <a:lnTo>
                    <a:pt x="325" y="18"/>
                  </a:lnTo>
                  <a:lnTo>
                    <a:pt x="316" y="19"/>
                  </a:lnTo>
                  <a:lnTo>
                    <a:pt x="314" y="20"/>
                  </a:lnTo>
                  <a:lnTo>
                    <a:pt x="311" y="20"/>
                  </a:lnTo>
                  <a:lnTo>
                    <a:pt x="310" y="17"/>
                  </a:lnTo>
                  <a:lnTo>
                    <a:pt x="301" y="17"/>
                  </a:lnTo>
                  <a:lnTo>
                    <a:pt x="297" y="14"/>
                  </a:lnTo>
                  <a:lnTo>
                    <a:pt x="294" y="14"/>
                  </a:lnTo>
                  <a:lnTo>
                    <a:pt x="290" y="17"/>
                  </a:lnTo>
                  <a:lnTo>
                    <a:pt x="284" y="18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4"/>
                  </a:lnTo>
                  <a:lnTo>
                    <a:pt x="274" y="10"/>
                  </a:lnTo>
                  <a:lnTo>
                    <a:pt x="270" y="10"/>
                  </a:lnTo>
                  <a:lnTo>
                    <a:pt x="270" y="14"/>
                  </a:lnTo>
                  <a:lnTo>
                    <a:pt x="266" y="17"/>
                  </a:lnTo>
                  <a:lnTo>
                    <a:pt x="254" y="19"/>
                  </a:lnTo>
                  <a:lnTo>
                    <a:pt x="251" y="20"/>
                  </a:lnTo>
                  <a:lnTo>
                    <a:pt x="243" y="20"/>
                  </a:lnTo>
                  <a:lnTo>
                    <a:pt x="237" y="11"/>
                  </a:lnTo>
                  <a:lnTo>
                    <a:pt x="236" y="9"/>
                  </a:lnTo>
                  <a:lnTo>
                    <a:pt x="234" y="8"/>
                  </a:lnTo>
                  <a:lnTo>
                    <a:pt x="229" y="8"/>
                  </a:lnTo>
                  <a:lnTo>
                    <a:pt x="220" y="0"/>
                  </a:lnTo>
                  <a:lnTo>
                    <a:pt x="204" y="36"/>
                  </a:lnTo>
                  <a:lnTo>
                    <a:pt x="197" y="27"/>
                  </a:lnTo>
                  <a:lnTo>
                    <a:pt x="196" y="24"/>
                  </a:lnTo>
                  <a:lnTo>
                    <a:pt x="192" y="19"/>
                  </a:lnTo>
                  <a:lnTo>
                    <a:pt x="186" y="19"/>
                  </a:lnTo>
                  <a:lnTo>
                    <a:pt x="183" y="23"/>
                  </a:lnTo>
                  <a:lnTo>
                    <a:pt x="183" y="26"/>
                  </a:lnTo>
                  <a:lnTo>
                    <a:pt x="180" y="28"/>
                  </a:lnTo>
                  <a:lnTo>
                    <a:pt x="177" y="28"/>
                  </a:lnTo>
                  <a:lnTo>
                    <a:pt x="173" y="26"/>
                  </a:lnTo>
                  <a:lnTo>
                    <a:pt x="162" y="26"/>
                  </a:lnTo>
                  <a:lnTo>
                    <a:pt x="160" y="25"/>
                  </a:lnTo>
                </a:path>
              </a:pathLst>
            </a:custGeom>
            <a:solidFill>
              <a:srgbClr val="00B05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7" name="Freeform 205"/>
            <p:cNvSpPr>
              <a:spLocks/>
            </p:cNvSpPr>
            <p:nvPr/>
          </p:nvSpPr>
          <p:spPr bwMode="auto">
            <a:xfrm>
              <a:off x="4912673" y="3670366"/>
              <a:ext cx="586963" cy="779252"/>
            </a:xfrm>
            <a:custGeom>
              <a:avLst/>
              <a:gdLst>
                <a:gd name="T0" fmla="*/ 82 w 489"/>
                <a:gd name="T1" fmla="*/ 1 h 783"/>
                <a:gd name="T2" fmla="*/ 80 w 489"/>
                <a:gd name="T3" fmla="*/ 7 h 783"/>
                <a:gd name="T4" fmla="*/ 80 w 489"/>
                <a:gd name="T5" fmla="*/ 14 h 783"/>
                <a:gd name="T6" fmla="*/ 80 w 489"/>
                <a:gd name="T7" fmla="*/ 20 h 783"/>
                <a:gd name="T8" fmla="*/ 82 w 489"/>
                <a:gd name="T9" fmla="*/ 21 h 783"/>
                <a:gd name="T10" fmla="*/ 82 w 489"/>
                <a:gd name="T11" fmla="*/ 23 h 783"/>
                <a:gd name="T12" fmla="*/ 80 w 489"/>
                <a:gd name="T13" fmla="*/ 26 h 783"/>
                <a:gd name="T14" fmla="*/ 79 w 489"/>
                <a:gd name="T15" fmla="*/ 28 h 783"/>
                <a:gd name="T16" fmla="*/ 74 w 489"/>
                <a:gd name="T17" fmla="*/ 33 h 783"/>
                <a:gd name="T18" fmla="*/ 69 w 489"/>
                <a:gd name="T19" fmla="*/ 37 h 783"/>
                <a:gd name="T20" fmla="*/ 53 w 489"/>
                <a:gd name="T21" fmla="*/ 42 h 783"/>
                <a:gd name="T22" fmla="*/ 50 w 489"/>
                <a:gd name="T23" fmla="*/ 44 h 783"/>
                <a:gd name="T24" fmla="*/ 47 w 489"/>
                <a:gd name="T25" fmla="*/ 48 h 783"/>
                <a:gd name="T26" fmla="*/ 46 w 489"/>
                <a:gd name="T27" fmla="*/ 48 h 783"/>
                <a:gd name="T28" fmla="*/ 35 w 489"/>
                <a:gd name="T29" fmla="*/ 54 h 783"/>
                <a:gd name="T30" fmla="*/ 38 w 489"/>
                <a:gd name="T31" fmla="*/ 59 h 783"/>
                <a:gd name="T32" fmla="*/ 41 w 489"/>
                <a:gd name="T33" fmla="*/ 67 h 783"/>
                <a:gd name="T34" fmla="*/ 40 w 489"/>
                <a:gd name="T35" fmla="*/ 77 h 783"/>
                <a:gd name="T36" fmla="*/ 41 w 489"/>
                <a:gd name="T37" fmla="*/ 77 h 783"/>
                <a:gd name="T38" fmla="*/ 36 w 489"/>
                <a:gd name="T39" fmla="*/ 82 h 783"/>
                <a:gd name="T40" fmla="*/ 22 w 489"/>
                <a:gd name="T41" fmla="*/ 86 h 783"/>
                <a:gd name="T42" fmla="*/ 21 w 489"/>
                <a:gd name="T43" fmla="*/ 92 h 783"/>
                <a:gd name="T44" fmla="*/ 22 w 489"/>
                <a:gd name="T45" fmla="*/ 94 h 783"/>
                <a:gd name="T46" fmla="*/ 12 w 489"/>
                <a:gd name="T47" fmla="*/ 69 h 783"/>
                <a:gd name="T48" fmla="*/ 13 w 489"/>
                <a:gd name="T49" fmla="*/ 65 h 783"/>
                <a:gd name="T50" fmla="*/ 21 w 489"/>
                <a:gd name="T51" fmla="*/ 48 h 783"/>
                <a:gd name="T52" fmla="*/ 21 w 489"/>
                <a:gd name="T53" fmla="*/ 34 h 783"/>
                <a:gd name="T54" fmla="*/ 2 w 489"/>
                <a:gd name="T55" fmla="*/ 31 h 783"/>
                <a:gd name="T56" fmla="*/ 0 w 489"/>
                <a:gd name="T57" fmla="*/ 25 h 783"/>
                <a:gd name="T58" fmla="*/ 25 w 489"/>
                <a:gd name="T59" fmla="*/ 20 h 783"/>
                <a:gd name="T60" fmla="*/ 28 w 489"/>
                <a:gd name="T61" fmla="*/ 23 h 783"/>
                <a:gd name="T62" fmla="*/ 35 w 489"/>
                <a:gd name="T63" fmla="*/ 23 h 783"/>
                <a:gd name="T64" fmla="*/ 34 w 489"/>
                <a:gd name="T65" fmla="*/ 28 h 783"/>
                <a:gd name="T66" fmla="*/ 33 w 489"/>
                <a:gd name="T67" fmla="*/ 30 h 783"/>
                <a:gd name="T68" fmla="*/ 35 w 489"/>
                <a:gd name="T69" fmla="*/ 33 h 783"/>
                <a:gd name="T70" fmla="*/ 39 w 489"/>
                <a:gd name="T71" fmla="*/ 35 h 783"/>
                <a:gd name="T72" fmla="*/ 39 w 489"/>
                <a:gd name="T73" fmla="*/ 37 h 783"/>
                <a:gd name="T74" fmla="*/ 41 w 489"/>
                <a:gd name="T75" fmla="*/ 37 h 783"/>
                <a:gd name="T76" fmla="*/ 40 w 489"/>
                <a:gd name="T77" fmla="*/ 34 h 783"/>
                <a:gd name="T78" fmla="*/ 41 w 489"/>
                <a:gd name="T79" fmla="*/ 33 h 783"/>
                <a:gd name="T80" fmla="*/ 45 w 489"/>
                <a:gd name="T81" fmla="*/ 31 h 783"/>
                <a:gd name="T82" fmla="*/ 45 w 489"/>
                <a:gd name="T83" fmla="*/ 26 h 783"/>
                <a:gd name="T84" fmla="*/ 38 w 489"/>
                <a:gd name="T85" fmla="*/ 17 h 783"/>
                <a:gd name="T86" fmla="*/ 36 w 489"/>
                <a:gd name="T87" fmla="*/ 11 h 783"/>
                <a:gd name="T88" fmla="*/ 45 w 489"/>
                <a:gd name="T89" fmla="*/ 6 h 783"/>
                <a:gd name="T90" fmla="*/ 47 w 489"/>
                <a:gd name="T91" fmla="*/ 5 h 783"/>
                <a:gd name="T92" fmla="*/ 51 w 489"/>
                <a:gd name="T93" fmla="*/ 6 h 783"/>
                <a:gd name="T94" fmla="*/ 59 w 489"/>
                <a:gd name="T95" fmla="*/ 6 h 783"/>
                <a:gd name="T96" fmla="*/ 64 w 489"/>
                <a:gd name="T97" fmla="*/ 4 h 783"/>
                <a:gd name="T98" fmla="*/ 76 w 489"/>
                <a:gd name="T99" fmla="*/ 3 h 7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9"/>
                <a:gd name="T151" fmla="*/ 0 h 783"/>
                <a:gd name="T152" fmla="*/ 489 w 489"/>
                <a:gd name="T153" fmla="*/ 783 h 7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9" h="783">
                  <a:moveTo>
                    <a:pt x="485" y="0"/>
                  </a:moveTo>
                  <a:lnTo>
                    <a:pt x="488" y="2"/>
                  </a:lnTo>
                  <a:lnTo>
                    <a:pt x="489" y="6"/>
                  </a:lnTo>
                  <a:lnTo>
                    <a:pt x="488" y="8"/>
                  </a:lnTo>
                  <a:lnTo>
                    <a:pt x="489" y="22"/>
                  </a:lnTo>
                  <a:lnTo>
                    <a:pt x="473" y="59"/>
                  </a:lnTo>
                  <a:lnTo>
                    <a:pt x="477" y="106"/>
                  </a:lnTo>
                  <a:lnTo>
                    <a:pt x="472" y="110"/>
                  </a:lnTo>
                  <a:lnTo>
                    <a:pt x="473" y="118"/>
                  </a:lnTo>
                  <a:lnTo>
                    <a:pt x="476" y="118"/>
                  </a:lnTo>
                  <a:lnTo>
                    <a:pt x="477" y="164"/>
                  </a:lnTo>
                  <a:lnTo>
                    <a:pt x="475" y="171"/>
                  </a:lnTo>
                  <a:lnTo>
                    <a:pt x="480" y="174"/>
                  </a:lnTo>
                  <a:lnTo>
                    <a:pt x="483" y="171"/>
                  </a:lnTo>
                  <a:lnTo>
                    <a:pt x="486" y="177"/>
                  </a:lnTo>
                  <a:lnTo>
                    <a:pt x="481" y="183"/>
                  </a:lnTo>
                  <a:lnTo>
                    <a:pt x="485" y="183"/>
                  </a:lnTo>
                  <a:lnTo>
                    <a:pt x="488" y="187"/>
                  </a:lnTo>
                  <a:lnTo>
                    <a:pt x="488" y="194"/>
                  </a:lnTo>
                  <a:lnTo>
                    <a:pt x="482" y="211"/>
                  </a:lnTo>
                  <a:lnTo>
                    <a:pt x="473" y="219"/>
                  </a:lnTo>
                  <a:lnTo>
                    <a:pt x="481" y="222"/>
                  </a:lnTo>
                  <a:lnTo>
                    <a:pt x="479" y="234"/>
                  </a:lnTo>
                  <a:lnTo>
                    <a:pt x="470" y="238"/>
                  </a:lnTo>
                  <a:lnTo>
                    <a:pt x="454" y="262"/>
                  </a:lnTo>
                  <a:lnTo>
                    <a:pt x="440" y="269"/>
                  </a:lnTo>
                  <a:lnTo>
                    <a:pt x="444" y="273"/>
                  </a:lnTo>
                  <a:lnTo>
                    <a:pt x="440" y="280"/>
                  </a:lnTo>
                  <a:lnTo>
                    <a:pt x="415" y="296"/>
                  </a:lnTo>
                  <a:lnTo>
                    <a:pt x="409" y="305"/>
                  </a:lnTo>
                  <a:lnTo>
                    <a:pt x="398" y="311"/>
                  </a:lnTo>
                  <a:lnTo>
                    <a:pt x="385" y="311"/>
                  </a:lnTo>
                  <a:lnTo>
                    <a:pt x="313" y="351"/>
                  </a:lnTo>
                  <a:lnTo>
                    <a:pt x="311" y="359"/>
                  </a:lnTo>
                  <a:lnTo>
                    <a:pt x="307" y="362"/>
                  </a:lnTo>
                  <a:lnTo>
                    <a:pt x="300" y="363"/>
                  </a:lnTo>
                  <a:lnTo>
                    <a:pt x="297" y="364"/>
                  </a:lnTo>
                  <a:lnTo>
                    <a:pt x="302" y="369"/>
                  </a:lnTo>
                  <a:lnTo>
                    <a:pt x="282" y="395"/>
                  </a:lnTo>
                  <a:lnTo>
                    <a:pt x="278" y="393"/>
                  </a:lnTo>
                  <a:lnTo>
                    <a:pt x="275" y="385"/>
                  </a:lnTo>
                  <a:lnTo>
                    <a:pt x="270" y="398"/>
                  </a:lnTo>
                  <a:lnTo>
                    <a:pt x="263" y="401"/>
                  </a:lnTo>
                  <a:lnTo>
                    <a:pt x="222" y="443"/>
                  </a:lnTo>
                  <a:lnTo>
                    <a:pt x="212" y="446"/>
                  </a:lnTo>
                  <a:lnTo>
                    <a:pt x="211" y="478"/>
                  </a:lnTo>
                  <a:lnTo>
                    <a:pt x="223" y="487"/>
                  </a:lnTo>
                  <a:lnTo>
                    <a:pt x="227" y="492"/>
                  </a:lnTo>
                  <a:lnTo>
                    <a:pt x="227" y="499"/>
                  </a:lnTo>
                  <a:lnTo>
                    <a:pt x="228" y="500"/>
                  </a:lnTo>
                  <a:lnTo>
                    <a:pt x="241" y="557"/>
                  </a:lnTo>
                  <a:lnTo>
                    <a:pt x="246" y="553"/>
                  </a:lnTo>
                  <a:lnTo>
                    <a:pt x="249" y="556"/>
                  </a:lnTo>
                  <a:lnTo>
                    <a:pt x="236" y="645"/>
                  </a:lnTo>
                  <a:lnTo>
                    <a:pt x="238" y="654"/>
                  </a:lnTo>
                  <a:lnTo>
                    <a:pt x="241" y="646"/>
                  </a:lnTo>
                  <a:lnTo>
                    <a:pt x="247" y="639"/>
                  </a:lnTo>
                  <a:lnTo>
                    <a:pt x="244" y="652"/>
                  </a:lnTo>
                  <a:lnTo>
                    <a:pt x="228" y="678"/>
                  </a:lnTo>
                  <a:lnTo>
                    <a:pt x="215" y="686"/>
                  </a:lnTo>
                  <a:lnTo>
                    <a:pt x="200" y="692"/>
                  </a:lnTo>
                  <a:lnTo>
                    <a:pt x="191" y="693"/>
                  </a:lnTo>
                  <a:lnTo>
                    <a:pt x="131" y="721"/>
                  </a:lnTo>
                  <a:lnTo>
                    <a:pt x="113" y="746"/>
                  </a:lnTo>
                  <a:lnTo>
                    <a:pt x="111" y="746"/>
                  </a:lnTo>
                  <a:lnTo>
                    <a:pt x="123" y="760"/>
                  </a:lnTo>
                  <a:lnTo>
                    <a:pt x="129" y="756"/>
                  </a:lnTo>
                  <a:lnTo>
                    <a:pt x="131" y="751"/>
                  </a:lnTo>
                  <a:lnTo>
                    <a:pt x="129" y="783"/>
                  </a:lnTo>
                  <a:lnTo>
                    <a:pt x="94" y="782"/>
                  </a:lnTo>
                  <a:lnTo>
                    <a:pt x="70" y="576"/>
                  </a:lnTo>
                  <a:lnTo>
                    <a:pt x="71" y="575"/>
                  </a:lnTo>
                  <a:lnTo>
                    <a:pt x="71" y="562"/>
                  </a:lnTo>
                  <a:lnTo>
                    <a:pt x="73" y="552"/>
                  </a:lnTo>
                  <a:lnTo>
                    <a:pt x="78" y="544"/>
                  </a:lnTo>
                  <a:lnTo>
                    <a:pt x="95" y="531"/>
                  </a:lnTo>
                  <a:lnTo>
                    <a:pt x="130" y="447"/>
                  </a:lnTo>
                  <a:lnTo>
                    <a:pt x="122" y="399"/>
                  </a:lnTo>
                  <a:lnTo>
                    <a:pt x="131" y="384"/>
                  </a:lnTo>
                  <a:lnTo>
                    <a:pt x="136" y="325"/>
                  </a:lnTo>
                  <a:lnTo>
                    <a:pt x="128" y="287"/>
                  </a:lnTo>
                  <a:lnTo>
                    <a:pt x="120" y="279"/>
                  </a:lnTo>
                  <a:lnTo>
                    <a:pt x="45" y="253"/>
                  </a:lnTo>
                  <a:lnTo>
                    <a:pt x="12" y="254"/>
                  </a:lnTo>
                  <a:lnTo>
                    <a:pt x="12" y="237"/>
                  </a:lnTo>
                  <a:lnTo>
                    <a:pt x="8" y="235"/>
                  </a:lnTo>
                  <a:lnTo>
                    <a:pt x="0" y="211"/>
                  </a:lnTo>
                  <a:lnTo>
                    <a:pt x="145" y="163"/>
                  </a:lnTo>
                  <a:lnTo>
                    <a:pt x="146" y="165"/>
                  </a:lnTo>
                  <a:lnTo>
                    <a:pt x="150" y="167"/>
                  </a:lnTo>
                  <a:lnTo>
                    <a:pt x="158" y="180"/>
                  </a:lnTo>
                  <a:lnTo>
                    <a:pt x="166" y="189"/>
                  </a:lnTo>
                  <a:lnTo>
                    <a:pt x="169" y="190"/>
                  </a:lnTo>
                  <a:lnTo>
                    <a:pt x="200" y="183"/>
                  </a:lnTo>
                  <a:lnTo>
                    <a:pt x="203" y="184"/>
                  </a:lnTo>
                  <a:lnTo>
                    <a:pt x="207" y="189"/>
                  </a:lnTo>
                  <a:lnTo>
                    <a:pt x="211" y="222"/>
                  </a:lnTo>
                  <a:lnTo>
                    <a:pt x="209" y="227"/>
                  </a:lnTo>
                  <a:lnTo>
                    <a:pt x="204" y="233"/>
                  </a:lnTo>
                  <a:lnTo>
                    <a:pt x="205" y="239"/>
                  </a:lnTo>
                  <a:lnTo>
                    <a:pt x="200" y="243"/>
                  </a:lnTo>
                  <a:lnTo>
                    <a:pt x="198" y="252"/>
                  </a:lnTo>
                  <a:lnTo>
                    <a:pt x="200" y="256"/>
                  </a:lnTo>
                  <a:lnTo>
                    <a:pt x="204" y="268"/>
                  </a:lnTo>
                  <a:lnTo>
                    <a:pt x="207" y="271"/>
                  </a:lnTo>
                  <a:lnTo>
                    <a:pt x="210" y="273"/>
                  </a:lnTo>
                  <a:lnTo>
                    <a:pt x="224" y="290"/>
                  </a:lnTo>
                  <a:lnTo>
                    <a:pt x="233" y="294"/>
                  </a:lnTo>
                  <a:lnTo>
                    <a:pt x="236" y="298"/>
                  </a:lnTo>
                  <a:lnTo>
                    <a:pt x="236" y="301"/>
                  </a:lnTo>
                  <a:lnTo>
                    <a:pt x="232" y="306"/>
                  </a:lnTo>
                  <a:lnTo>
                    <a:pt x="233" y="307"/>
                  </a:lnTo>
                  <a:lnTo>
                    <a:pt x="243" y="307"/>
                  </a:lnTo>
                  <a:lnTo>
                    <a:pt x="244" y="306"/>
                  </a:lnTo>
                  <a:lnTo>
                    <a:pt x="244" y="293"/>
                  </a:lnTo>
                  <a:lnTo>
                    <a:pt x="242" y="289"/>
                  </a:lnTo>
                  <a:lnTo>
                    <a:pt x="239" y="287"/>
                  </a:lnTo>
                  <a:lnTo>
                    <a:pt x="239" y="282"/>
                  </a:lnTo>
                  <a:lnTo>
                    <a:pt x="242" y="275"/>
                  </a:lnTo>
                  <a:lnTo>
                    <a:pt x="242" y="272"/>
                  </a:lnTo>
                  <a:lnTo>
                    <a:pt x="243" y="268"/>
                  </a:lnTo>
                  <a:lnTo>
                    <a:pt x="264" y="259"/>
                  </a:lnTo>
                  <a:lnTo>
                    <a:pt x="267" y="255"/>
                  </a:lnTo>
                  <a:lnTo>
                    <a:pt x="268" y="237"/>
                  </a:lnTo>
                  <a:lnTo>
                    <a:pt x="270" y="231"/>
                  </a:lnTo>
                  <a:lnTo>
                    <a:pt x="267" y="219"/>
                  </a:lnTo>
                  <a:lnTo>
                    <a:pt x="272" y="204"/>
                  </a:lnTo>
                  <a:lnTo>
                    <a:pt x="269" y="194"/>
                  </a:lnTo>
                  <a:lnTo>
                    <a:pt x="224" y="139"/>
                  </a:lnTo>
                  <a:lnTo>
                    <a:pt x="222" y="140"/>
                  </a:lnTo>
                  <a:lnTo>
                    <a:pt x="218" y="102"/>
                  </a:lnTo>
                  <a:lnTo>
                    <a:pt x="216" y="96"/>
                  </a:lnTo>
                  <a:lnTo>
                    <a:pt x="215" y="90"/>
                  </a:lnTo>
                  <a:lnTo>
                    <a:pt x="228" y="48"/>
                  </a:lnTo>
                  <a:lnTo>
                    <a:pt x="265" y="48"/>
                  </a:lnTo>
                  <a:lnTo>
                    <a:pt x="270" y="44"/>
                  </a:lnTo>
                  <a:lnTo>
                    <a:pt x="276" y="44"/>
                  </a:lnTo>
                  <a:lnTo>
                    <a:pt x="282" y="46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302" y="53"/>
                  </a:lnTo>
                  <a:lnTo>
                    <a:pt x="308" y="53"/>
                  </a:lnTo>
                  <a:lnTo>
                    <a:pt x="318" y="47"/>
                  </a:lnTo>
                  <a:lnTo>
                    <a:pt x="353" y="47"/>
                  </a:lnTo>
                  <a:lnTo>
                    <a:pt x="364" y="36"/>
                  </a:lnTo>
                  <a:lnTo>
                    <a:pt x="375" y="35"/>
                  </a:lnTo>
                  <a:lnTo>
                    <a:pt x="384" y="33"/>
                  </a:lnTo>
                  <a:lnTo>
                    <a:pt x="394" y="38"/>
                  </a:lnTo>
                  <a:lnTo>
                    <a:pt x="410" y="37"/>
                  </a:lnTo>
                  <a:lnTo>
                    <a:pt x="454" y="22"/>
                  </a:lnTo>
                  <a:lnTo>
                    <a:pt x="48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8" name="Freeform 206"/>
            <p:cNvSpPr>
              <a:spLocks/>
            </p:cNvSpPr>
            <p:nvPr/>
          </p:nvSpPr>
          <p:spPr bwMode="auto">
            <a:xfrm>
              <a:off x="4912673" y="3670366"/>
              <a:ext cx="586963" cy="779252"/>
            </a:xfrm>
            <a:custGeom>
              <a:avLst/>
              <a:gdLst>
                <a:gd name="T0" fmla="*/ 82 w 489"/>
                <a:gd name="T1" fmla="*/ 1 h 783"/>
                <a:gd name="T2" fmla="*/ 80 w 489"/>
                <a:gd name="T3" fmla="*/ 7 h 783"/>
                <a:gd name="T4" fmla="*/ 80 w 489"/>
                <a:gd name="T5" fmla="*/ 14 h 783"/>
                <a:gd name="T6" fmla="*/ 80 w 489"/>
                <a:gd name="T7" fmla="*/ 20 h 783"/>
                <a:gd name="T8" fmla="*/ 82 w 489"/>
                <a:gd name="T9" fmla="*/ 21 h 783"/>
                <a:gd name="T10" fmla="*/ 82 w 489"/>
                <a:gd name="T11" fmla="*/ 23 h 783"/>
                <a:gd name="T12" fmla="*/ 80 w 489"/>
                <a:gd name="T13" fmla="*/ 26 h 783"/>
                <a:gd name="T14" fmla="*/ 79 w 489"/>
                <a:gd name="T15" fmla="*/ 28 h 783"/>
                <a:gd name="T16" fmla="*/ 74 w 489"/>
                <a:gd name="T17" fmla="*/ 33 h 783"/>
                <a:gd name="T18" fmla="*/ 69 w 489"/>
                <a:gd name="T19" fmla="*/ 37 h 783"/>
                <a:gd name="T20" fmla="*/ 53 w 489"/>
                <a:gd name="T21" fmla="*/ 42 h 783"/>
                <a:gd name="T22" fmla="*/ 50 w 489"/>
                <a:gd name="T23" fmla="*/ 44 h 783"/>
                <a:gd name="T24" fmla="*/ 47 w 489"/>
                <a:gd name="T25" fmla="*/ 48 h 783"/>
                <a:gd name="T26" fmla="*/ 46 w 489"/>
                <a:gd name="T27" fmla="*/ 48 h 783"/>
                <a:gd name="T28" fmla="*/ 35 w 489"/>
                <a:gd name="T29" fmla="*/ 54 h 783"/>
                <a:gd name="T30" fmla="*/ 38 w 489"/>
                <a:gd name="T31" fmla="*/ 59 h 783"/>
                <a:gd name="T32" fmla="*/ 41 w 489"/>
                <a:gd name="T33" fmla="*/ 67 h 783"/>
                <a:gd name="T34" fmla="*/ 40 w 489"/>
                <a:gd name="T35" fmla="*/ 77 h 783"/>
                <a:gd name="T36" fmla="*/ 41 w 489"/>
                <a:gd name="T37" fmla="*/ 77 h 783"/>
                <a:gd name="T38" fmla="*/ 36 w 489"/>
                <a:gd name="T39" fmla="*/ 82 h 783"/>
                <a:gd name="T40" fmla="*/ 22 w 489"/>
                <a:gd name="T41" fmla="*/ 86 h 783"/>
                <a:gd name="T42" fmla="*/ 21 w 489"/>
                <a:gd name="T43" fmla="*/ 92 h 783"/>
                <a:gd name="T44" fmla="*/ 22 w 489"/>
                <a:gd name="T45" fmla="*/ 94 h 783"/>
                <a:gd name="T46" fmla="*/ 12 w 489"/>
                <a:gd name="T47" fmla="*/ 69 h 783"/>
                <a:gd name="T48" fmla="*/ 13 w 489"/>
                <a:gd name="T49" fmla="*/ 65 h 783"/>
                <a:gd name="T50" fmla="*/ 21 w 489"/>
                <a:gd name="T51" fmla="*/ 48 h 783"/>
                <a:gd name="T52" fmla="*/ 21 w 489"/>
                <a:gd name="T53" fmla="*/ 34 h 783"/>
                <a:gd name="T54" fmla="*/ 2 w 489"/>
                <a:gd name="T55" fmla="*/ 31 h 783"/>
                <a:gd name="T56" fmla="*/ 0 w 489"/>
                <a:gd name="T57" fmla="*/ 25 h 783"/>
                <a:gd name="T58" fmla="*/ 25 w 489"/>
                <a:gd name="T59" fmla="*/ 20 h 783"/>
                <a:gd name="T60" fmla="*/ 28 w 489"/>
                <a:gd name="T61" fmla="*/ 23 h 783"/>
                <a:gd name="T62" fmla="*/ 35 w 489"/>
                <a:gd name="T63" fmla="*/ 23 h 783"/>
                <a:gd name="T64" fmla="*/ 34 w 489"/>
                <a:gd name="T65" fmla="*/ 28 h 783"/>
                <a:gd name="T66" fmla="*/ 33 w 489"/>
                <a:gd name="T67" fmla="*/ 30 h 783"/>
                <a:gd name="T68" fmla="*/ 35 w 489"/>
                <a:gd name="T69" fmla="*/ 33 h 783"/>
                <a:gd name="T70" fmla="*/ 39 w 489"/>
                <a:gd name="T71" fmla="*/ 35 h 783"/>
                <a:gd name="T72" fmla="*/ 39 w 489"/>
                <a:gd name="T73" fmla="*/ 37 h 783"/>
                <a:gd name="T74" fmla="*/ 41 w 489"/>
                <a:gd name="T75" fmla="*/ 37 h 783"/>
                <a:gd name="T76" fmla="*/ 40 w 489"/>
                <a:gd name="T77" fmla="*/ 34 h 783"/>
                <a:gd name="T78" fmla="*/ 41 w 489"/>
                <a:gd name="T79" fmla="*/ 33 h 783"/>
                <a:gd name="T80" fmla="*/ 45 w 489"/>
                <a:gd name="T81" fmla="*/ 31 h 783"/>
                <a:gd name="T82" fmla="*/ 45 w 489"/>
                <a:gd name="T83" fmla="*/ 26 h 783"/>
                <a:gd name="T84" fmla="*/ 38 w 489"/>
                <a:gd name="T85" fmla="*/ 17 h 783"/>
                <a:gd name="T86" fmla="*/ 36 w 489"/>
                <a:gd name="T87" fmla="*/ 11 h 783"/>
                <a:gd name="T88" fmla="*/ 45 w 489"/>
                <a:gd name="T89" fmla="*/ 6 h 783"/>
                <a:gd name="T90" fmla="*/ 47 w 489"/>
                <a:gd name="T91" fmla="*/ 5 h 783"/>
                <a:gd name="T92" fmla="*/ 51 w 489"/>
                <a:gd name="T93" fmla="*/ 6 h 783"/>
                <a:gd name="T94" fmla="*/ 59 w 489"/>
                <a:gd name="T95" fmla="*/ 6 h 783"/>
                <a:gd name="T96" fmla="*/ 64 w 489"/>
                <a:gd name="T97" fmla="*/ 4 h 783"/>
                <a:gd name="T98" fmla="*/ 76 w 489"/>
                <a:gd name="T99" fmla="*/ 3 h 78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89"/>
                <a:gd name="T151" fmla="*/ 0 h 783"/>
                <a:gd name="T152" fmla="*/ 489 w 489"/>
                <a:gd name="T153" fmla="*/ 783 h 783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89" h="783">
                  <a:moveTo>
                    <a:pt x="485" y="0"/>
                  </a:moveTo>
                  <a:lnTo>
                    <a:pt x="488" y="2"/>
                  </a:lnTo>
                  <a:lnTo>
                    <a:pt x="489" y="6"/>
                  </a:lnTo>
                  <a:lnTo>
                    <a:pt x="488" y="8"/>
                  </a:lnTo>
                  <a:lnTo>
                    <a:pt x="489" y="22"/>
                  </a:lnTo>
                  <a:lnTo>
                    <a:pt x="473" y="59"/>
                  </a:lnTo>
                  <a:lnTo>
                    <a:pt x="477" y="106"/>
                  </a:lnTo>
                  <a:lnTo>
                    <a:pt x="472" y="110"/>
                  </a:lnTo>
                  <a:lnTo>
                    <a:pt x="473" y="118"/>
                  </a:lnTo>
                  <a:lnTo>
                    <a:pt x="476" y="118"/>
                  </a:lnTo>
                  <a:lnTo>
                    <a:pt x="477" y="164"/>
                  </a:lnTo>
                  <a:lnTo>
                    <a:pt x="475" y="171"/>
                  </a:lnTo>
                  <a:lnTo>
                    <a:pt x="480" y="174"/>
                  </a:lnTo>
                  <a:lnTo>
                    <a:pt x="483" y="171"/>
                  </a:lnTo>
                  <a:lnTo>
                    <a:pt x="486" y="177"/>
                  </a:lnTo>
                  <a:lnTo>
                    <a:pt x="481" y="183"/>
                  </a:lnTo>
                  <a:lnTo>
                    <a:pt x="485" y="183"/>
                  </a:lnTo>
                  <a:lnTo>
                    <a:pt x="488" y="187"/>
                  </a:lnTo>
                  <a:lnTo>
                    <a:pt x="488" y="194"/>
                  </a:lnTo>
                  <a:lnTo>
                    <a:pt x="482" y="211"/>
                  </a:lnTo>
                  <a:lnTo>
                    <a:pt x="473" y="219"/>
                  </a:lnTo>
                  <a:lnTo>
                    <a:pt x="481" y="222"/>
                  </a:lnTo>
                  <a:lnTo>
                    <a:pt x="479" y="234"/>
                  </a:lnTo>
                  <a:lnTo>
                    <a:pt x="470" y="238"/>
                  </a:lnTo>
                  <a:lnTo>
                    <a:pt x="454" y="262"/>
                  </a:lnTo>
                  <a:lnTo>
                    <a:pt x="440" y="269"/>
                  </a:lnTo>
                  <a:lnTo>
                    <a:pt x="444" y="273"/>
                  </a:lnTo>
                  <a:lnTo>
                    <a:pt x="440" y="280"/>
                  </a:lnTo>
                  <a:lnTo>
                    <a:pt x="415" y="296"/>
                  </a:lnTo>
                  <a:lnTo>
                    <a:pt x="409" y="305"/>
                  </a:lnTo>
                  <a:lnTo>
                    <a:pt x="398" y="311"/>
                  </a:lnTo>
                  <a:lnTo>
                    <a:pt x="385" y="311"/>
                  </a:lnTo>
                  <a:lnTo>
                    <a:pt x="313" y="351"/>
                  </a:lnTo>
                  <a:lnTo>
                    <a:pt x="311" y="359"/>
                  </a:lnTo>
                  <a:lnTo>
                    <a:pt x="307" y="362"/>
                  </a:lnTo>
                  <a:lnTo>
                    <a:pt x="300" y="363"/>
                  </a:lnTo>
                  <a:lnTo>
                    <a:pt x="297" y="364"/>
                  </a:lnTo>
                  <a:lnTo>
                    <a:pt x="302" y="369"/>
                  </a:lnTo>
                  <a:lnTo>
                    <a:pt x="282" y="395"/>
                  </a:lnTo>
                  <a:lnTo>
                    <a:pt x="278" y="393"/>
                  </a:lnTo>
                  <a:lnTo>
                    <a:pt x="275" y="385"/>
                  </a:lnTo>
                  <a:lnTo>
                    <a:pt x="270" y="398"/>
                  </a:lnTo>
                  <a:lnTo>
                    <a:pt x="263" y="401"/>
                  </a:lnTo>
                  <a:lnTo>
                    <a:pt x="222" y="443"/>
                  </a:lnTo>
                  <a:lnTo>
                    <a:pt x="212" y="446"/>
                  </a:lnTo>
                  <a:lnTo>
                    <a:pt x="211" y="478"/>
                  </a:lnTo>
                  <a:lnTo>
                    <a:pt x="223" y="487"/>
                  </a:lnTo>
                  <a:lnTo>
                    <a:pt x="227" y="492"/>
                  </a:lnTo>
                  <a:lnTo>
                    <a:pt x="227" y="499"/>
                  </a:lnTo>
                  <a:lnTo>
                    <a:pt x="228" y="500"/>
                  </a:lnTo>
                  <a:lnTo>
                    <a:pt x="241" y="557"/>
                  </a:lnTo>
                  <a:lnTo>
                    <a:pt x="246" y="553"/>
                  </a:lnTo>
                  <a:lnTo>
                    <a:pt x="249" y="556"/>
                  </a:lnTo>
                  <a:lnTo>
                    <a:pt x="236" y="645"/>
                  </a:lnTo>
                  <a:lnTo>
                    <a:pt x="238" y="654"/>
                  </a:lnTo>
                  <a:lnTo>
                    <a:pt x="241" y="646"/>
                  </a:lnTo>
                  <a:lnTo>
                    <a:pt x="247" y="639"/>
                  </a:lnTo>
                  <a:lnTo>
                    <a:pt x="244" y="652"/>
                  </a:lnTo>
                  <a:lnTo>
                    <a:pt x="228" y="678"/>
                  </a:lnTo>
                  <a:lnTo>
                    <a:pt x="215" y="686"/>
                  </a:lnTo>
                  <a:lnTo>
                    <a:pt x="200" y="692"/>
                  </a:lnTo>
                  <a:lnTo>
                    <a:pt x="191" y="693"/>
                  </a:lnTo>
                  <a:lnTo>
                    <a:pt x="131" y="721"/>
                  </a:lnTo>
                  <a:lnTo>
                    <a:pt x="113" y="746"/>
                  </a:lnTo>
                  <a:lnTo>
                    <a:pt x="111" y="746"/>
                  </a:lnTo>
                  <a:lnTo>
                    <a:pt x="123" y="760"/>
                  </a:lnTo>
                  <a:lnTo>
                    <a:pt x="129" y="756"/>
                  </a:lnTo>
                  <a:lnTo>
                    <a:pt x="131" y="751"/>
                  </a:lnTo>
                  <a:lnTo>
                    <a:pt x="129" y="783"/>
                  </a:lnTo>
                  <a:lnTo>
                    <a:pt x="94" y="782"/>
                  </a:lnTo>
                  <a:lnTo>
                    <a:pt x="70" y="576"/>
                  </a:lnTo>
                  <a:lnTo>
                    <a:pt x="71" y="575"/>
                  </a:lnTo>
                  <a:lnTo>
                    <a:pt x="71" y="562"/>
                  </a:lnTo>
                  <a:lnTo>
                    <a:pt x="73" y="552"/>
                  </a:lnTo>
                  <a:lnTo>
                    <a:pt x="78" y="544"/>
                  </a:lnTo>
                  <a:lnTo>
                    <a:pt x="95" y="531"/>
                  </a:lnTo>
                  <a:lnTo>
                    <a:pt x="130" y="447"/>
                  </a:lnTo>
                  <a:lnTo>
                    <a:pt x="122" y="399"/>
                  </a:lnTo>
                  <a:lnTo>
                    <a:pt x="131" y="384"/>
                  </a:lnTo>
                  <a:lnTo>
                    <a:pt x="136" y="325"/>
                  </a:lnTo>
                  <a:lnTo>
                    <a:pt x="128" y="287"/>
                  </a:lnTo>
                  <a:lnTo>
                    <a:pt x="120" y="279"/>
                  </a:lnTo>
                  <a:lnTo>
                    <a:pt x="45" y="253"/>
                  </a:lnTo>
                  <a:lnTo>
                    <a:pt x="12" y="254"/>
                  </a:lnTo>
                  <a:lnTo>
                    <a:pt x="12" y="237"/>
                  </a:lnTo>
                  <a:lnTo>
                    <a:pt x="8" y="235"/>
                  </a:lnTo>
                  <a:lnTo>
                    <a:pt x="0" y="211"/>
                  </a:lnTo>
                  <a:lnTo>
                    <a:pt x="145" y="163"/>
                  </a:lnTo>
                  <a:lnTo>
                    <a:pt x="146" y="165"/>
                  </a:lnTo>
                  <a:lnTo>
                    <a:pt x="150" y="167"/>
                  </a:lnTo>
                  <a:lnTo>
                    <a:pt x="158" y="180"/>
                  </a:lnTo>
                  <a:lnTo>
                    <a:pt x="166" y="189"/>
                  </a:lnTo>
                  <a:lnTo>
                    <a:pt x="169" y="190"/>
                  </a:lnTo>
                  <a:lnTo>
                    <a:pt x="200" y="183"/>
                  </a:lnTo>
                  <a:lnTo>
                    <a:pt x="203" y="184"/>
                  </a:lnTo>
                  <a:lnTo>
                    <a:pt x="207" y="189"/>
                  </a:lnTo>
                  <a:lnTo>
                    <a:pt x="211" y="222"/>
                  </a:lnTo>
                  <a:lnTo>
                    <a:pt x="209" y="227"/>
                  </a:lnTo>
                  <a:lnTo>
                    <a:pt x="204" y="233"/>
                  </a:lnTo>
                  <a:lnTo>
                    <a:pt x="205" y="239"/>
                  </a:lnTo>
                  <a:lnTo>
                    <a:pt x="200" y="243"/>
                  </a:lnTo>
                  <a:lnTo>
                    <a:pt x="198" y="252"/>
                  </a:lnTo>
                  <a:lnTo>
                    <a:pt x="200" y="256"/>
                  </a:lnTo>
                  <a:lnTo>
                    <a:pt x="204" y="268"/>
                  </a:lnTo>
                  <a:lnTo>
                    <a:pt x="207" y="271"/>
                  </a:lnTo>
                  <a:lnTo>
                    <a:pt x="210" y="273"/>
                  </a:lnTo>
                  <a:lnTo>
                    <a:pt x="224" y="290"/>
                  </a:lnTo>
                  <a:lnTo>
                    <a:pt x="233" y="294"/>
                  </a:lnTo>
                  <a:lnTo>
                    <a:pt x="236" y="298"/>
                  </a:lnTo>
                  <a:lnTo>
                    <a:pt x="236" y="301"/>
                  </a:lnTo>
                  <a:lnTo>
                    <a:pt x="232" y="306"/>
                  </a:lnTo>
                  <a:lnTo>
                    <a:pt x="233" y="307"/>
                  </a:lnTo>
                  <a:lnTo>
                    <a:pt x="243" y="307"/>
                  </a:lnTo>
                  <a:lnTo>
                    <a:pt x="244" y="306"/>
                  </a:lnTo>
                  <a:lnTo>
                    <a:pt x="244" y="293"/>
                  </a:lnTo>
                  <a:lnTo>
                    <a:pt x="242" y="289"/>
                  </a:lnTo>
                  <a:lnTo>
                    <a:pt x="239" y="287"/>
                  </a:lnTo>
                  <a:lnTo>
                    <a:pt x="239" y="282"/>
                  </a:lnTo>
                  <a:lnTo>
                    <a:pt x="242" y="275"/>
                  </a:lnTo>
                  <a:lnTo>
                    <a:pt x="242" y="272"/>
                  </a:lnTo>
                  <a:lnTo>
                    <a:pt x="243" y="268"/>
                  </a:lnTo>
                  <a:lnTo>
                    <a:pt x="264" y="259"/>
                  </a:lnTo>
                  <a:lnTo>
                    <a:pt x="267" y="255"/>
                  </a:lnTo>
                  <a:lnTo>
                    <a:pt x="268" y="237"/>
                  </a:lnTo>
                  <a:lnTo>
                    <a:pt x="270" y="231"/>
                  </a:lnTo>
                  <a:lnTo>
                    <a:pt x="267" y="219"/>
                  </a:lnTo>
                  <a:lnTo>
                    <a:pt x="272" y="204"/>
                  </a:lnTo>
                  <a:lnTo>
                    <a:pt x="269" y="194"/>
                  </a:lnTo>
                  <a:lnTo>
                    <a:pt x="224" y="139"/>
                  </a:lnTo>
                  <a:lnTo>
                    <a:pt x="222" y="140"/>
                  </a:lnTo>
                  <a:lnTo>
                    <a:pt x="218" y="102"/>
                  </a:lnTo>
                  <a:lnTo>
                    <a:pt x="216" y="96"/>
                  </a:lnTo>
                  <a:lnTo>
                    <a:pt x="215" y="90"/>
                  </a:lnTo>
                  <a:lnTo>
                    <a:pt x="228" y="48"/>
                  </a:lnTo>
                  <a:lnTo>
                    <a:pt x="265" y="48"/>
                  </a:lnTo>
                  <a:lnTo>
                    <a:pt x="270" y="44"/>
                  </a:lnTo>
                  <a:lnTo>
                    <a:pt x="276" y="44"/>
                  </a:lnTo>
                  <a:lnTo>
                    <a:pt x="282" y="46"/>
                  </a:lnTo>
                  <a:lnTo>
                    <a:pt x="292" y="54"/>
                  </a:lnTo>
                  <a:lnTo>
                    <a:pt x="295" y="54"/>
                  </a:lnTo>
                  <a:lnTo>
                    <a:pt x="302" y="53"/>
                  </a:lnTo>
                  <a:lnTo>
                    <a:pt x="308" y="53"/>
                  </a:lnTo>
                  <a:lnTo>
                    <a:pt x="318" y="47"/>
                  </a:lnTo>
                  <a:lnTo>
                    <a:pt x="353" y="47"/>
                  </a:lnTo>
                  <a:lnTo>
                    <a:pt x="364" y="36"/>
                  </a:lnTo>
                  <a:lnTo>
                    <a:pt x="375" y="35"/>
                  </a:lnTo>
                  <a:lnTo>
                    <a:pt x="384" y="33"/>
                  </a:lnTo>
                  <a:lnTo>
                    <a:pt x="394" y="38"/>
                  </a:lnTo>
                  <a:lnTo>
                    <a:pt x="410" y="37"/>
                  </a:lnTo>
                  <a:lnTo>
                    <a:pt x="454" y="22"/>
                  </a:lnTo>
                  <a:lnTo>
                    <a:pt x="48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99" name="Freeform 207"/>
            <p:cNvSpPr>
              <a:spLocks/>
            </p:cNvSpPr>
            <p:nvPr/>
          </p:nvSpPr>
          <p:spPr bwMode="auto">
            <a:xfrm>
              <a:off x="3771241" y="1590506"/>
              <a:ext cx="869275" cy="693905"/>
            </a:xfrm>
            <a:custGeom>
              <a:avLst/>
              <a:gdLst>
                <a:gd name="T0" fmla="*/ 16 w 727"/>
                <a:gd name="T1" fmla="*/ 55 h 697"/>
                <a:gd name="T2" fmla="*/ 8 w 727"/>
                <a:gd name="T3" fmla="*/ 54 h 697"/>
                <a:gd name="T4" fmla="*/ 5 w 727"/>
                <a:gd name="T5" fmla="*/ 49 h 697"/>
                <a:gd name="T6" fmla="*/ 1 w 727"/>
                <a:gd name="T7" fmla="*/ 44 h 697"/>
                <a:gd name="T8" fmla="*/ 4 w 727"/>
                <a:gd name="T9" fmla="*/ 42 h 697"/>
                <a:gd name="T10" fmla="*/ 0 w 727"/>
                <a:gd name="T11" fmla="*/ 21 h 697"/>
                <a:gd name="T12" fmla="*/ 1 w 727"/>
                <a:gd name="T13" fmla="*/ 18 h 697"/>
                <a:gd name="T14" fmla="*/ 3 w 727"/>
                <a:gd name="T15" fmla="*/ 18 h 697"/>
                <a:gd name="T16" fmla="*/ 7 w 727"/>
                <a:gd name="T17" fmla="*/ 16 h 697"/>
                <a:gd name="T18" fmla="*/ 6 w 727"/>
                <a:gd name="T19" fmla="*/ 12 h 697"/>
                <a:gd name="T20" fmla="*/ 7 w 727"/>
                <a:gd name="T21" fmla="*/ 10 h 697"/>
                <a:gd name="T22" fmla="*/ 11 w 727"/>
                <a:gd name="T23" fmla="*/ 8 h 697"/>
                <a:gd name="T24" fmla="*/ 16 w 727"/>
                <a:gd name="T25" fmla="*/ 4 h 697"/>
                <a:gd name="T26" fmla="*/ 23 w 727"/>
                <a:gd name="T27" fmla="*/ 2 h 697"/>
                <a:gd name="T28" fmla="*/ 29 w 727"/>
                <a:gd name="T29" fmla="*/ 2 h 697"/>
                <a:gd name="T30" fmla="*/ 32 w 727"/>
                <a:gd name="T31" fmla="*/ 3 h 697"/>
                <a:gd name="T32" fmla="*/ 44 w 727"/>
                <a:gd name="T33" fmla="*/ 5 h 697"/>
                <a:gd name="T34" fmla="*/ 46 w 727"/>
                <a:gd name="T35" fmla="*/ 9 h 697"/>
                <a:gd name="T36" fmla="*/ 68 w 727"/>
                <a:gd name="T37" fmla="*/ 16 h 697"/>
                <a:gd name="T38" fmla="*/ 73 w 727"/>
                <a:gd name="T39" fmla="*/ 18 h 697"/>
                <a:gd name="T40" fmla="*/ 79 w 727"/>
                <a:gd name="T41" fmla="*/ 17 h 697"/>
                <a:gd name="T42" fmla="*/ 82 w 727"/>
                <a:gd name="T43" fmla="*/ 13 h 697"/>
                <a:gd name="T44" fmla="*/ 81 w 727"/>
                <a:gd name="T45" fmla="*/ 11 h 697"/>
                <a:gd name="T46" fmla="*/ 81 w 727"/>
                <a:gd name="T47" fmla="*/ 9 h 697"/>
                <a:gd name="T48" fmla="*/ 89 w 727"/>
                <a:gd name="T49" fmla="*/ 3 h 697"/>
                <a:gd name="T50" fmla="*/ 102 w 727"/>
                <a:gd name="T51" fmla="*/ 3 h 697"/>
                <a:gd name="T52" fmla="*/ 104 w 727"/>
                <a:gd name="T53" fmla="*/ 3 h 697"/>
                <a:gd name="T54" fmla="*/ 104 w 727"/>
                <a:gd name="T55" fmla="*/ 5 h 697"/>
                <a:gd name="T56" fmla="*/ 104 w 727"/>
                <a:gd name="T57" fmla="*/ 5 h 697"/>
                <a:gd name="T58" fmla="*/ 106 w 727"/>
                <a:gd name="T59" fmla="*/ 6 h 697"/>
                <a:gd name="T60" fmla="*/ 118 w 727"/>
                <a:gd name="T61" fmla="*/ 8 h 697"/>
                <a:gd name="T62" fmla="*/ 120 w 727"/>
                <a:gd name="T63" fmla="*/ 10 h 697"/>
                <a:gd name="T64" fmla="*/ 120 w 727"/>
                <a:gd name="T65" fmla="*/ 10 h 697"/>
                <a:gd name="T66" fmla="*/ 118 w 727"/>
                <a:gd name="T67" fmla="*/ 12 h 697"/>
                <a:gd name="T68" fmla="*/ 118 w 727"/>
                <a:gd name="T69" fmla="*/ 13 h 697"/>
                <a:gd name="T70" fmla="*/ 118 w 727"/>
                <a:gd name="T71" fmla="*/ 18 h 697"/>
                <a:gd name="T72" fmla="*/ 117 w 727"/>
                <a:gd name="T73" fmla="*/ 19 h 697"/>
                <a:gd name="T74" fmla="*/ 117 w 727"/>
                <a:gd name="T75" fmla="*/ 22 h 697"/>
                <a:gd name="T76" fmla="*/ 118 w 727"/>
                <a:gd name="T77" fmla="*/ 25 h 697"/>
                <a:gd name="T78" fmla="*/ 120 w 727"/>
                <a:gd name="T79" fmla="*/ 80 h 697"/>
                <a:gd name="T80" fmla="*/ 113 w 727"/>
                <a:gd name="T81" fmla="*/ 84 h 697"/>
                <a:gd name="T82" fmla="*/ 52 w 727"/>
                <a:gd name="T83" fmla="*/ 61 h 697"/>
                <a:gd name="T84" fmla="*/ 41 w 727"/>
                <a:gd name="T85" fmla="*/ 62 h 697"/>
                <a:gd name="T86" fmla="*/ 38 w 727"/>
                <a:gd name="T87" fmla="*/ 61 h 697"/>
                <a:gd name="T88" fmla="*/ 20 w 727"/>
                <a:gd name="T89" fmla="*/ 60 h 6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7"/>
                <a:gd name="T136" fmla="*/ 0 h 697"/>
                <a:gd name="T137" fmla="*/ 727 w 727"/>
                <a:gd name="T138" fmla="*/ 697 h 69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7" h="697">
                  <a:moveTo>
                    <a:pt x="117" y="500"/>
                  </a:moveTo>
                  <a:lnTo>
                    <a:pt x="96" y="459"/>
                  </a:lnTo>
                  <a:lnTo>
                    <a:pt x="72" y="447"/>
                  </a:lnTo>
                  <a:lnTo>
                    <a:pt x="48" y="447"/>
                  </a:lnTo>
                  <a:lnTo>
                    <a:pt x="35" y="434"/>
                  </a:lnTo>
                  <a:lnTo>
                    <a:pt x="32" y="408"/>
                  </a:lnTo>
                  <a:lnTo>
                    <a:pt x="8" y="376"/>
                  </a:lnTo>
                  <a:lnTo>
                    <a:pt x="4" y="365"/>
                  </a:lnTo>
                  <a:lnTo>
                    <a:pt x="6" y="358"/>
                  </a:lnTo>
                  <a:lnTo>
                    <a:pt x="22" y="350"/>
                  </a:lnTo>
                  <a:lnTo>
                    <a:pt x="19" y="203"/>
                  </a:lnTo>
                  <a:lnTo>
                    <a:pt x="0" y="173"/>
                  </a:lnTo>
                  <a:lnTo>
                    <a:pt x="1" y="160"/>
                  </a:lnTo>
                  <a:lnTo>
                    <a:pt x="9" y="154"/>
                  </a:lnTo>
                  <a:lnTo>
                    <a:pt x="9" y="152"/>
                  </a:lnTo>
                  <a:lnTo>
                    <a:pt x="20" y="151"/>
                  </a:lnTo>
                  <a:lnTo>
                    <a:pt x="38" y="136"/>
                  </a:lnTo>
                  <a:lnTo>
                    <a:pt x="43" y="128"/>
                  </a:lnTo>
                  <a:lnTo>
                    <a:pt x="43" y="121"/>
                  </a:lnTo>
                  <a:lnTo>
                    <a:pt x="38" y="97"/>
                  </a:lnTo>
                  <a:lnTo>
                    <a:pt x="39" y="90"/>
                  </a:lnTo>
                  <a:lnTo>
                    <a:pt x="43" y="81"/>
                  </a:lnTo>
                  <a:lnTo>
                    <a:pt x="62" y="71"/>
                  </a:lnTo>
                  <a:lnTo>
                    <a:pt x="65" y="63"/>
                  </a:lnTo>
                  <a:lnTo>
                    <a:pt x="95" y="41"/>
                  </a:lnTo>
                  <a:lnTo>
                    <a:pt x="99" y="33"/>
                  </a:lnTo>
                  <a:lnTo>
                    <a:pt x="98" y="0"/>
                  </a:lnTo>
                  <a:lnTo>
                    <a:pt x="141" y="17"/>
                  </a:lnTo>
                  <a:lnTo>
                    <a:pt x="159" y="18"/>
                  </a:lnTo>
                  <a:lnTo>
                    <a:pt x="175" y="14"/>
                  </a:lnTo>
                  <a:lnTo>
                    <a:pt x="188" y="15"/>
                  </a:lnTo>
                  <a:lnTo>
                    <a:pt x="197" y="20"/>
                  </a:lnTo>
                  <a:lnTo>
                    <a:pt x="209" y="21"/>
                  </a:lnTo>
                  <a:lnTo>
                    <a:pt x="269" y="44"/>
                  </a:lnTo>
                  <a:lnTo>
                    <a:pt x="275" y="49"/>
                  </a:lnTo>
                  <a:lnTo>
                    <a:pt x="278" y="70"/>
                  </a:lnTo>
                  <a:lnTo>
                    <a:pt x="298" y="97"/>
                  </a:lnTo>
                  <a:lnTo>
                    <a:pt x="410" y="129"/>
                  </a:lnTo>
                  <a:lnTo>
                    <a:pt x="429" y="149"/>
                  </a:lnTo>
                  <a:lnTo>
                    <a:pt x="442" y="154"/>
                  </a:lnTo>
                  <a:lnTo>
                    <a:pt x="453" y="154"/>
                  </a:lnTo>
                  <a:lnTo>
                    <a:pt x="477" y="142"/>
                  </a:lnTo>
                  <a:lnTo>
                    <a:pt x="495" y="117"/>
                  </a:lnTo>
                  <a:lnTo>
                    <a:pt x="495" y="109"/>
                  </a:lnTo>
                  <a:lnTo>
                    <a:pt x="491" y="99"/>
                  </a:lnTo>
                  <a:lnTo>
                    <a:pt x="491" y="91"/>
                  </a:lnTo>
                  <a:lnTo>
                    <a:pt x="486" y="82"/>
                  </a:lnTo>
                  <a:lnTo>
                    <a:pt x="485" y="69"/>
                  </a:lnTo>
                  <a:lnTo>
                    <a:pt x="488" y="59"/>
                  </a:lnTo>
                  <a:lnTo>
                    <a:pt x="536" y="21"/>
                  </a:lnTo>
                  <a:lnTo>
                    <a:pt x="585" y="13"/>
                  </a:lnTo>
                  <a:lnTo>
                    <a:pt x="615" y="25"/>
                  </a:lnTo>
                  <a:lnTo>
                    <a:pt x="622" y="26"/>
                  </a:lnTo>
                  <a:lnTo>
                    <a:pt x="630" y="30"/>
                  </a:lnTo>
                  <a:lnTo>
                    <a:pt x="631" y="38"/>
                  </a:lnTo>
                  <a:lnTo>
                    <a:pt x="630" y="39"/>
                  </a:lnTo>
                  <a:lnTo>
                    <a:pt x="628" y="39"/>
                  </a:lnTo>
                  <a:lnTo>
                    <a:pt x="629" y="45"/>
                  </a:lnTo>
                  <a:lnTo>
                    <a:pt x="637" y="52"/>
                  </a:lnTo>
                  <a:lnTo>
                    <a:pt x="641" y="53"/>
                  </a:lnTo>
                  <a:lnTo>
                    <a:pt x="645" y="52"/>
                  </a:lnTo>
                  <a:lnTo>
                    <a:pt x="715" y="66"/>
                  </a:lnTo>
                  <a:lnTo>
                    <a:pt x="722" y="70"/>
                  </a:lnTo>
                  <a:lnTo>
                    <a:pt x="726" y="80"/>
                  </a:lnTo>
                  <a:lnTo>
                    <a:pt x="727" y="81"/>
                  </a:lnTo>
                  <a:lnTo>
                    <a:pt x="721" y="84"/>
                  </a:lnTo>
                  <a:lnTo>
                    <a:pt x="718" y="90"/>
                  </a:lnTo>
                  <a:lnTo>
                    <a:pt x="712" y="98"/>
                  </a:lnTo>
                  <a:lnTo>
                    <a:pt x="712" y="100"/>
                  </a:lnTo>
                  <a:lnTo>
                    <a:pt x="714" y="107"/>
                  </a:lnTo>
                  <a:lnTo>
                    <a:pt x="717" y="152"/>
                  </a:lnTo>
                  <a:lnTo>
                    <a:pt x="716" y="153"/>
                  </a:lnTo>
                  <a:lnTo>
                    <a:pt x="709" y="157"/>
                  </a:lnTo>
                  <a:lnTo>
                    <a:pt x="706" y="161"/>
                  </a:lnTo>
                  <a:lnTo>
                    <a:pt x="705" y="164"/>
                  </a:lnTo>
                  <a:lnTo>
                    <a:pt x="707" y="182"/>
                  </a:lnTo>
                  <a:lnTo>
                    <a:pt x="714" y="193"/>
                  </a:lnTo>
                  <a:lnTo>
                    <a:pt x="712" y="203"/>
                  </a:lnTo>
                  <a:lnTo>
                    <a:pt x="727" y="219"/>
                  </a:lnTo>
                  <a:lnTo>
                    <a:pt x="727" y="669"/>
                  </a:lnTo>
                  <a:lnTo>
                    <a:pt x="681" y="669"/>
                  </a:lnTo>
                  <a:lnTo>
                    <a:pt x="681" y="697"/>
                  </a:lnTo>
                  <a:lnTo>
                    <a:pt x="674" y="696"/>
                  </a:lnTo>
                  <a:lnTo>
                    <a:pt x="314" y="506"/>
                  </a:lnTo>
                  <a:lnTo>
                    <a:pt x="253" y="527"/>
                  </a:lnTo>
                  <a:lnTo>
                    <a:pt x="245" y="516"/>
                  </a:lnTo>
                  <a:lnTo>
                    <a:pt x="232" y="510"/>
                  </a:lnTo>
                  <a:lnTo>
                    <a:pt x="229" y="506"/>
                  </a:lnTo>
                  <a:lnTo>
                    <a:pt x="225" y="503"/>
                  </a:lnTo>
                  <a:lnTo>
                    <a:pt x="121" y="497"/>
                  </a:lnTo>
                  <a:lnTo>
                    <a:pt x="117" y="50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0" name="Freeform 208"/>
            <p:cNvSpPr>
              <a:spLocks/>
            </p:cNvSpPr>
            <p:nvPr/>
          </p:nvSpPr>
          <p:spPr bwMode="auto">
            <a:xfrm>
              <a:off x="3771241" y="1590506"/>
              <a:ext cx="869275" cy="693905"/>
            </a:xfrm>
            <a:custGeom>
              <a:avLst/>
              <a:gdLst>
                <a:gd name="T0" fmla="*/ 16 w 727"/>
                <a:gd name="T1" fmla="*/ 55 h 697"/>
                <a:gd name="T2" fmla="*/ 8 w 727"/>
                <a:gd name="T3" fmla="*/ 54 h 697"/>
                <a:gd name="T4" fmla="*/ 5 w 727"/>
                <a:gd name="T5" fmla="*/ 49 h 697"/>
                <a:gd name="T6" fmla="*/ 1 w 727"/>
                <a:gd name="T7" fmla="*/ 44 h 697"/>
                <a:gd name="T8" fmla="*/ 4 w 727"/>
                <a:gd name="T9" fmla="*/ 42 h 697"/>
                <a:gd name="T10" fmla="*/ 0 w 727"/>
                <a:gd name="T11" fmla="*/ 21 h 697"/>
                <a:gd name="T12" fmla="*/ 1 w 727"/>
                <a:gd name="T13" fmla="*/ 18 h 697"/>
                <a:gd name="T14" fmla="*/ 3 w 727"/>
                <a:gd name="T15" fmla="*/ 18 h 697"/>
                <a:gd name="T16" fmla="*/ 7 w 727"/>
                <a:gd name="T17" fmla="*/ 16 h 697"/>
                <a:gd name="T18" fmla="*/ 6 w 727"/>
                <a:gd name="T19" fmla="*/ 12 h 697"/>
                <a:gd name="T20" fmla="*/ 7 w 727"/>
                <a:gd name="T21" fmla="*/ 10 h 697"/>
                <a:gd name="T22" fmla="*/ 11 w 727"/>
                <a:gd name="T23" fmla="*/ 8 h 697"/>
                <a:gd name="T24" fmla="*/ 16 w 727"/>
                <a:gd name="T25" fmla="*/ 4 h 697"/>
                <a:gd name="T26" fmla="*/ 23 w 727"/>
                <a:gd name="T27" fmla="*/ 2 h 697"/>
                <a:gd name="T28" fmla="*/ 29 w 727"/>
                <a:gd name="T29" fmla="*/ 2 h 697"/>
                <a:gd name="T30" fmla="*/ 32 w 727"/>
                <a:gd name="T31" fmla="*/ 3 h 697"/>
                <a:gd name="T32" fmla="*/ 44 w 727"/>
                <a:gd name="T33" fmla="*/ 5 h 697"/>
                <a:gd name="T34" fmla="*/ 46 w 727"/>
                <a:gd name="T35" fmla="*/ 9 h 697"/>
                <a:gd name="T36" fmla="*/ 68 w 727"/>
                <a:gd name="T37" fmla="*/ 16 h 697"/>
                <a:gd name="T38" fmla="*/ 73 w 727"/>
                <a:gd name="T39" fmla="*/ 18 h 697"/>
                <a:gd name="T40" fmla="*/ 79 w 727"/>
                <a:gd name="T41" fmla="*/ 17 h 697"/>
                <a:gd name="T42" fmla="*/ 82 w 727"/>
                <a:gd name="T43" fmla="*/ 13 h 697"/>
                <a:gd name="T44" fmla="*/ 81 w 727"/>
                <a:gd name="T45" fmla="*/ 11 h 697"/>
                <a:gd name="T46" fmla="*/ 81 w 727"/>
                <a:gd name="T47" fmla="*/ 9 h 697"/>
                <a:gd name="T48" fmla="*/ 89 w 727"/>
                <a:gd name="T49" fmla="*/ 3 h 697"/>
                <a:gd name="T50" fmla="*/ 102 w 727"/>
                <a:gd name="T51" fmla="*/ 3 h 697"/>
                <a:gd name="T52" fmla="*/ 104 w 727"/>
                <a:gd name="T53" fmla="*/ 3 h 697"/>
                <a:gd name="T54" fmla="*/ 104 w 727"/>
                <a:gd name="T55" fmla="*/ 5 h 697"/>
                <a:gd name="T56" fmla="*/ 104 w 727"/>
                <a:gd name="T57" fmla="*/ 5 h 697"/>
                <a:gd name="T58" fmla="*/ 106 w 727"/>
                <a:gd name="T59" fmla="*/ 6 h 697"/>
                <a:gd name="T60" fmla="*/ 118 w 727"/>
                <a:gd name="T61" fmla="*/ 8 h 697"/>
                <a:gd name="T62" fmla="*/ 120 w 727"/>
                <a:gd name="T63" fmla="*/ 10 h 697"/>
                <a:gd name="T64" fmla="*/ 120 w 727"/>
                <a:gd name="T65" fmla="*/ 10 h 697"/>
                <a:gd name="T66" fmla="*/ 118 w 727"/>
                <a:gd name="T67" fmla="*/ 12 h 697"/>
                <a:gd name="T68" fmla="*/ 118 w 727"/>
                <a:gd name="T69" fmla="*/ 13 h 697"/>
                <a:gd name="T70" fmla="*/ 118 w 727"/>
                <a:gd name="T71" fmla="*/ 18 h 697"/>
                <a:gd name="T72" fmla="*/ 117 w 727"/>
                <a:gd name="T73" fmla="*/ 19 h 697"/>
                <a:gd name="T74" fmla="*/ 117 w 727"/>
                <a:gd name="T75" fmla="*/ 22 h 697"/>
                <a:gd name="T76" fmla="*/ 118 w 727"/>
                <a:gd name="T77" fmla="*/ 25 h 697"/>
                <a:gd name="T78" fmla="*/ 120 w 727"/>
                <a:gd name="T79" fmla="*/ 80 h 697"/>
                <a:gd name="T80" fmla="*/ 113 w 727"/>
                <a:gd name="T81" fmla="*/ 84 h 697"/>
                <a:gd name="T82" fmla="*/ 52 w 727"/>
                <a:gd name="T83" fmla="*/ 61 h 697"/>
                <a:gd name="T84" fmla="*/ 41 w 727"/>
                <a:gd name="T85" fmla="*/ 62 h 697"/>
                <a:gd name="T86" fmla="*/ 38 w 727"/>
                <a:gd name="T87" fmla="*/ 61 h 697"/>
                <a:gd name="T88" fmla="*/ 20 w 727"/>
                <a:gd name="T89" fmla="*/ 60 h 69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27"/>
                <a:gd name="T136" fmla="*/ 0 h 697"/>
                <a:gd name="T137" fmla="*/ 727 w 727"/>
                <a:gd name="T138" fmla="*/ 697 h 69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27" h="697">
                  <a:moveTo>
                    <a:pt x="117" y="500"/>
                  </a:moveTo>
                  <a:lnTo>
                    <a:pt x="96" y="459"/>
                  </a:lnTo>
                  <a:lnTo>
                    <a:pt x="72" y="447"/>
                  </a:lnTo>
                  <a:lnTo>
                    <a:pt x="48" y="447"/>
                  </a:lnTo>
                  <a:lnTo>
                    <a:pt x="35" y="434"/>
                  </a:lnTo>
                  <a:lnTo>
                    <a:pt x="32" y="408"/>
                  </a:lnTo>
                  <a:lnTo>
                    <a:pt x="8" y="376"/>
                  </a:lnTo>
                  <a:lnTo>
                    <a:pt x="4" y="365"/>
                  </a:lnTo>
                  <a:lnTo>
                    <a:pt x="6" y="358"/>
                  </a:lnTo>
                  <a:lnTo>
                    <a:pt x="22" y="350"/>
                  </a:lnTo>
                  <a:lnTo>
                    <a:pt x="19" y="203"/>
                  </a:lnTo>
                  <a:lnTo>
                    <a:pt x="0" y="173"/>
                  </a:lnTo>
                  <a:lnTo>
                    <a:pt x="1" y="160"/>
                  </a:lnTo>
                  <a:lnTo>
                    <a:pt x="9" y="154"/>
                  </a:lnTo>
                  <a:lnTo>
                    <a:pt x="9" y="152"/>
                  </a:lnTo>
                  <a:lnTo>
                    <a:pt x="20" y="151"/>
                  </a:lnTo>
                  <a:lnTo>
                    <a:pt x="38" y="136"/>
                  </a:lnTo>
                  <a:lnTo>
                    <a:pt x="43" y="128"/>
                  </a:lnTo>
                  <a:lnTo>
                    <a:pt x="43" y="121"/>
                  </a:lnTo>
                  <a:lnTo>
                    <a:pt x="38" y="97"/>
                  </a:lnTo>
                  <a:lnTo>
                    <a:pt x="39" y="90"/>
                  </a:lnTo>
                  <a:lnTo>
                    <a:pt x="43" y="81"/>
                  </a:lnTo>
                  <a:lnTo>
                    <a:pt x="62" y="71"/>
                  </a:lnTo>
                  <a:lnTo>
                    <a:pt x="65" y="63"/>
                  </a:lnTo>
                  <a:lnTo>
                    <a:pt x="95" y="41"/>
                  </a:lnTo>
                  <a:lnTo>
                    <a:pt x="99" y="33"/>
                  </a:lnTo>
                  <a:lnTo>
                    <a:pt x="98" y="0"/>
                  </a:lnTo>
                  <a:lnTo>
                    <a:pt x="141" y="17"/>
                  </a:lnTo>
                  <a:lnTo>
                    <a:pt x="159" y="18"/>
                  </a:lnTo>
                  <a:lnTo>
                    <a:pt x="175" y="14"/>
                  </a:lnTo>
                  <a:lnTo>
                    <a:pt x="188" y="15"/>
                  </a:lnTo>
                  <a:lnTo>
                    <a:pt x="197" y="20"/>
                  </a:lnTo>
                  <a:lnTo>
                    <a:pt x="209" y="21"/>
                  </a:lnTo>
                  <a:lnTo>
                    <a:pt x="269" y="44"/>
                  </a:lnTo>
                  <a:lnTo>
                    <a:pt x="275" y="49"/>
                  </a:lnTo>
                  <a:lnTo>
                    <a:pt x="278" y="70"/>
                  </a:lnTo>
                  <a:lnTo>
                    <a:pt x="298" y="97"/>
                  </a:lnTo>
                  <a:lnTo>
                    <a:pt x="410" y="129"/>
                  </a:lnTo>
                  <a:lnTo>
                    <a:pt x="429" y="149"/>
                  </a:lnTo>
                  <a:lnTo>
                    <a:pt x="442" y="154"/>
                  </a:lnTo>
                  <a:lnTo>
                    <a:pt x="453" y="154"/>
                  </a:lnTo>
                  <a:lnTo>
                    <a:pt x="477" y="142"/>
                  </a:lnTo>
                  <a:lnTo>
                    <a:pt x="495" y="117"/>
                  </a:lnTo>
                  <a:lnTo>
                    <a:pt x="495" y="109"/>
                  </a:lnTo>
                  <a:lnTo>
                    <a:pt x="491" y="99"/>
                  </a:lnTo>
                  <a:lnTo>
                    <a:pt x="491" y="91"/>
                  </a:lnTo>
                  <a:lnTo>
                    <a:pt x="486" y="82"/>
                  </a:lnTo>
                  <a:lnTo>
                    <a:pt x="485" y="69"/>
                  </a:lnTo>
                  <a:lnTo>
                    <a:pt x="488" y="59"/>
                  </a:lnTo>
                  <a:lnTo>
                    <a:pt x="536" y="21"/>
                  </a:lnTo>
                  <a:lnTo>
                    <a:pt x="585" y="13"/>
                  </a:lnTo>
                  <a:lnTo>
                    <a:pt x="615" y="25"/>
                  </a:lnTo>
                  <a:lnTo>
                    <a:pt x="622" y="26"/>
                  </a:lnTo>
                  <a:lnTo>
                    <a:pt x="630" y="30"/>
                  </a:lnTo>
                  <a:lnTo>
                    <a:pt x="631" y="38"/>
                  </a:lnTo>
                  <a:lnTo>
                    <a:pt x="630" y="39"/>
                  </a:lnTo>
                  <a:lnTo>
                    <a:pt x="628" y="39"/>
                  </a:lnTo>
                  <a:lnTo>
                    <a:pt x="629" y="45"/>
                  </a:lnTo>
                  <a:lnTo>
                    <a:pt x="637" y="52"/>
                  </a:lnTo>
                  <a:lnTo>
                    <a:pt x="641" y="53"/>
                  </a:lnTo>
                  <a:lnTo>
                    <a:pt x="645" y="52"/>
                  </a:lnTo>
                  <a:lnTo>
                    <a:pt x="715" y="66"/>
                  </a:lnTo>
                  <a:lnTo>
                    <a:pt x="722" y="70"/>
                  </a:lnTo>
                  <a:lnTo>
                    <a:pt x="726" y="80"/>
                  </a:lnTo>
                  <a:lnTo>
                    <a:pt x="727" y="81"/>
                  </a:lnTo>
                  <a:lnTo>
                    <a:pt x="721" y="84"/>
                  </a:lnTo>
                  <a:lnTo>
                    <a:pt x="718" y="90"/>
                  </a:lnTo>
                  <a:lnTo>
                    <a:pt x="712" y="98"/>
                  </a:lnTo>
                  <a:lnTo>
                    <a:pt x="712" y="100"/>
                  </a:lnTo>
                  <a:lnTo>
                    <a:pt x="714" y="107"/>
                  </a:lnTo>
                  <a:lnTo>
                    <a:pt x="717" y="152"/>
                  </a:lnTo>
                  <a:lnTo>
                    <a:pt x="716" y="153"/>
                  </a:lnTo>
                  <a:lnTo>
                    <a:pt x="709" y="157"/>
                  </a:lnTo>
                  <a:lnTo>
                    <a:pt x="706" y="161"/>
                  </a:lnTo>
                  <a:lnTo>
                    <a:pt x="705" y="164"/>
                  </a:lnTo>
                  <a:lnTo>
                    <a:pt x="707" y="182"/>
                  </a:lnTo>
                  <a:lnTo>
                    <a:pt x="714" y="193"/>
                  </a:lnTo>
                  <a:lnTo>
                    <a:pt x="712" y="203"/>
                  </a:lnTo>
                  <a:lnTo>
                    <a:pt x="727" y="219"/>
                  </a:lnTo>
                  <a:lnTo>
                    <a:pt x="727" y="669"/>
                  </a:lnTo>
                  <a:lnTo>
                    <a:pt x="681" y="669"/>
                  </a:lnTo>
                  <a:lnTo>
                    <a:pt x="681" y="697"/>
                  </a:lnTo>
                  <a:lnTo>
                    <a:pt x="674" y="696"/>
                  </a:lnTo>
                  <a:lnTo>
                    <a:pt x="314" y="506"/>
                  </a:lnTo>
                  <a:lnTo>
                    <a:pt x="253" y="527"/>
                  </a:lnTo>
                  <a:lnTo>
                    <a:pt x="245" y="516"/>
                  </a:lnTo>
                  <a:lnTo>
                    <a:pt x="232" y="510"/>
                  </a:lnTo>
                  <a:lnTo>
                    <a:pt x="229" y="506"/>
                  </a:lnTo>
                  <a:lnTo>
                    <a:pt x="225" y="503"/>
                  </a:lnTo>
                  <a:lnTo>
                    <a:pt x="121" y="497"/>
                  </a:lnTo>
                  <a:lnTo>
                    <a:pt x="117" y="50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1" name="Freeform 209"/>
            <p:cNvSpPr>
              <a:spLocks/>
            </p:cNvSpPr>
            <p:nvPr/>
          </p:nvSpPr>
          <p:spPr bwMode="auto">
            <a:xfrm>
              <a:off x="2601374" y="2013529"/>
              <a:ext cx="891616" cy="710603"/>
            </a:xfrm>
            <a:custGeom>
              <a:avLst/>
              <a:gdLst>
                <a:gd name="T0" fmla="*/ 101 w 745"/>
                <a:gd name="T1" fmla="*/ 24 h 711"/>
                <a:gd name="T2" fmla="*/ 105 w 745"/>
                <a:gd name="T3" fmla="*/ 27 h 711"/>
                <a:gd name="T4" fmla="*/ 108 w 745"/>
                <a:gd name="T5" fmla="*/ 29 h 711"/>
                <a:gd name="T6" fmla="*/ 111 w 745"/>
                <a:gd name="T7" fmla="*/ 30 h 711"/>
                <a:gd name="T8" fmla="*/ 114 w 745"/>
                <a:gd name="T9" fmla="*/ 31 h 711"/>
                <a:gd name="T10" fmla="*/ 117 w 745"/>
                <a:gd name="T11" fmla="*/ 31 h 711"/>
                <a:gd name="T12" fmla="*/ 117 w 745"/>
                <a:gd name="T13" fmla="*/ 33 h 711"/>
                <a:gd name="T14" fmla="*/ 117 w 745"/>
                <a:gd name="T15" fmla="*/ 34 h 711"/>
                <a:gd name="T16" fmla="*/ 119 w 745"/>
                <a:gd name="T17" fmla="*/ 36 h 711"/>
                <a:gd name="T18" fmla="*/ 124 w 745"/>
                <a:gd name="T19" fmla="*/ 36 h 711"/>
                <a:gd name="T20" fmla="*/ 122 w 745"/>
                <a:gd name="T21" fmla="*/ 54 h 711"/>
                <a:gd name="T22" fmla="*/ 119 w 745"/>
                <a:gd name="T23" fmla="*/ 57 h 711"/>
                <a:gd name="T24" fmla="*/ 114 w 745"/>
                <a:gd name="T25" fmla="*/ 58 h 711"/>
                <a:gd name="T26" fmla="*/ 78 w 745"/>
                <a:gd name="T27" fmla="*/ 65 h 711"/>
                <a:gd name="T28" fmla="*/ 63 w 745"/>
                <a:gd name="T29" fmla="*/ 70 h 711"/>
                <a:gd name="T30" fmla="*/ 53 w 745"/>
                <a:gd name="T31" fmla="*/ 86 h 711"/>
                <a:gd name="T32" fmla="*/ 50 w 745"/>
                <a:gd name="T33" fmla="*/ 85 h 711"/>
                <a:gd name="T34" fmla="*/ 47 w 745"/>
                <a:gd name="T35" fmla="*/ 86 h 711"/>
                <a:gd name="T36" fmla="*/ 45 w 745"/>
                <a:gd name="T37" fmla="*/ 85 h 711"/>
                <a:gd name="T38" fmla="*/ 45 w 745"/>
                <a:gd name="T39" fmla="*/ 83 h 711"/>
                <a:gd name="T40" fmla="*/ 43 w 745"/>
                <a:gd name="T41" fmla="*/ 85 h 711"/>
                <a:gd name="T42" fmla="*/ 42 w 745"/>
                <a:gd name="T43" fmla="*/ 85 h 711"/>
                <a:gd name="T44" fmla="*/ 39 w 745"/>
                <a:gd name="T45" fmla="*/ 86 h 711"/>
                <a:gd name="T46" fmla="*/ 38 w 745"/>
                <a:gd name="T47" fmla="*/ 87 h 711"/>
                <a:gd name="T48" fmla="*/ 37 w 745"/>
                <a:gd name="T49" fmla="*/ 87 h 711"/>
                <a:gd name="T50" fmla="*/ 35 w 745"/>
                <a:gd name="T51" fmla="*/ 85 h 711"/>
                <a:gd name="T52" fmla="*/ 33 w 745"/>
                <a:gd name="T53" fmla="*/ 86 h 711"/>
                <a:gd name="T54" fmla="*/ 32 w 745"/>
                <a:gd name="T55" fmla="*/ 87 h 711"/>
                <a:gd name="T56" fmla="*/ 29 w 745"/>
                <a:gd name="T57" fmla="*/ 85 h 711"/>
                <a:gd name="T58" fmla="*/ 28 w 745"/>
                <a:gd name="T59" fmla="*/ 82 h 711"/>
                <a:gd name="T60" fmla="*/ 27 w 745"/>
                <a:gd name="T61" fmla="*/ 81 h 711"/>
                <a:gd name="T62" fmla="*/ 28 w 745"/>
                <a:gd name="T63" fmla="*/ 80 h 711"/>
                <a:gd name="T64" fmla="*/ 28 w 745"/>
                <a:gd name="T65" fmla="*/ 80 h 711"/>
                <a:gd name="T66" fmla="*/ 26 w 745"/>
                <a:gd name="T67" fmla="*/ 78 h 711"/>
                <a:gd name="T68" fmla="*/ 25 w 745"/>
                <a:gd name="T69" fmla="*/ 76 h 711"/>
                <a:gd name="T70" fmla="*/ 24 w 745"/>
                <a:gd name="T71" fmla="*/ 75 h 711"/>
                <a:gd name="T72" fmla="*/ 23 w 745"/>
                <a:gd name="T73" fmla="*/ 74 h 711"/>
                <a:gd name="T74" fmla="*/ 21 w 745"/>
                <a:gd name="T75" fmla="*/ 74 h 711"/>
                <a:gd name="T76" fmla="*/ 19 w 745"/>
                <a:gd name="T77" fmla="*/ 75 h 711"/>
                <a:gd name="T78" fmla="*/ 15 w 745"/>
                <a:gd name="T79" fmla="*/ 75 h 711"/>
                <a:gd name="T80" fmla="*/ 12 w 745"/>
                <a:gd name="T81" fmla="*/ 76 h 711"/>
                <a:gd name="T82" fmla="*/ 9 w 745"/>
                <a:gd name="T83" fmla="*/ 75 h 711"/>
                <a:gd name="T84" fmla="*/ 6 w 745"/>
                <a:gd name="T85" fmla="*/ 76 h 711"/>
                <a:gd name="T86" fmla="*/ 5 w 745"/>
                <a:gd name="T87" fmla="*/ 75 h 711"/>
                <a:gd name="T88" fmla="*/ 6 w 745"/>
                <a:gd name="T89" fmla="*/ 73 h 711"/>
                <a:gd name="T90" fmla="*/ 6 w 745"/>
                <a:gd name="T91" fmla="*/ 72 h 711"/>
                <a:gd name="T92" fmla="*/ 5 w 745"/>
                <a:gd name="T93" fmla="*/ 70 h 711"/>
                <a:gd name="T94" fmla="*/ 4 w 745"/>
                <a:gd name="T95" fmla="*/ 69 h 711"/>
                <a:gd name="T96" fmla="*/ 3 w 745"/>
                <a:gd name="T97" fmla="*/ 69 h 711"/>
                <a:gd name="T98" fmla="*/ 1 w 745"/>
                <a:gd name="T99" fmla="*/ 66 h 711"/>
                <a:gd name="T100" fmla="*/ 1 w 745"/>
                <a:gd name="T101" fmla="*/ 64 h 711"/>
                <a:gd name="T102" fmla="*/ 1 w 745"/>
                <a:gd name="T103" fmla="*/ 62 h 711"/>
                <a:gd name="T104" fmla="*/ 0 w 745"/>
                <a:gd name="T105" fmla="*/ 61 h 711"/>
                <a:gd name="T106" fmla="*/ 6 w 745"/>
                <a:gd name="T107" fmla="*/ 54 h 711"/>
                <a:gd name="T108" fmla="*/ 9 w 745"/>
                <a:gd name="T109" fmla="*/ 58 h 711"/>
                <a:gd name="T110" fmla="*/ 52 w 745"/>
                <a:gd name="T111" fmla="*/ 52 h 711"/>
                <a:gd name="T112" fmla="*/ 64 w 745"/>
                <a:gd name="T113" fmla="*/ 4 h 7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45"/>
                <a:gd name="T172" fmla="*/ 0 h 711"/>
                <a:gd name="T173" fmla="*/ 745 w 745"/>
                <a:gd name="T174" fmla="*/ 711 h 71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45" h="711">
                  <a:moveTo>
                    <a:pt x="385" y="36"/>
                  </a:moveTo>
                  <a:lnTo>
                    <a:pt x="605" y="189"/>
                  </a:lnTo>
                  <a:lnTo>
                    <a:pt x="605" y="193"/>
                  </a:lnTo>
                  <a:lnTo>
                    <a:pt x="609" y="196"/>
                  </a:lnTo>
                  <a:lnTo>
                    <a:pt x="607" y="202"/>
                  </a:lnTo>
                  <a:lnTo>
                    <a:pt x="608" y="206"/>
                  </a:lnTo>
                  <a:lnTo>
                    <a:pt x="628" y="215"/>
                  </a:lnTo>
                  <a:lnTo>
                    <a:pt x="630" y="217"/>
                  </a:lnTo>
                  <a:lnTo>
                    <a:pt x="631" y="222"/>
                  </a:lnTo>
                  <a:lnTo>
                    <a:pt x="632" y="225"/>
                  </a:lnTo>
                  <a:lnTo>
                    <a:pt x="643" y="233"/>
                  </a:lnTo>
                  <a:lnTo>
                    <a:pt x="651" y="234"/>
                  </a:lnTo>
                  <a:lnTo>
                    <a:pt x="658" y="233"/>
                  </a:lnTo>
                  <a:lnTo>
                    <a:pt x="660" y="234"/>
                  </a:lnTo>
                  <a:lnTo>
                    <a:pt x="663" y="242"/>
                  </a:lnTo>
                  <a:lnTo>
                    <a:pt x="666" y="244"/>
                  </a:lnTo>
                  <a:lnTo>
                    <a:pt x="676" y="244"/>
                  </a:lnTo>
                  <a:lnTo>
                    <a:pt x="679" y="245"/>
                  </a:lnTo>
                  <a:lnTo>
                    <a:pt x="682" y="245"/>
                  </a:lnTo>
                  <a:lnTo>
                    <a:pt x="689" y="250"/>
                  </a:lnTo>
                  <a:lnTo>
                    <a:pt x="697" y="252"/>
                  </a:lnTo>
                  <a:lnTo>
                    <a:pt x="701" y="254"/>
                  </a:lnTo>
                  <a:lnTo>
                    <a:pt x="702" y="256"/>
                  </a:lnTo>
                  <a:lnTo>
                    <a:pt x="703" y="257"/>
                  </a:lnTo>
                  <a:lnTo>
                    <a:pt x="704" y="261"/>
                  </a:lnTo>
                  <a:lnTo>
                    <a:pt x="702" y="263"/>
                  </a:lnTo>
                  <a:lnTo>
                    <a:pt x="702" y="267"/>
                  </a:lnTo>
                  <a:lnTo>
                    <a:pt x="704" y="271"/>
                  </a:lnTo>
                  <a:lnTo>
                    <a:pt x="704" y="273"/>
                  </a:lnTo>
                  <a:lnTo>
                    <a:pt x="702" y="274"/>
                  </a:lnTo>
                  <a:lnTo>
                    <a:pt x="701" y="276"/>
                  </a:lnTo>
                  <a:lnTo>
                    <a:pt x="702" y="281"/>
                  </a:lnTo>
                  <a:lnTo>
                    <a:pt x="700" y="286"/>
                  </a:lnTo>
                  <a:lnTo>
                    <a:pt x="700" y="289"/>
                  </a:lnTo>
                  <a:lnTo>
                    <a:pt x="706" y="296"/>
                  </a:lnTo>
                  <a:lnTo>
                    <a:pt x="716" y="297"/>
                  </a:lnTo>
                  <a:lnTo>
                    <a:pt x="723" y="294"/>
                  </a:lnTo>
                  <a:lnTo>
                    <a:pt x="732" y="293"/>
                  </a:lnTo>
                  <a:lnTo>
                    <a:pt x="744" y="288"/>
                  </a:lnTo>
                  <a:lnTo>
                    <a:pt x="744" y="290"/>
                  </a:lnTo>
                  <a:lnTo>
                    <a:pt x="745" y="290"/>
                  </a:lnTo>
                  <a:lnTo>
                    <a:pt x="745" y="437"/>
                  </a:lnTo>
                  <a:lnTo>
                    <a:pt x="741" y="438"/>
                  </a:lnTo>
                  <a:lnTo>
                    <a:pt x="733" y="442"/>
                  </a:lnTo>
                  <a:lnTo>
                    <a:pt x="730" y="447"/>
                  </a:lnTo>
                  <a:lnTo>
                    <a:pt x="728" y="453"/>
                  </a:lnTo>
                  <a:lnTo>
                    <a:pt x="718" y="459"/>
                  </a:lnTo>
                  <a:lnTo>
                    <a:pt x="714" y="465"/>
                  </a:lnTo>
                  <a:lnTo>
                    <a:pt x="713" y="470"/>
                  </a:lnTo>
                  <a:lnTo>
                    <a:pt x="692" y="467"/>
                  </a:lnTo>
                  <a:lnTo>
                    <a:pt x="692" y="471"/>
                  </a:lnTo>
                  <a:lnTo>
                    <a:pt x="688" y="469"/>
                  </a:lnTo>
                  <a:lnTo>
                    <a:pt x="615" y="471"/>
                  </a:lnTo>
                  <a:lnTo>
                    <a:pt x="593" y="486"/>
                  </a:lnTo>
                  <a:lnTo>
                    <a:pt x="535" y="487"/>
                  </a:lnTo>
                  <a:lnTo>
                    <a:pt x="468" y="528"/>
                  </a:lnTo>
                  <a:lnTo>
                    <a:pt x="458" y="541"/>
                  </a:lnTo>
                  <a:lnTo>
                    <a:pt x="443" y="552"/>
                  </a:lnTo>
                  <a:lnTo>
                    <a:pt x="385" y="567"/>
                  </a:lnTo>
                  <a:lnTo>
                    <a:pt x="378" y="572"/>
                  </a:lnTo>
                  <a:lnTo>
                    <a:pt x="355" y="622"/>
                  </a:lnTo>
                  <a:lnTo>
                    <a:pt x="329" y="643"/>
                  </a:lnTo>
                  <a:lnTo>
                    <a:pt x="318" y="673"/>
                  </a:lnTo>
                  <a:lnTo>
                    <a:pt x="318" y="703"/>
                  </a:lnTo>
                  <a:lnTo>
                    <a:pt x="307" y="705"/>
                  </a:lnTo>
                  <a:lnTo>
                    <a:pt x="306" y="704"/>
                  </a:lnTo>
                  <a:lnTo>
                    <a:pt x="303" y="699"/>
                  </a:lnTo>
                  <a:lnTo>
                    <a:pt x="300" y="698"/>
                  </a:lnTo>
                  <a:lnTo>
                    <a:pt x="292" y="698"/>
                  </a:lnTo>
                  <a:lnTo>
                    <a:pt x="289" y="699"/>
                  </a:lnTo>
                  <a:lnTo>
                    <a:pt x="286" y="704"/>
                  </a:lnTo>
                  <a:lnTo>
                    <a:pt x="283" y="704"/>
                  </a:lnTo>
                  <a:lnTo>
                    <a:pt x="279" y="707"/>
                  </a:lnTo>
                  <a:lnTo>
                    <a:pt x="272" y="707"/>
                  </a:lnTo>
                  <a:lnTo>
                    <a:pt x="273" y="705"/>
                  </a:lnTo>
                  <a:lnTo>
                    <a:pt x="272" y="696"/>
                  </a:lnTo>
                  <a:lnTo>
                    <a:pt x="271" y="693"/>
                  </a:lnTo>
                  <a:lnTo>
                    <a:pt x="271" y="692"/>
                  </a:lnTo>
                  <a:lnTo>
                    <a:pt x="271" y="687"/>
                  </a:lnTo>
                  <a:lnTo>
                    <a:pt x="269" y="684"/>
                  </a:lnTo>
                  <a:lnTo>
                    <a:pt x="267" y="686"/>
                  </a:lnTo>
                  <a:lnTo>
                    <a:pt x="262" y="686"/>
                  </a:lnTo>
                  <a:lnTo>
                    <a:pt x="260" y="692"/>
                  </a:lnTo>
                  <a:lnTo>
                    <a:pt x="259" y="692"/>
                  </a:lnTo>
                  <a:lnTo>
                    <a:pt x="255" y="689"/>
                  </a:lnTo>
                  <a:lnTo>
                    <a:pt x="252" y="689"/>
                  </a:lnTo>
                  <a:lnTo>
                    <a:pt x="250" y="692"/>
                  </a:lnTo>
                  <a:lnTo>
                    <a:pt x="250" y="695"/>
                  </a:lnTo>
                  <a:lnTo>
                    <a:pt x="252" y="700"/>
                  </a:lnTo>
                  <a:lnTo>
                    <a:pt x="250" y="702"/>
                  </a:lnTo>
                  <a:lnTo>
                    <a:pt x="240" y="702"/>
                  </a:lnTo>
                  <a:lnTo>
                    <a:pt x="235" y="704"/>
                  </a:lnTo>
                  <a:lnTo>
                    <a:pt x="235" y="707"/>
                  </a:lnTo>
                  <a:lnTo>
                    <a:pt x="233" y="711"/>
                  </a:lnTo>
                  <a:lnTo>
                    <a:pt x="230" y="711"/>
                  </a:lnTo>
                  <a:lnTo>
                    <a:pt x="227" y="709"/>
                  </a:lnTo>
                  <a:lnTo>
                    <a:pt x="224" y="705"/>
                  </a:lnTo>
                  <a:lnTo>
                    <a:pt x="222" y="705"/>
                  </a:lnTo>
                  <a:lnTo>
                    <a:pt x="220" y="706"/>
                  </a:lnTo>
                  <a:lnTo>
                    <a:pt x="219" y="707"/>
                  </a:lnTo>
                  <a:lnTo>
                    <a:pt x="218" y="707"/>
                  </a:lnTo>
                  <a:lnTo>
                    <a:pt x="217" y="702"/>
                  </a:lnTo>
                  <a:lnTo>
                    <a:pt x="213" y="698"/>
                  </a:lnTo>
                  <a:lnTo>
                    <a:pt x="210" y="697"/>
                  </a:lnTo>
                  <a:lnTo>
                    <a:pt x="207" y="700"/>
                  </a:lnTo>
                  <a:lnTo>
                    <a:pt x="203" y="699"/>
                  </a:lnTo>
                  <a:lnTo>
                    <a:pt x="201" y="700"/>
                  </a:lnTo>
                  <a:lnTo>
                    <a:pt x="199" y="702"/>
                  </a:lnTo>
                  <a:lnTo>
                    <a:pt x="198" y="705"/>
                  </a:lnTo>
                  <a:lnTo>
                    <a:pt x="196" y="708"/>
                  </a:lnTo>
                  <a:lnTo>
                    <a:pt x="191" y="709"/>
                  </a:lnTo>
                  <a:lnTo>
                    <a:pt x="191" y="707"/>
                  </a:lnTo>
                  <a:lnTo>
                    <a:pt x="190" y="704"/>
                  </a:lnTo>
                  <a:lnTo>
                    <a:pt x="185" y="702"/>
                  </a:lnTo>
                  <a:lnTo>
                    <a:pt x="184" y="699"/>
                  </a:lnTo>
                  <a:lnTo>
                    <a:pt x="178" y="698"/>
                  </a:lnTo>
                  <a:lnTo>
                    <a:pt x="176" y="693"/>
                  </a:lnTo>
                  <a:lnTo>
                    <a:pt x="174" y="670"/>
                  </a:lnTo>
                  <a:lnTo>
                    <a:pt x="170" y="669"/>
                  </a:lnTo>
                  <a:lnTo>
                    <a:pt x="166" y="670"/>
                  </a:lnTo>
                  <a:lnTo>
                    <a:pt x="162" y="676"/>
                  </a:lnTo>
                  <a:lnTo>
                    <a:pt x="159" y="676"/>
                  </a:lnTo>
                  <a:lnTo>
                    <a:pt x="159" y="669"/>
                  </a:lnTo>
                  <a:lnTo>
                    <a:pt x="160" y="668"/>
                  </a:lnTo>
                  <a:lnTo>
                    <a:pt x="164" y="666"/>
                  </a:lnTo>
                  <a:lnTo>
                    <a:pt x="165" y="663"/>
                  </a:lnTo>
                  <a:lnTo>
                    <a:pt x="168" y="662"/>
                  </a:lnTo>
                  <a:lnTo>
                    <a:pt x="169" y="659"/>
                  </a:lnTo>
                  <a:lnTo>
                    <a:pt x="173" y="659"/>
                  </a:lnTo>
                  <a:lnTo>
                    <a:pt x="172" y="654"/>
                  </a:lnTo>
                  <a:lnTo>
                    <a:pt x="172" y="653"/>
                  </a:lnTo>
                  <a:lnTo>
                    <a:pt x="167" y="653"/>
                  </a:lnTo>
                  <a:lnTo>
                    <a:pt x="165" y="650"/>
                  </a:lnTo>
                  <a:lnTo>
                    <a:pt x="162" y="648"/>
                  </a:lnTo>
                  <a:lnTo>
                    <a:pt x="157" y="641"/>
                  </a:lnTo>
                  <a:lnTo>
                    <a:pt x="154" y="642"/>
                  </a:lnTo>
                  <a:lnTo>
                    <a:pt x="153" y="642"/>
                  </a:lnTo>
                  <a:lnTo>
                    <a:pt x="153" y="627"/>
                  </a:lnTo>
                  <a:lnTo>
                    <a:pt x="150" y="624"/>
                  </a:lnTo>
                  <a:lnTo>
                    <a:pt x="148" y="622"/>
                  </a:lnTo>
                  <a:lnTo>
                    <a:pt x="149" y="617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5"/>
                  </a:lnTo>
                  <a:lnTo>
                    <a:pt x="144" y="606"/>
                  </a:lnTo>
                  <a:lnTo>
                    <a:pt x="144" y="604"/>
                  </a:lnTo>
                  <a:lnTo>
                    <a:pt x="141" y="602"/>
                  </a:lnTo>
                  <a:lnTo>
                    <a:pt x="139" y="602"/>
                  </a:lnTo>
                  <a:lnTo>
                    <a:pt x="137" y="605"/>
                  </a:lnTo>
                  <a:lnTo>
                    <a:pt x="135" y="605"/>
                  </a:lnTo>
                  <a:lnTo>
                    <a:pt x="130" y="602"/>
                  </a:lnTo>
                  <a:lnTo>
                    <a:pt x="128" y="602"/>
                  </a:lnTo>
                  <a:lnTo>
                    <a:pt x="127" y="603"/>
                  </a:lnTo>
                  <a:lnTo>
                    <a:pt x="127" y="610"/>
                  </a:lnTo>
                  <a:lnTo>
                    <a:pt x="124" y="612"/>
                  </a:lnTo>
                  <a:lnTo>
                    <a:pt x="113" y="616"/>
                  </a:lnTo>
                  <a:lnTo>
                    <a:pt x="113" y="620"/>
                  </a:lnTo>
                  <a:lnTo>
                    <a:pt x="111" y="625"/>
                  </a:lnTo>
                  <a:lnTo>
                    <a:pt x="99" y="620"/>
                  </a:lnTo>
                  <a:lnTo>
                    <a:pt x="92" y="616"/>
                  </a:lnTo>
                  <a:lnTo>
                    <a:pt x="84" y="614"/>
                  </a:lnTo>
                  <a:lnTo>
                    <a:pt x="82" y="615"/>
                  </a:lnTo>
                  <a:lnTo>
                    <a:pt x="79" y="619"/>
                  </a:lnTo>
                  <a:lnTo>
                    <a:pt x="74" y="621"/>
                  </a:lnTo>
                  <a:lnTo>
                    <a:pt x="72" y="626"/>
                  </a:lnTo>
                  <a:lnTo>
                    <a:pt x="69" y="629"/>
                  </a:lnTo>
                  <a:lnTo>
                    <a:pt x="65" y="627"/>
                  </a:lnTo>
                  <a:lnTo>
                    <a:pt x="56" y="615"/>
                  </a:lnTo>
                  <a:lnTo>
                    <a:pt x="51" y="616"/>
                  </a:lnTo>
                  <a:lnTo>
                    <a:pt x="46" y="621"/>
                  </a:lnTo>
                  <a:lnTo>
                    <a:pt x="43" y="624"/>
                  </a:lnTo>
                  <a:lnTo>
                    <a:pt x="39" y="625"/>
                  </a:lnTo>
                  <a:lnTo>
                    <a:pt x="35" y="622"/>
                  </a:lnTo>
                  <a:lnTo>
                    <a:pt x="32" y="618"/>
                  </a:lnTo>
                  <a:lnTo>
                    <a:pt x="32" y="615"/>
                  </a:lnTo>
                  <a:lnTo>
                    <a:pt x="35" y="612"/>
                  </a:lnTo>
                  <a:lnTo>
                    <a:pt x="35" y="609"/>
                  </a:lnTo>
                  <a:lnTo>
                    <a:pt x="39" y="604"/>
                  </a:lnTo>
                  <a:lnTo>
                    <a:pt x="39" y="603"/>
                  </a:lnTo>
                  <a:lnTo>
                    <a:pt x="36" y="600"/>
                  </a:lnTo>
                  <a:lnTo>
                    <a:pt x="36" y="594"/>
                  </a:lnTo>
                  <a:lnTo>
                    <a:pt x="38" y="590"/>
                  </a:lnTo>
                  <a:lnTo>
                    <a:pt x="38" y="586"/>
                  </a:lnTo>
                  <a:lnTo>
                    <a:pt x="37" y="584"/>
                  </a:lnTo>
                  <a:lnTo>
                    <a:pt x="37" y="582"/>
                  </a:lnTo>
                  <a:lnTo>
                    <a:pt x="38" y="582"/>
                  </a:lnTo>
                  <a:lnTo>
                    <a:pt x="37" y="579"/>
                  </a:lnTo>
                  <a:lnTo>
                    <a:pt x="34" y="575"/>
                  </a:lnTo>
                  <a:lnTo>
                    <a:pt x="33" y="572"/>
                  </a:lnTo>
                  <a:lnTo>
                    <a:pt x="30" y="570"/>
                  </a:lnTo>
                  <a:lnTo>
                    <a:pt x="30" y="566"/>
                  </a:lnTo>
                  <a:lnTo>
                    <a:pt x="26" y="564"/>
                  </a:lnTo>
                  <a:lnTo>
                    <a:pt x="26" y="561"/>
                  </a:lnTo>
                  <a:lnTo>
                    <a:pt x="21" y="561"/>
                  </a:lnTo>
                  <a:lnTo>
                    <a:pt x="19" y="563"/>
                  </a:lnTo>
                  <a:lnTo>
                    <a:pt x="16" y="563"/>
                  </a:lnTo>
                  <a:lnTo>
                    <a:pt x="15" y="562"/>
                  </a:lnTo>
                  <a:lnTo>
                    <a:pt x="14" y="555"/>
                  </a:lnTo>
                  <a:lnTo>
                    <a:pt x="7" y="547"/>
                  </a:lnTo>
                  <a:lnTo>
                    <a:pt x="7" y="545"/>
                  </a:lnTo>
                  <a:lnTo>
                    <a:pt x="11" y="539"/>
                  </a:lnTo>
                  <a:lnTo>
                    <a:pt x="11" y="535"/>
                  </a:lnTo>
                  <a:lnTo>
                    <a:pt x="8" y="531"/>
                  </a:lnTo>
                  <a:lnTo>
                    <a:pt x="7" y="519"/>
                  </a:lnTo>
                  <a:lnTo>
                    <a:pt x="5" y="517"/>
                  </a:lnTo>
                  <a:lnTo>
                    <a:pt x="3" y="516"/>
                  </a:lnTo>
                  <a:lnTo>
                    <a:pt x="2" y="513"/>
                  </a:lnTo>
                  <a:lnTo>
                    <a:pt x="1" y="513"/>
                  </a:lnTo>
                  <a:lnTo>
                    <a:pt x="0" y="508"/>
                  </a:lnTo>
                  <a:lnTo>
                    <a:pt x="2" y="503"/>
                  </a:lnTo>
                  <a:lnTo>
                    <a:pt x="2" y="499"/>
                  </a:lnTo>
                  <a:lnTo>
                    <a:pt x="0" y="497"/>
                  </a:lnTo>
                  <a:lnTo>
                    <a:pt x="18" y="478"/>
                  </a:lnTo>
                  <a:lnTo>
                    <a:pt x="33" y="444"/>
                  </a:lnTo>
                  <a:lnTo>
                    <a:pt x="34" y="444"/>
                  </a:lnTo>
                  <a:lnTo>
                    <a:pt x="37" y="444"/>
                  </a:lnTo>
                  <a:lnTo>
                    <a:pt x="37" y="445"/>
                  </a:lnTo>
                  <a:lnTo>
                    <a:pt x="42" y="446"/>
                  </a:lnTo>
                  <a:lnTo>
                    <a:pt x="45" y="448"/>
                  </a:lnTo>
                  <a:lnTo>
                    <a:pt x="57" y="476"/>
                  </a:lnTo>
                  <a:lnTo>
                    <a:pt x="72" y="478"/>
                  </a:lnTo>
                  <a:lnTo>
                    <a:pt x="94" y="460"/>
                  </a:lnTo>
                  <a:lnTo>
                    <a:pt x="302" y="464"/>
                  </a:lnTo>
                  <a:lnTo>
                    <a:pt x="313" y="424"/>
                  </a:lnTo>
                  <a:lnTo>
                    <a:pt x="294" y="419"/>
                  </a:lnTo>
                  <a:lnTo>
                    <a:pt x="252" y="0"/>
                  </a:lnTo>
                  <a:lnTo>
                    <a:pt x="332" y="0"/>
                  </a:lnTo>
                  <a:lnTo>
                    <a:pt x="385" y="36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2" name="Freeform 210"/>
            <p:cNvSpPr>
              <a:spLocks/>
            </p:cNvSpPr>
            <p:nvPr/>
          </p:nvSpPr>
          <p:spPr bwMode="auto">
            <a:xfrm>
              <a:off x="2601374" y="2013529"/>
              <a:ext cx="891616" cy="710603"/>
            </a:xfrm>
            <a:custGeom>
              <a:avLst/>
              <a:gdLst>
                <a:gd name="T0" fmla="*/ 101 w 745"/>
                <a:gd name="T1" fmla="*/ 24 h 711"/>
                <a:gd name="T2" fmla="*/ 105 w 745"/>
                <a:gd name="T3" fmla="*/ 27 h 711"/>
                <a:gd name="T4" fmla="*/ 108 w 745"/>
                <a:gd name="T5" fmla="*/ 29 h 711"/>
                <a:gd name="T6" fmla="*/ 111 w 745"/>
                <a:gd name="T7" fmla="*/ 30 h 711"/>
                <a:gd name="T8" fmla="*/ 114 w 745"/>
                <a:gd name="T9" fmla="*/ 31 h 711"/>
                <a:gd name="T10" fmla="*/ 117 w 745"/>
                <a:gd name="T11" fmla="*/ 31 h 711"/>
                <a:gd name="T12" fmla="*/ 117 w 745"/>
                <a:gd name="T13" fmla="*/ 33 h 711"/>
                <a:gd name="T14" fmla="*/ 117 w 745"/>
                <a:gd name="T15" fmla="*/ 34 h 711"/>
                <a:gd name="T16" fmla="*/ 119 w 745"/>
                <a:gd name="T17" fmla="*/ 36 h 711"/>
                <a:gd name="T18" fmla="*/ 124 w 745"/>
                <a:gd name="T19" fmla="*/ 36 h 711"/>
                <a:gd name="T20" fmla="*/ 122 w 745"/>
                <a:gd name="T21" fmla="*/ 54 h 711"/>
                <a:gd name="T22" fmla="*/ 119 w 745"/>
                <a:gd name="T23" fmla="*/ 57 h 711"/>
                <a:gd name="T24" fmla="*/ 114 w 745"/>
                <a:gd name="T25" fmla="*/ 58 h 711"/>
                <a:gd name="T26" fmla="*/ 78 w 745"/>
                <a:gd name="T27" fmla="*/ 65 h 711"/>
                <a:gd name="T28" fmla="*/ 63 w 745"/>
                <a:gd name="T29" fmla="*/ 70 h 711"/>
                <a:gd name="T30" fmla="*/ 53 w 745"/>
                <a:gd name="T31" fmla="*/ 86 h 711"/>
                <a:gd name="T32" fmla="*/ 50 w 745"/>
                <a:gd name="T33" fmla="*/ 85 h 711"/>
                <a:gd name="T34" fmla="*/ 47 w 745"/>
                <a:gd name="T35" fmla="*/ 86 h 711"/>
                <a:gd name="T36" fmla="*/ 45 w 745"/>
                <a:gd name="T37" fmla="*/ 85 h 711"/>
                <a:gd name="T38" fmla="*/ 45 w 745"/>
                <a:gd name="T39" fmla="*/ 83 h 711"/>
                <a:gd name="T40" fmla="*/ 43 w 745"/>
                <a:gd name="T41" fmla="*/ 85 h 711"/>
                <a:gd name="T42" fmla="*/ 42 w 745"/>
                <a:gd name="T43" fmla="*/ 85 h 711"/>
                <a:gd name="T44" fmla="*/ 39 w 745"/>
                <a:gd name="T45" fmla="*/ 86 h 711"/>
                <a:gd name="T46" fmla="*/ 38 w 745"/>
                <a:gd name="T47" fmla="*/ 87 h 711"/>
                <a:gd name="T48" fmla="*/ 37 w 745"/>
                <a:gd name="T49" fmla="*/ 87 h 711"/>
                <a:gd name="T50" fmla="*/ 35 w 745"/>
                <a:gd name="T51" fmla="*/ 85 h 711"/>
                <a:gd name="T52" fmla="*/ 33 w 745"/>
                <a:gd name="T53" fmla="*/ 86 h 711"/>
                <a:gd name="T54" fmla="*/ 32 w 745"/>
                <a:gd name="T55" fmla="*/ 87 h 711"/>
                <a:gd name="T56" fmla="*/ 29 w 745"/>
                <a:gd name="T57" fmla="*/ 85 h 711"/>
                <a:gd name="T58" fmla="*/ 28 w 745"/>
                <a:gd name="T59" fmla="*/ 82 h 711"/>
                <a:gd name="T60" fmla="*/ 27 w 745"/>
                <a:gd name="T61" fmla="*/ 81 h 711"/>
                <a:gd name="T62" fmla="*/ 28 w 745"/>
                <a:gd name="T63" fmla="*/ 80 h 711"/>
                <a:gd name="T64" fmla="*/ 28 w 745"/>
                <a:gd name="T65" fmla="*/ 80 h 711"/>
                <a:gd name="T66" fmla="*/ 26 w 745"/>
                <a:gd name="T67" fmla="*/ 78 h 711"/>
                <a:gd name="T68" fmla="*/ 25 w 745"/>
                <a:gd name="T69" fmla="*/ 76 h 711"/>
                <a:gd name="T70" fmla="*/ 24 w 745"/>
                <a:gd name="T71" fmla="*/ 75 h 711"/>
                <a:gd name="T72" fmla="*/ 23 w 745"/>
                <a:gd name="T73" fmla="*/ 74 h 711"/>
                <a:gd name="T74" fmla="*/ 21 w 745"/>
                <a:gd name="T75" fmla="*/ 74 h 711"/>
                <a:gd name="T76" fmla="*/ 19 w 745"/>
                <a:gd name="T77" fmla="*/ 75 h 711"/>
                <a:gd name="T78" fmla="*/ 15 w 745"/>
                <a:gd name="T79" fmla="*/ 75 h 711"/>
                <a:gd name="T80" fmla="*/ 12 w 745"/>
                <a:gd name="T81" fmla="*/ 76 h 711"/>
                <a:gd name="T82" fmla="*/ 9 w 745"/>
                <a:gd name="T83" fmla="*/ 75 h 711"/>
                <a:gd name="T84" fmla="*/ 6 w 745"/>
                <a:gd name="T85" fmla="*/ 76 h 711"/>
                <a:gd name="T86" fmla="*/ 5 w 745"/>
                <a:gd name="T87" fmla="*/ 75 h 711"/>
                <a:gd name="T88" fmla="*/ 6 w 745"/>
                <a:gd name="T89" fmla="*/ 73 h 711"/>
                <a:gd name="T90" fmla="*/ 6 w 745"/>
                <a:gd name="T91" fmla="*/ 72 h 711"/>
                <a:gd name="T92" fmla="*/ 5 w 745"/>
                <a:gd name="T93" fmla="*/ 70 h 711"/>
                <a:gd name="T94" fmla="*/ 4 w 745"/>
                <a:gd name="T95" fmla="*/ 69 h 711"/>
                <a:gd name="T96" fmla="*/ 3 w 745"/>
                <a:gd name="T97" fmla="*/ 69 h 711"/>
                <a:gd name="T98" fmla="*/ 1 w 745"/>
                <a:gd name="T99" fmla="*/ 66 h 711"/>
                <a:gd name="T100" fmla="*/ 1 w 745"/>
                <a:gd name="T101" fmla="*/ 64 h 711"/>
                <a:gd name="T102" fmla="*/ 1 w 745"/>
                <a:gd name="T103" fmla="*/ 62 h 711"/>
                <a:gd name="T104" fmla="*/ 0 w 745"/>
                <a:gd name="T105" fmla="*/ 61 h 711"/>
                <a:gd name="T106" fmla="*/ 6 w 745"/>
                <a:gd name="T107" fmla="*/ 54 h 711"/>
                <a:gd name="T108" fmla="*/ 9 w 745"/>
                <a:gd name="T109" fmla="*/ 58 h 711"/>
                <a:gd name="T110" fmla="*/ 52 w 745"/>
                <a:gd name="T111" fmla="*/ 52 h 711"/>
                <a:gd name="T112" fmla="*/ 64 w 745"/>
                <a:gd name="T113" fmla="*/ 4 h 71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45"/>
                <a:gd name="T172" fmla="*/ 0 h 711"/>
                <a:gd name="T173" fmla="*/ 745 w 745"/>
                <a:gd name="T174" fmla="*/ 711 h 711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45" h="711">
                  <a:moveTo>
                    <a:pt x="385" y="36"/>
                  </a:moveTo>
                  <a:lnTo>
                    <a:pt x="605" y="189"/>
                  </a:lnTo>
                  <a:lnTo>
                    <a:pt x="605" y="193"/>
                  </a:lnTo>
                  <a:lnTo>
                    <a:pt x="609" y="196"/>
                  </a:lnTo>
                  <a:lnTo>
                    <a:pt x="607" y="202"/>
                  </a:lnTo>
                  <a:lnTo>
                    <a:pt x="608" y="206"/>
                  </a:lnTo>
                  <a:lnTo>
                    <a:pt x="628" y="215"/>
                  </a:lnTo>
                  <a:lnTo>
                    <a:pt x="630" y="217"/>
                  </a:lnTo>
                  <a:lnTo>
                    <a:pt x="631" y="222"/>
                  </a:lnTo>
                  <a:lnTo>
                    <a:pt x="632" y="225"/>
                  </a:lnTo>
                  <a:lnTo>
                    <a:pt x="643" y="233"/>
                  </a:lnTo>
                  <a:lnTo>
                    <a:pt x="651" y="234"/>
                  </a:lnTo>
                  <a:lnTo>
                    <a:pt x="658" y="233"/>
                  </a:lnTo>
                  <a:lnTo>
                    <a:pt x="660" y="234"/>
                  </a:lnTo>
                  <a:lnTo>
                    <a:pt x="663" y="242"/>
                  </a:lnTo>
                  <a:lnTo>
                    <a:pt x="666" y="244"/>
                  </a:lnTo>
                  <a:lnTo>
                    <a:pt x="676" y="244"/>
                  </a:lnTo>
                  <a:lnTo>
                    <a:pt x="679" y="245"/>
                  </a:lnTo>
                  <a:lnTo>
                    <a:pt x="682" y="245"/>
                  </a:lnTo>
                  <a:lnTo>
                    <a:pt x="689" y="250"/>
                  </a:lnTo>
                  <a:lnTo>
                    <a:pt x="697" y="252"/>
                  </a:lnTo>
                  <a:lnTo>
                    <a:pt x="701" y="254"/>
                  </a:lnTo>
                  <a:lnTo>
                    <a:pt x="702" y="256"/>
                  </a:lnTo>
                  <a:lnTo>
                    <a:pt x="703" y="257"/>
                  </a:lnTo>
                  <a:lnTo>
                    <a:pt x="704" y="261"/>
                  </a:lnTo>
                  <a:lnTo>
                    <a:pt x="702" y="263"/>
                  </a:lnTo>
                  <a:lnTo>
                    <a:pt x="702" y="267"/>
                  </a:lnTo>
                  <a:lnTo>
                    <a:pt x="704" y="271"/>
                  </a:lnTo>
                  <a:lnTo>
                    <a:pt x="704" y="273"/>
                  </a:lnTo>
                  <a:lnTo>
                    <a:pt x="702" y="274"/>
                  </a:lnTo>
                  <a:lnTo>
                    <a:pt x="701" y="276"/>
                  </a:lnTo>
                  <a:lnTo>
                    <a:pt x="702" y="281"/>
                  </a:lnTo>
                  <a:lnTo>
                    <a:pt x="700" y="286"/>
                  </a:lnTo>
                  <a:lnTo>
                    <a:pt x="700" y="289"/>
                  </a:lnTo>
                  <a:lnTo>
                    <a:pt x="706" y="296"/>
                  </a:lnTo>
                  <a:lnTo>
                    <a:pt x="716" y="297"/>
                  </a:lnTo>
                  <a:lnTo>
                    <a:pt x="723" y="294"/>
                  </a:lnTo>
                  <a:lnTo>
                    <a:pt x="732" y="293"/>
                  </a:lnTo>
                  <a:lnTo>
                    <a:pt x="744" y="288"/>
                  </a:lnTo>
                  <a:lnTo>
                    <a:pt x="744" y="290"/>
                  </a:lnTo>
                  <a:lnTo>
                    <a:pt x="745" y="290"/>
                  </a:lnTo>
                  <a:lnTo>
                    <a:pt x="745" y="437"/>
                  </a:lnTo>
                  <a:lnTo>
                    <a:pt x="741" y="438"/>
                  </a:lnTo>
                  <a:lnTo>
                    <a:pt x="733" y="442"/>
                  </a:lnTo>
                  <a:lnTo>
                    <a:pt x="730" y="447"/>
                  </a:lnTo>
                  <a:lnTo>
                    <a:pt x="728" y="453"/>
                  </a:lnTo>
                  <a:lnTo>
                    <a:pt x="718" y="459"/>
                  </a:lnTo>
                  <a:lnTo>
                    <a:pt x="714" y="465"/>
                  </a:lnTo>
                  <a:lnTo>
                    <a:pt x="713" y="470"/>
                  </a:lnTo>
                  <a:lnTo>
                    <a:pt x="692" y="467"/>
                  </a:lnTo>
                  <a:lnTo>
                    <a:pt x="692" y="471"/>
                  </a:lnTo>
                  <a:lnTo>
                    <a:pt x="688" y="469"/>
                  </a:lnTo>
                  <a:lnTo>
                    <a:pt x="615" y="471"/>
                  </a:lnTo>
                  <a:lnTo>
                    <a:pt x="593" y="486"/>
                  </a:lnTo>
                  <a:lnTo>
                    <a:pt x="535" y="487"/>
                  </a:lnTo>
                  <a:lnTo>
                    <a:pt x="468" y="528"/>
                  </a:lnTo>
                  <a:lnTo>
                    <a:pt x="458" y="541"/>
                  </a:lnTo>
                  <a:lnTo>
                    <a:pt x="443" y="552"/>
                  </a:lnTo>
                  <a:lnTo>
                    <a:pt x="385" y="567"/>
                  </a:lnTo>
                  <a:lnTo>
                    <a:pt x="378" y="572"/>
                  </a:lnTo>
                  <a:lnTo>
                    <a:pt x="355" y="622"/>
                  </a:lnTo>
                  <a:lnTo>
                    <a:pt x="329" y="643"/>
                  </a:lnTo>
                  <a:lnTo>
                    <a:pt x="318" y="673"/>
                  </a:lnTo>
                  <a:lnTo>
                    <a:pt x="318" y="703"/>
                  </a:lnTo>
                  <a:lnTo>
                    <a:pt x="307" y="705"/>
                  </a:lnTo>
                  <a:lnTo>
                    <a:pt x="306" y="704"/>
                  </a:lnTo>
                  <a:lnTo>
                    <a:pt x="303" y="699"/>
                  </a:lnTo>
                  <a:lnTo>
                    <a:pt x="300" y="698"/>
                  </a:lnTo>
                  <a:lnTo>
                    <a:pt x="292" y="698"/>
                  </a:lnTo>
                  <a:lnTo>
                    <a:pt x="289" y="699"/>
                  </a:lnTo>
                  <a:lnTo>
                    <a:pt x="286" y="704"/>
                  </a:lnTo>
                  <a:lnTo>
                    <a:pt x="283" y="704"/>
                  </a:lnTo>
                  <a:lnTo>
                    <a:pt x="279" y="707"/>
                  </a:lnTo>
                  <a:lnTo>
                    <a:pt x="272" y="707"/>
                  </a:lnTo>
                  <a:lnTo>
                    <a:pt x="273" y="705"/>
                  </a:lnTo>
                  <a:lnTo>
                    <a:pt x="272" y="696"/>
                  </a:lnTo>
                  <a:lnTo>
                    <a:pt x="271" y="693"/>
                  </a:lnTo>
                  <a:lnTo>
                    <a:pt x="271" y="692"/>
                  </a:lnTo>
                  <a:lnTo>
                    <a:pt x="271" y="687"/>
                  </a:lnTo>
                  <a:lnTo>
                    <a:pt x="269" y="684"/>
                  </a:lnTo>
                  <a:lnTo>
                    <a:pt x="267" y="686"/>
                  </a:lnTo>
                  <a:lnTo>
                    <a:pt x="262" y="686"/>
                  </a:lnTo>
                  <a:lnTo>
                    <a:pt x="260" y="692"/>
                  </a:lnTo>
                  <a:lnTo>
                    <a:pt x="259" y="692"/>
                  </a:lnTo>
                  <a:lnTo>
                    <a:pt x="255" y="689"/>
                  </a:lnTo>
                  <a:lnTo>
                    <a:pt x="252" y="689"/>
                  </a:lnTo>
                  <a:lnTo>
                    <a:pt x="250" y="692"/>
                  </a:lnTo>
                  <a:lnTo>
                    <a:pt x="250" y="695"/>
                  </a:lnTo>
                  <a:lnTo>
                    <a:pt x="252" y="700"/>
                  </a:lnTo>
                  <a:lnTo>
                    <a:pt x="250" y="702"/>
                  </a:lnTo>
                  <a:lnTo>
                    <a:pt x="240" y="702"/>
                  </a:lnTo>
                  <a:lnTo>
                    <a:pt x="235" y="704"/>
                  </a:lnTo>
                  <a:lnTo>
                    <a:pt x="235" y="707"/>
                  </a:lnTo>
                  <a:lnTo>
                    <a:pt x="233" y="711"/>
                  </a:lnTo>
                  <a:lnTo>
                    <a:pt x="230" y="711"/>
                  </a:lnTo>
                  <a:lnTo>
                    <a:pt x="227" y="709"/>
                  </a:lnTo>
                  <a:lnTo>
                    <a:pt x="224" y="705"/>
                  </a:lnTo>
                  <a:lnTo>
                    <a:pt x="222" y="705"/>
                  </a:lnTo>
                  <a:lnTo>
                    <a:pt x="220" y="706"/>
                  </a:lnTo>
                  <a:lnTo>
                    <a:pt x="219" y="707"/>
                  </a:lnTo>
                  <a:lnTo>
                    <a:pt x="218" y="707"/>
                  </a:lnTo>
                  <a:lnTo>
                    <a:pt x="217" y="702"/>
                  </a:lnTo>
                  <a:lnTo>
                    <a:pt x="213" y="698"/>
                  </a:lnTo>
                  <a:lnTo>
                    <a:pt x="210" y="697"/>
                  </a:lnTo>
                  <a:lnTo>
                    <a:pt x="207" y="700"/>
                  </a:lnTo>
                  <a:lnTo>
                    <a:pt x="203" y="699"/>
                  </a:lnTo>
                  <a:lnTo>
                    <a:pt x="201" y="700"/>
                  </a:lnTo>
                  <a:lnTo>
                    <a:pt x="199" y="702"/>
                  </a:lnTo>
                  <a:lnTo>
                    <a:pt x="198" y="705"/>
                  </a:lnTo>
                  <a:lnTo>
                    <a:pt x="196" y="708"/>
                  </a:lnTo>
                  <a:lnTo>
                    <a:pt x="191" y="709"/>
                  </a:lnTo>
                  <a:lnTo>
                    <a:pt x="191" y="707"/>
                  </a:lnTo>
                  <a:lnTo>
                    <a:pt x="190" y="704"/>
                  </a:lnTo>
                  <a:lnTo>
                    <a:pt x="185" y="702"/>
                  </a:lnTo>
                  <a:lnTo>
                    <a:pt x="184" y="699"/>
                  </a:lnTo>
                  <a:lnTo>
                    <a:pt x="178" y="698"/>
                  </a:lnTo>
                  <a:lnTo>
                    <a:pt x="176" y="693"/>
                  </a:lnTo>
                  <a:lnTo>
                    <a:pt x="174" y="670"/>
                  </a:lnTo>
                  <a:lnTo>
                    <a:pt x="170" y="669"/>
                  </a:lnTo>
                  <a:lnTo>
                    <a:pt x="166" y="670"/>
                  </a:lnTo>
                  <a:lnTo>
                    <a:pt x="162" y="676"/>
                  </a:lnTo>
                  <a:lnTo>
                    <a:pt x="159" y="676"/>
                  </a:lnTo>
                  <a:lnTo>
                    <a:pt x="159" y="669"/>
                  </a:lnTo>
                  <a:lnTo>
                    <a:pt x="160" y="668"/>
                  </a:lnTo>
                  <a:lnTo>
                    <a:pt x="164" y="666"/>
                  </a:lnTo>
                  <a:lnTo>
                    <a:pt x="165" y="663"/>
                  </a:lnTo>
                  <a:lnTo>
                    <a:pt x="168" y="662"/>
                  </a:lnTo>
                  <a:lnTo>
                    <a:pt x="169" y="659"/>
                  </a:lnTo>
                  <a:lnTo>
                    <a:pt x="173" y="659"/>
                  </a:lnTo>
                  <a:lnTo>
                    <a:pt x="172" y="654"/>
                  </a:lnTo>
                  <a:lnTo>
                    <a:pt x="172" y="653"/>
                  </a:lnTo>
                  <a:lnTo>
                    <a:pt x="167" y="653"/>
                  </a:lnTo>
                  <a:lnTo>
                    <a:pt x="165" y="650"/>
                  </a:lnTo>
                  <a:lnTo>
                    <a:pt x="162" y="648"/>
                  </a:lnTo>
                  <a:lnTo>
                    <a:pt x="157" y="641"/>
                  </a:lnTo>
                  <a:lnTo>
                    <a:pt x="154" y="642"/>
                  </a:lnTo>
                  <a:lnTo>
                    <a:pt x="153" y="642"/>
                  </a:lnTo>
                  <a:lnTo>
                    <a:pt x="153" y="627"/>
                  </a:lnTo>
                  <a:lnTo>
                    <a:pt x="150" y="624"/>
                  </a:lnTo>
                  <a:lnTo>
                    <a:pt x="148" y="622"/>
                  </a:lnTo>
                  <a:lnTo>
                    <a:pt x="149" y="617"/>
                  </a:lnTo>
                  <a:lnTo>
                    <a:pt x="147" y="616"/>
                  </a:lnTo>
                  <a:lnTo>
                    <a:pt x="144" y="616"/>
                  </a:lnTo>
                  <a:lnTo>
                    <a:pt x="143" y="615"/>
                  </a:lnTo>
                  <a:lnTo>
                    <a:pt x="144" y="606"/>
                  </a:lnTo>
                  <a:lnTo>
                    <a:pt x="144" y="604"/>
                  </a:lnTo>
                  <a:lnTo>
                    <a:pt x="141" y="602"/>
                  </a:lnTo>
                  <a:lnTo>
                    <a:pt x="139" y="602"/>
                  </a:lnTo>
                  <a:lnTo>
                    <a:pt x="137" y="605"/>
                  </a:lnTo>
                  <a:lnTo>
                    <a:pt x="135" y="605"/>
                  </a:lnTo>
                  <a:lnTo>
                    <a:pt x="130" y="602"/>
                  </a:lnTo>
                  <a:lnTo>
                    <a:pt x="128" y="602"/>
                  </a:lnTo>
                  <a:lnTo>
                    <a:pt x="127" y="603"/>
                  </a:lnTo>
                  <a:lnTo>
                    <a:pt x="127" y="610"/>
                  </a:lnTo>
                  <a:lnTo>
                    <a:pt x="124" y="612"/>
                  </a:lnTo>
                  <a:lnTo>
                    <a:pt x="113" y="616"/>
                  </a:lnTo>
                  <a:lnTo>
                    <a:pt x="113" y="620"/>
                  </a:lnTo>
                  <a:lnTo>
                    <a:pt x="111" y="625"/>
                  </a:lnTo>
                  <a:lnTo>
                    <a:pt x="99" y="620"/>
                  </a:lnTo>
                  <a:lnTo>
                    <a:pt x="92" y="616"/>
                  </a:lnTo>
                  <a:lnTo>
                    <a:pt x="84" y="614"/>
                  </a:lnTo>
                  <a:lnTo>
                    <a:pt x="82" y="615"/>
                  </a:lnTo>
                  <a:lnTo>
                    <a:pt x="79" y="619"/>
                  </a:lnTo>
                  <a:lnTo>
                    <a:pt x="74" y="621"/>
                  </a:lnTo>
                  <a:lnTo>
                    <a:pt x="72" y="626"/>
                  </a:lnTo>
                  <a:lnTo>
                    <a:pt x="69" y="629"/>
                  </a:lnTo>
                  <a:lnTo>
                    <a:pt x="65" y="627"/>
                  </a:lnTo>
                  <a:lnTo>
                    <a:pt x="56" y="615"/>
                  </a:lnTo>
                  <a:lnTo>
                    <a:pt x="51" y="616"/>
                  </a:lnTo>
                  <a:lnTo>
                    <a:pt x="46" y="621"/>
                  </a:lnTo>
                  <a:lnTo>
                    <a:pt x="43" y="624"/>
                  </a:lnTo>
                  <a:lnTo>
                    <a:pt x="39" y="625"/>
                  </a:lnTo>
                  <a:lnTo>
                    <a:pt x="35" y="622"/>
                  </a:lnTo>
                  <a:lnTo>
                    <a:pt x="32" y="618"/>
                  </a:lnTo>
                  <a:lnTo>
                    <a:pt x="32" y="615"/>
                  </a:lnTo>
                  <a:lnTo>
                    <a:pt x="35" y="612"/>
                  </a:lnTo>
                  <a:lnTo>
                    <a:pt x="35" y="609"/>
                  </a:lnTo>
                  <a:lnTo>
                    <a:pt x="39" y="604"/>
                  </a:lnTo>
                  <a:lnTo>
                    <a:pt x="39" y="603"/>
                  </a:lnTo>
                  <a:lnTo>
                    <a:pt x="36" y="600"/>
                  </a:lnTo>
                  <a:lnTo>
                    <a:pt x="36" y="594"/>
                  </a:lnTo>
                  <a:lnTo>
                    <a:pt x="38" y="590"/>
                  </a:lnTo>
                  <a:lnTo>
                    <a:pt x="38" y="586"/>
                  </a:lnTo>
                  <a:lnTo>
                    <a:pt x="37" y="584"/>
                  </a:lnTo>
                  <a:lnTo>
                    <a:pt x="37" y="582"/>
                  </a:lnTo>
                  <a:lnTo>
                    <a:pt x="38" y="582"/>
                  </a:lnTo>
                  <a:lnTo>
                    <a:pt x="37" y="579"/>
                  </a:lnTo>
                  <a:lnTo>
                    <a:pt x="34" y="575"/>
                  </a:lnTo>
                  <a:lnTo>
                    <a:pt x="33" y="572"/>
                  </a:lnTo>
                  <a:lnTo>
                    <a:pt x="30" y="570"/>
                  </a:lnTo>
                  <a:lnTo>
                    <a:pt x="30" y="566"/>
                  </a:lnTo>
                  <a:lnTo>
                    <a:pt x="26" y="564"/>
                  </a:lnTo>
                  <a:lnTo>
                    <a:pt x="26" y="561"/>
                  </a:lnTo>
                  <a:lnTo>
                    <a:pt x="21" y="561"/>
                  </a:lnTo>
                  <a:lnTo>
                    <a:pt x="19" y="563"/>
                  </a:lnTo>
                  <a:lnTo>
                    <a:pt x="16" y="563"/>
                  </a:lnTo>
                  <a:lnTo>
                    <a:pt x="15" y="562"/>
                  </a:lnTo>
                  <a:lnTo>
                    <a:pt x="14" y="555"/>
                  </a:lnTo>
                  <a:lnTo>
                    <a:pt x="7" y="547"/>
                  </a:lnTo>
                  <a:lnTo>
                    <a:pt x="7" y="545"/>
                  </a:lnTo>
                  <a:lnTo>
                    <a:pt x="11" y="539"/>
                  </a:lnTo>
                  <a:lnTo>
                    <a:pt x="11" y="535"/>
                  </a:lnTo>
                  <a:lnTo>
                    <a:pt x="8" y="531"/>
                  </a:lnTo>
                  <a:lnTo>
                    <a:pt x="7" y="519"/>
                  </a:lnTo>
                  <a:lnTo>
                    <a:pt x="5" y="517"/>
                  </a:lnTo>
                  <a:lnTo>
                    <a:pt x="3" y="516"/>
                  </a:lnTo>
                  <a:lnTo>
                    <a:pt x="2" y="513"/>
                  </a:lnTo>
                  <a:lnTo>
                    <a:pt x="1" y="513"/>
                  </a:lnTo>
                  <a:lnTo>
                    <a:pt x="0" y="508"/>
                  </a:lnTo>
                  <a:lnTo>
                    <a:pt x="2" y="503"/>
                  </a:lnTo>
                  <a:lnTo>
                    <a:pt x="2" y="499"/>
                  </a:lnTo>
                  <a:lnTo>
                    <a:pt x="0" y="497"/>
                  </a:lnTo>
                  <a:lnTo>
                    <a:pt x="18" y="478"/>
                  </a:lnTo>
                  <a:lnTo>
                    <a:pt x="33" y="444"/>
                  </a:lnTo>
                  <a:lnTo>
                    <a:pt x="34" y="444"/>
                  </a:lnTo>
                  <a:lnTo>
                    <a:pt x="37" y="444"/>
                  </a:lnTo>
                  <a:lnTo>
                    <a:pt x="37" y="445"/>
                  </a:lnTo>
                  <a:lnTo>
                    <a:pt x="42" y="446"/>
                  </a:lnTo>
                  <a:lnTo>
                    <a:pt x="45" y="448"/>
                  </a:lnTo>
                  <a:lnTo>
                    <a:pt x="57" y="476"/>
                  </a:lnTo>
                  <a:lnTo>
                    <a:pt x="72" y="478"/>
                  </a:lnTo>
                  <a:lnTo>
                    <a:pt x="94" y="460"/>
                  </a:lnTo>
                  <a:lnTo>
                    <a:pt x="302" y="464"/>
                  </a:lnTo>
                  <a:lnTo>
                    <a:pt x="313" y="424"/>
                  </a:lnTo>
                  <a:lnTo>
                    <a:pt x="294" y="419"/>
                  </a:lnTo>
                  <a:lnTo>
                    <a:pt x="252" y="0"/>
                  </a:lnTo>
                  <a:lnTo>
                    <a:pt x="332" y="0"/>
                  </a:lnTo>
                  <a:lnTo>
                    <a:pt x="385" y="36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3" name="Group 279"/>
            <p:cNvGrpSpPr>
              <a:grpSpLocks/>
            </p:cNvGrpSpPr>
            <p:nvPr/>
          </p:nvGrpSpPr>
          <p:grpSpPr bwMode="auto">
            <a:xfrm>
              <a:off x="2345466" y="1443932"/>
              <a:ext cx="871306" cy="758843"/>
              <a:chOff x="4550" y="603"/>
              <a:chExt cx="429" cy="409"/>
            </a:xfrm>
            <a:solidFill>
              <a:srgbClr val="0070C0"/>
            </a:solidFill>
          </p:grpSpPr>
          <p:sp>
            <p:nvSpPr>
              <p:cNvPr id="3341" name="Freeform 124"/>
              <p:cNvSpPr>
                <a:spLocks/>
              </p:cNvSpPr>
              <p:nvPr/>
            </p:nvSpPr>
            <p:spPr bwMode="auto">
              <a:xfrm>
                <a:off x="4657" y="603"/>
                <a:ext cx="322" cy="235"/>
              </a:xfrm>
              <a:custGeom>
                <a:avLst/>
                <a:gdLst>
                  <a:gd name="T0" fmla="*/ 33 w 548"/>
                  <a:gd name="T1" fmla="*/ 52 h 440"/>
                  <a:gd name="T2" fmla="*/ 1 w 548"/>
                  <a:gd name="T3" fmla="*/ 51 h 440"/>
                  <a:gd name="T4" fmla="*/ 15 w 548"/>
                  <a:gd name="T5" fmla="*/ 45 h 440"/>
                  <a:gd name="T6" fmla="*/ 19 w 548"/>
                  <a:gd name="T7" fmla="*/ 44 h 440"/>
                  <a:gd name="T8" fmla="*/ 21 w 548"/>
                  <a:gd name="T9" fmla="*/ 43 h 440"/>
                  <a:gd name="T10" fmla="*/ 25 w 548"/>
                  <a:gd name="T11" fmla="*/ 36 h 440"/>
                  <a:gd name="T12" fmla="*/ 24 w 548"/>
                  <a:gd name="T13" fmla="*/ 29 h 440"/>
                  <a:gd name="T14" fmla="*/ 26 w 548"/>
                  <a:gd name="T15" fmla="*/ 26 h 440"/>
                  <a:gd name="T16" fmla="*/ 28 w 548"/>
                  <a:gd name="T17" fmla="*/ 26 h 440"/>
                  <a:gd name="T18" fmla="*/ 29 w 548"/>
                  <a:gd name="T19" fmla="*/ 22 h 440"/>
                  <a:gd name="T20" fmla="*/ 46 w 548"/>
                  <a:gd name="T21" fmla="*/ 13 h 440"/>
                  <a:gd name="T22" fmla="*/ 48 w 548"/>
                  <a:gd name="T23" fmla="*/ 10 h 440"/>
                  <a:gd name="T24" fmla="*/ 54 w 548"/>
                  <a:gd name="T25" fmla="*/ 1 h 440"/>
                  <a:gd name="T26" fmla="*/ 58 w 548"/>
                  <a:gd name="T27" fmla="*/ 0 h 440"/>
                  <a:gd name="T28" fmla="*/ 64 w 548"/>
                  <a:gd name="T29" fmla="*/ 5 h 440"/>
                  <a:gd name="T30" fmla="*/ 68 w 548"/>
                  <a:gd name="T31" fmla="*/ 4 h 440"/>
                  <a:gd name="T32" fmla="*/ 75 w 548"/>
                  <a:gd name="T33" fmla="*/ 4 h 440"/>
                  <a:gd name="T34" fmla="*/ 79 w 548"/>
                  <a:gd name="T35" fmla="*/ 5 h 440"/>
                  <a:gd name="T36" fmla="*/ 83 w 548"/>
                  <a:gd name="T37" fmla="*/ 5 h 440"/>
                  <a:gd name="T38" fmla="*/ 83 w 548"/>
                  <a:gd name="T39" fmla="*/ 6 h 440"/>
                  <a:gd name="T40" fmla="*/ 84 w 548"/>
                  <a:gd name="T41" fmla="*/ 7 h 440"/>
                  <a:gd name="T42" fmla="*/ 85 w 548"/>
                  <a:gd name="T43" fmla="*/ 7 h 440"/>
                  <a:gd name="T44" fmla="*/ 85 w 548"/>
                  <a:gd name="T45" fmla="*/ 8 h 440"/>
                  <a:gd name="T46" fmla="*/ 85 w 548"/>
                  <a:gd name="T47" fmla="*/ 9 h 440"/>
                  <a:gd name="T48" fmla="*/ 85 w 548"/>
                  <a:gd name="T49" fmla="*/ 10 h 440"/>
                  <a:gd name="T50" fmla="*/ 86 w 548"/>
                  <a:gd name="T51" fmla="*/ 14 h 440"/>
                  <a:gd name="T52" fmla="*/ 86 w 548"/>
                  <a:gd name="T53" fmla="*/ 15 h 440"/>
                  <a:gd name="T54" fmla="*/ 86 w 548"/>
                  <a:gd name="T55" fmla="*/ 16 h 440"/>
                  <a:gd name="T56" fmla="*/ 86 w 548"/>
                  <a:gd name="T57" fmla="*/ 18 h 440"/>
                  <a:gd name="T58" fmla="*/ 88 w 548"/>
                  <a:gd name="T59" fmla="*/ 20 h 440"/>
                  <a:gd name="T60" fmla="*/ 90 w 548"/>
                  <a:gd name="T61" fmla="*/ 22 h 440"/>
                  <a:gd name="T62" fmla="*/ 89 w 548"/>
                  <a:gd name="T63" fmla="*/ 23 h 440"/>
                  <a:gd name="T64" fmla="*/ 89 w 548"/>
                  <a:gd name="T65" fmla="*/ 24 h 440"/>
                  <a:gd name="T66" fmla="*/ 88 w 548"/>
                  <a:gd name="T67" fmla="*/ 24 h 440"/>
                  <a:gd name="T68" fmla="*/ 84 w 548"/>
                  <a:gd name="T69" fmla="*/ 24 h 440"/>
                  <a:gd name="T70" fmla="*/ 78 w 548"/>
                  <a:gd name="T71" fmla="*/ 24 h 440"/>
                  <a:gd name="T72" fmla="*/ 77 w 548"/>
                  <a:gd name="T73" fmla="*/ 25 h 440"/>
                  <a:gd name="T74" fmla="*/ 76 w 548"/>
                  <a:gd name="T75" fmla="*/ 24 h 440"/>
                  <a:gd name="T76" fmla="*/ 76 w 548"/>
                  <a:gd name="T77" fmla="*/ 26 h 440"/>
                  <a:gd name="T78" fmla="*/ 75 w 548"/>
                  <a:gd name="T79" fmla="*/ 26 h 440"/>
                  <a:gd name="T80" fmla="*/ 71 w 548"/>
                  <a:gd name="T81" fmla="*/ 27 h 440"/>
                  <a:gd name="T82" fmla="*/ 69 w 548"/>
                  <a:gd name="T83" fmla="*/ 27 h 440"/>
                  <a:gd name="T84" fmla="*/ 69 w 548"/>
                  <a:gd name="T85" fmla="*/ 28 h 440"/>
                  <a:gd name="T86" fmla="*/ 70 w 548"/>
                  <a:gd name="T87" fmla="*/ 29 h 440"/>
                  <a:gd name="T88" fmla="*/ 69 w 548"/>
                  <a:gd name="T89" fmla="*/ 30 h 440"/>
                  <a:gd name="T90" fmla="*/ 69 w 548"/>
                  <a:gd name="T91" fmla="*/ 30 h 440"/>
                  <a:gd name="T92" fmla="*/ 70 w 548"/>
                  <a:gd name="T93" fmla="*/ 30 h 440"/>
                  <a:gd name="T94" fmla="*/ 71 w 548"/>
                  <a:gd name="T95" fmla="*/ 31 h 440"/>
                  <a:gd name="T96" fmla="*/ 71 w 548"/>
                  <a:gd name="T97" fmla="*/ 32 h 440"/>
                  <a:gd name="T98" fmla="*/ 64 w 548"/>
                  <a:gd name="T99" fmla="*/ 34 h 440"/>
                  <a:gd name="T100" fmla="*/ 61 w 548"/>
                  <a:gd name="T101" fmla="*/ 34 h 440"/>
                  <a:gd name="T102" fmla="*/ 59 w 548"/>
                  <a:gd name="T103" fmla="*/ 36 h 440"/>
                  <a:gd name="T104" fmla="*/ 59 w 548"/>
                  <a:gd name="T105" fmla="*/ 37 h 440"/>
                  <a:gd name="T106" fmla="*/ 53 w 548"/>
                  <a:gd name="T107" fmla="*/ 38 h 440"/>
                  <a:gd name="T108" fmla="*/ 51 w 548"/>
                  <a:gd name="T109" fmla="*/ 39 h 440"/>
                  <a:gd name="T110" fmla="*/ 48 w 548"/>
                  <a:gd name="T111" fmla="*/ 39 h 440"/>
                  <a:gd name="T112" fmla="*/ 48 w 548"/>
                  <a:gd name="T113" fmla="*/ 40 h 440"/>
                  <a:gd name="T114" fmla="*/ 46 w 548"/>
                  <a:gd name="T115" fmla="*/ 40 h 440"/>
                  <a:gd name="T116" fmla="*/ 44 w 548"/>
                  <a:gd name="T117" fmla="*/ 40 h 440"/>
                  <a:gd name="T118" fmla="*/ 43 w 548"/>
                  <a:gd name="T119" fmla="*/ 41 h 440"/>
                  <a:gd name="T120" fmla="*/ 41 w 548"/>
                  <a:gd name="T121" fmla="*/ 42 h 440"/>
                  <a:gd name="T122" fmla="*/ 33 w 548"/>
                  <a:gd name="T123" fmla="*/ 45 h 440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48"/>
                  <a:gd name="T187" fmla="*/ 0 h 440"/>
                  <a:gd name="T188" fmla="*/ 548 w 548"/>
                  <a:gd name="T189" fmla="*/ 440 h 440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48" h="440">
                    <a:moveTo>
                      <a:pt x="200" y="381"/>
                    </a:moveTo>
                    <a:lnTo>
                      <a:pt x="200" y="439"/>
                    </a:lnTo>
                    <a:lnTo>
                      <a:pt x="0" y="440"/>
                    </a:lnTo>
                    <a:lnTo>
                      <a:pt x="3" y="430"/>
                    </a:lnTo>
                    <a:lnTo>
                      <a:pt x="63" y="414"/>
                    </a:lnTo>
                    <a:lnTo>
                      <a:pt x="93" y="386"/>
                    </a:lnTo>
                    <a:lnTo>
                      <a:pt x="107" y="381"/>
                    </a:lnTo>
                    <a:lnTo>
                      <a:pt x="116" y="372"/>
                    </a:lnTo>
                    <a:lnTo>
                      <a:pt x="119" y="367"/>
                    </a:lnTo>
                    <a:lnTo>
                      <a:pt x="128" y="360"/>
                    </a:lnTo>
                    <a:lnTo>
                      <a:pt x="151" y="320"/>
                    </a:lnTo>
                    <a:lnTo>
                      <a:pt x="151" y="302"/>
                    </a:lnTo>
                    <a:lnTo>
                      <a:pt x="143" y="286"/>
                    </a:lnTo>
                    <a:lnTo>
                      <a:pt x="147" y="248"/>
                    </a:lnTo>
                    <a:lnTo>
                      <a:pt x="162" y="223"/>
                    </a:lnTo>
                    <a:lnTo>
                      <a:pt x="162" y="220"/>
                    </a:lnTo>
                    <a:lnTo>
                      <a:pt x="172" y="214"/>
                    </a:lnTo>
                    <a:lnTo>
                      <a:pt x="170" y="215"/>
                    </a:lnTo>
                    <a:lnTo>
                      <a:pt x="178" y="196"/>
                    </a:lnTo>
                    <a:lnTo>
                      <a:pt x="177" y="186"/>
                    </a:lnTo>
                    <a:lnTo>
                      <a:pt x="211" y="146"/>
                    </a:lnTo>
                    <a:lnTo>
                      <a:pt x="280" y="111"/>
                    </a:lnTo>
                    <a:lnTo>
                      <a:pt x="290" y="99"/>
                    </a:lnTo>
                    <a:lnTo>
                      <a:pt x="295" y="86"/>
                    </a:lnTo>
                    <a:lnTo>
                      <a:pt x="304" y="73"/>
                    </a:lnTo>
                    <a:lnTo>
                      <a:pt x="327" y="8"/>
                    </a:lnTo>
                    <a:lnTo>
                      <a:pt x="332" y="5"/>
                    </a:lnTo>
                    <a:lnTo>
                      <a:pt x="350" y="0"/>
                    </a:lnTo>
                    <a:lnTo>
                      <a:pt x="357" y="15"/>
                    </a:lnTo>
                    <a:lnTo>
                      <a:pt x="387" y="39"/>
                    </a:lnTo>
                    <a:lnTo>
                      <a:pt x="395" y="41"/>
                    </a:lnTo>
                    <a:lnTo>
                      <a:pt x="416" y="35"/>
                    </a:lnTo>
                    <a:lnTo>
                      <a:pt x="451" y="35"/>
                    </a:lnTo>
                    <a:lnTo>
                      <a:pt x="457" y="33"/>
                    </a:lnTo>
                    <a:lnTo>
                      <a:pt x="470" y="41"/>
                    </a:lnTo>
                    <a:lnTo>
                      <a:pt x="479" y="45"/>
                    </a:lnTo>
                    <a:lnTo>
                      <a:pt x="488" y="44"/>
                    </a:lnTo>
                    <a:lnTo>
                      <a:pt x="503" y="46"/>
                    </a:lnTo>
                    <a:lnTo>
                      <a:pt x="502" y="51"/>
                    </a:lnTo>
                    <a:lnTo>
                      <a:pt x="505" y="54"/>
                    </a:lnTo>
                    <a:lnTo>
                      <a:pt x="509" y="58"/>
                    </a:lnTo>
                    <a:lnTo>
                      <a:pt x="512" y="61"/>
                    </a:lnTo>
                    <a:lnTo>
                      <a:pt x="515" y="64"/>
                    </a:lnTo>
                    <a:lnTo>
                      <a:pt x="518" y="66"/>
                    </a:lnTo>
                    <a:lnTo>
                      <a:pt x="520" y="68"/>
                    </a:lnTo>
                    <a:lnTo>
                      <a:pt x="519" y="70"/>
                    </a:lnTo>
                    <a:lnTo>
                      <a:pt x="518" y="71"/>
                    </a:lnTo>
                    <a:lnTo>
                      <a:pt x="517" y="72"/>
                    </a:lnTo>
                    <a:lnTo>
                      <a:pt x="521" y="81"/>
                    </a:lnTo>
                    <a:lnTo>
                      <a:pt x="519" y="86"/>
                    </a:lnTo>
                    <a:lnTo>
                      <a:pt x="523" y="102"/>
                    </a:lnTo>
                    <a:lnTo>
                      <a:pt x="522" y="117"/>
                    </a:lnTo>
                    <a:lnTo>
                      <a:pt x="520" y="120"/>
                    </a:lnTo>
                    <a:lnTo>
                      <a:pt x="525" y="126"/>
                    </a:lnTo>
                    <a:lnTo>
                      <a:pt x="526" y="134"/>
                    </a:lnTo>
                    <a:lnTo>
                      <a:pt x="525" y="138"/>
                    </a:lnTo>
                    <a:lnTo>
                      <a:pt x="524" y="143"/>
                    </a:lnTo>
                    <a:lnTo>
                      <a:pt x="528" y="155"/>
                    </a:lnTo>
                    <a:lnTo>
                      <a:pt x="528" y="160"/>
                    </a:lnTo>
                    <a:lnTo>
                      <a:pt x="533" y="171"/>
                    </a:lnTo>
                    <a:lnTo>
                      <a:pt x="548" y="184"/>
                    </a:lnTo>
                    <a:lnTo>
                      <a:pt x="548" y="185"/>
                    </a:lnTo>
                    <a:lnTo>
                      <a:pt x="544" y="186"/>
                    </a:lnTo>
                    <a:lnTo>
                      <a:pt x="539" y="192"/>
                    </a:lnTo>
                    <a:lnTo>
                      <a:pt x="539" y="198"/>
                    </a:lnTo>
                    <a:lnTo>
                      <a:pt x="541" y="202"/>
                    </a:lnTo>
                    <a:lnTo>
                      <a:pt x="541" y="205"/>
                    </a:lnTo>
                    <a:lnTo>
                      <a:pt x="538" y="205"/>
                    </a:lnTo>
                    <a:lnTo>
                      <a:pt x="533" y="202"/>
                    </a:lnTo>
                    <a:lnTo>
                      <a:pt x="514" y="200"/>
                    </a:lnTo>
                    <a:lnTo>
                      <a:pt x="509" y="202"/>
                    </a:lnTo>
                    <a:lnTo>
                      <a:pt x="475" y="205"/>
                    </a:lnTo>
                    <a:lnTo>
                      <a:pt x="472" y="207"/>
                    </a:lnTo>
                    <a:lnTo>
                      <a:pt x="469" y="208"/>
                    </a:lnTo>
                    <a:lnTo>
                      <a:pt x="463" y="206"/>
                    </a:lnTo>
                    <a:lnTo>
                      <a:pt x="461" y="206"/>
                    </a:lnTo>
                    <a:lnTo>
                      <a:pt x="459" y="210"/>
                    </a:lnTo>
                    <a:lnTo>
                      <a:pt x="460" y="215"/>
                    </a:lnTo>
                    <a:lnTo>
                      <a:pt x="459" y="220"/>
                    </a:lnTo>
                    <a:lnTo>
                      <a:pt x="458" y="222"/>
                    </a:lnTo>
                    <a:lnTo>
                      <a:pt x="433" y="229"/>
                    </a:lnTo>
                    <a:lnTo>
                      <a:pt x="428" y="227"/>
                    </a:lnTo>
                    <a:lnTo>
                      <a:pt x="423" y="227"/>
                    </a:lnTo>
                    <a:lnTo>
                      <a:pt x="420" y="230"/>
                    </a:lnTo>
                    <a:lnTo>
                      <a:pt x="418" y="234"/>
                    </a:lnTo>
                    <a:lnTo>
                      <a:pt x="418" y="241"/>
                    </a:lnTo>
                    <a:lnTo>
                      <a:pt x="419" y="243"/>
                    </a:lnTo>
                    <a:lnTo>
                      <a:pt x="423" y="243"/>
                    </a:lnTo>
                    <a:lnTo>
                      <a:pt x="424" y="245"/>
                    </a:lnTo>
                    <a:lnTo>
                      <a:pt x="420" y="249"/>
                    </a:lnTo>
                    <a:lnTo>
                      <a:pt x="419" y="257"/>
                    </a:lnTo>
                    <a:lnTo>
                      <a:pt x="421" y="258"/>
                    </a:lnTo>
                    <a:lnTo>
                      <a:pt x="422" y="256"/>
                    </a:lnTo>
                    <a:lnTo>
                      <a:pt x="424" y="257"/>
                    </a:lnTo>
                    <a:lnTo>
                      <a:pt x="425" y="259"/>
                    </a:lnTo>
                    <a:lnTo>
                      <a:pt x="429" y="262"/>
                    </a:lnTo>
                    <a:lnTo>
                      <a:pt x="430" y="264"/>
                    </a:lnTo>
                    <a:lnTo>
                      <a:pt x="428" y="267"/>
                    </a:lnTo>
                    <a:lnTo>
                      <a:pt x="410" y="272"/>
                    </a:lnTo>
                    <a:lnTo>
                      <a:pt x="389" y="285"/>
                    </a:lnTo>
                    <a:lnTo>
                      <a:pt x="384" y="285"/>
                    </a:lnTo>
                    <a:lnTo>
                      <a:pt x="372" y="290"/>
                    </a:lnTo>
                    <a:lnTo>
                      <a:pt x="364" y="296"/>
                    </a:lnTo>
                    <a:lnTo>
                      <a:pt x="361" y="303"/>
                    </a:lnTo>
                    <a:lnTo>
                      <a:pt x="361" y="306"/>
                    </a:lnTo>
                    <a:lnTo>
                      <a:pt x="358" y="310"/>
                    </a:lnTo>
                    <a:lnTo>
                      <a:pt x="348" y="318"/>
                    </a:lnTo>
                    <a:lnTo>
                      <a:pt x="321" y="326"/>
                    </a:lnTo>
                    <a:lnTo>
                      <a:pt x="313" y="326"/>
                    </a:lnTo>
                    <a:lnTo>
                      <a:pt x="309" y="328"/>
                    </a:lnTo>
                    <a:lnTo>
                      <a:pt x="295" y="327"/>
                    </a:lnTo>
                    <a:lnTo>
                      <a:pt x="294" y="330"/>
                    </a:lnTo>
                    <a:lnTo>
                      <a:pt x="294" y="338"/>
                    </a:lnTo>
                    <a:lnTo>
                      <a:pt x="292" y="339"/>
                    </a:lnTo>
                    <a:lnTo>
                      <a:pt x="284" y="339"/>
                    </a:lnTo>
                    <a:lnTo>
                      <a:pt x="280" y="337"/>
                    </a:lnTo>
                    <a:lnTo>
                      <a:pt x="275" y="338"/>
                    </a:lnTo>
                    <a:lnTo>
                      <a:pt x="269" y="337"/>
                    </a:lnTo>
                    <a:lnTo>
                      <a:pt x="265" y="340"/>
                    </a:lnTo>
                    <a:lnTo>
                      <a:pt x="261" y="345"/>
                    </a:lnTo>
                    <a:lnTo>
                      <a:pt x="255" y="348"/>
                    </a:lnTo>
                    <a:lnTo>
                      <a:pt x="248" y="352"/>
                    </a:lnTo>
                    <a:lnTo>
                      <a:pt x="238" y="353"/>
                    </a:lnTo>
                    <a:lnTo>
                      <a:pt x="200" y="381"/>
                    </a:lnTo>
                    <a:close/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3342" name="Freeform 212"/>
              <p:cNvSpPr>
                <a:spLocks/>
              </p:cNvSpPr>
              <p:nvPr/>
            </p:nvSpPr>
            <p:spPr bwMode="auto">
              <a:xfrm>
                <a:off x="4550" y="832"/>
                <a:ext cx="226" cy="180"/>
              </a:xfrm>
              <a:custGeom>
                <a:avLst/>
                <a:gdLst>
                  <a:gd name="T0" fmla="*/ 27 w 383"/>
                  <a:gd name="T1" fmla="*/ 38 h 334"/>
                  <a:gd name="T2" fmla="*/ 2 w 383"/>
                  <a:gd name="T3" fmla="*/ 38 h 334"/>
                  <a:gd name="T4" fmla="*/ 2 w 383"/>
                  <a:gd name="T5" fmla="*/ 39 h 334"/>
                  <a:gd name="T6" fmla="*/ 1 w 383"/>
                  <a:gd name="T7" fmla="*/ 40 h 334"/>
                  <a:gd name="T8" fmla="*/ 1 w 383"/>
                  <a:gd name="T9" fmla="*/ 40 h 334"/>
                  <a:gd name="T10" fmla="*/ 0 w 383"/>
                  <a:gd name="T11" fmla="*/ 40 h 334"/>
                  <a:gd name="T12" fmla="*/ 1 w 383"/>
                  <a:gd name="T13" fmla="*/ 36 h 334"/>
                  <a:gd name="T14" fmla="*/ 2 w 383"/>
                  <a:gd name="T15" fmla="*/ 33 h 334"/>
                  <a:gd name="T16" fmla="*/ 4 w 383"/>
                  <a:gd name="T17" fmla="*/ 33 h 334"/>
                  <a:gd name="T18" fmla="*/ 6 w 383"/>
                  <a:gd name="T19" fmla="*/ 29 h 334"/>
                  <a:gd name="T20" fmla="*/ 6 w 383"/>
                  <a:gd name="T21" fmla="*/ 28 h 334"/>
                  <a:gd name="T22" fmla="*/ 9 w 383"/>
                  <a:gd name="T23" fmla="*/ 24 h 334"/>
                  <a:gd name="T24" fmla="*/ 10 w 383"/>
                  <a:gd name="T25" fmla="*/ 23 h 334"/>
                  <a:gd name="T26" fmla="*/ 17 w 383"/>
                  <a:gd name="T27" fmla="*/ 17 h 334"/>
                  <a:gd name="T28" fmla="*/ 19 w 383"/>
                  <a:gd name="T29" fmla="*/ 10 h 334"/>
                  <a:gd name="T30" fmla="*/ 21 w 383"/>
                  <a:gd name="T31" fmla="*/ 8 h 334"/>
                  <a:gd name="T32" fmla="*/ 27 w 383"/>
                  <a:gd name="T33" fmla="*/ 5 h 334"/>
                  <a:gd name="T34" fmla="*/ 30 w 383"/>
                  <a:gd name="T35" fmla="*/ 1 h 334"/>
                  <a:gd name="T36" fmla="*/ 31 w 383"/>
                  <a:gd name="T37" fmla="*/ 0 h 334"/>
                  <a:gd name="T38" fmla="*/ 64 w 383"/>
                  <a:gd name="T39" fmla="*/ 0 h 334"/>
                  <a:gd name="T40" fmla="*/ 64 w 383"/>
                  <a:gd name="T41" fmla="*/ 10 h 334"/>
                  <a:gd name="T42" fmla="*/ 40 w 383"/>
                  <a:gd name="T43" fmla="*/ 10 h 334"/>
                  <a:gd name="T44" fmla="*/ 40 w 383"/>
                  <a:gd name="T45" fmla="*/ 25 h 334"/>
                  <a:gd name="T46" fmla="*/ 32 w 383"/>
                  <a:gd name="T47" fmla="*/ 27 h 334"/>
                  <a:gd name="T48" fmla="*/ 31 w 383"/>
                  <a:gd name="T49" fmla="*/ 27 h 334"/>
                  <a:gd name="T50" fmla="*/ 30 w 383"/>
                  <a:gd name="T51" fmla="*/ 29 h 334"/>
                  <a:gd name="T52" fmla="*/ 31 w 383"/>
                  <a:gd name="T53" fmla="*/ 38 h 334"/>
                  <a:gd name="T54" fmla="*/ 27 w 383"/>
                  <a:gd name="T55" fmla="*/ 38 h 3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83"/>
                  <a:gd name="T85" fmla="*/ 0 h 334"/>
                  <a:gd name="T86" fmla="*/ 383 w 383"/>
                  <a:gd name="T87" fmla="*/ 334 h 33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83" h="334">
                    <a:moveTo>
                      <a:pt x="164" y="315"/>
                    </a:moveTo>
                    <a:lnTo>
                      <a:pt x="13" y="315"/>
                    </a:lnTo>
                    <a:lnTo>
                      <a:pt x="11" y="321"/>
                    </a:lnTo>
                    <a:lnTo>
                      <a:pt x="1" y="331"/>
                    </a:lnTo>
                    <a:lnTo>
                      <a:pt x="3" y="330"/>
                    </a:lnTo>
                    <a:lnTo>
                      <a:pt x="0" y="334"/>
                    </a:lnTo>
                    <a:lnTo>
                      <a:pt x="3" y="296"/>
                    </a:lnTo>
                    <a:lnTo>
                      <a:pt x="12" y="274"/>
                    </a:lnTo>
                    <a:lnTo>
                      <a:pt x="23" y="269"/>
                    </a:lnTo>
                    <a:lnTo>
                      <a:pt x="40" y="236"/>
                    </a:lnTo>
                    <a:lnTo>
                      <a:pt x="38" y="229"/>
                    </a:lnTo>
                    <a:lnTo>
                      <a:pt x="57" y="199"/>
                    </a:lnTo>
                    <a:lnTo>
                      <a:pt x="60" y="190"/>
                    </a:lnTo>
                    <a:lnTo>
                      <a:pt x="100" y="135"/>
                    </a:lnTo>
                    <a:lnTo>
                      <a:pt x="116" y="83"/>
                    </a:lnTo>
                    <a:lnTo>
                      <a:pt x="128" y="66"/>
                    </a:lnTo>
                    <a:lnTo>
                      <a:pt x="159" y="46"/>
                    </a:lnTo>
                    <a:lnTo>
                      <a:pt x="178" y="4"/>
                    </a:lnTo>
                    <a:lnTo>
                      <a:pt x="183" y="0"/>
                    </a:lnTo>
                    <a:lnTo>
                      <a:pt x="383" y="0"/>
                    </a:lnTo>
                    <a:lnTo>
                      <a:pt x="383" y="84"/>
                    </a:lnTo>
                    <a:lnTo>
                      <a:pt x="235" y="84"/>
                    </a:lnTo>
                    <a:lnTo>
                      <a:pt x="235" y="211"/>
                    </a:lnTo>
                    <a:lnTo>
                      <a:pt x="191" y="223"/>
                    </a:lnTo>
                    <a:lnTo>
                      <a:pt x="187" y="226"/>
                    </a:lnTo>
                    <a:lnTo>
                      <a:pt x="179" y="239"/>
                    </a:lnTo>
                    <a:lnTo>
                      <a:pt x="185" y="315"/>
                    </a:lnTo>
                    <a:lnTo>
                      <a:pt x="164" y="315"/>
                    </a:lnTo>
                  </a:path>
                </a:pathLst>
              </a:custGeom>
              <a:grpFill/>
              <a:ln w="317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304" name="Freeform 213"/>
            <p:cNvSpPr>
              <a:spLocks/>
            </p:cNvSpPr>
            <p:nvPr/>
          </p:nvSpPr>
          <p:spPr bwMode="auto">
            <a:xfrm>
              <a:off x="4354144" y="4009897"/>
              <a:ext cx="521971" cy="443432"/>
            </a:xfrm>
            <a:custGeom>
              <a:avLst/>
              <a:gdLst>
                <a:gd name="T0" fmla="*/ 0 w 434"/>
                <a:gd name="T1" fmla="*/ 41 h 447"/>
                <a:gd name="T2" fmla="*/ 0 w 434"/>
                <a:gd name="T3" fmla="*/ 24 h 447"/>
                <a:gd name="T4" fmla="*/ 8 w 434"/>
                <a:gd name="T5" fmla="*/ 24 h 447"/>
                <a:gd name="T6" fmla="*/ 8 w 434"/>
                <a:gd name="T7" fmla="*/ 4 h 447"/>
                <a:gd name="T8" fmla="*/ 9 w 434"/>
                <a:gd name="T9" fmla="*/ 3 h 447"/>
                <a:gd name="T10" fmla="*/ 25 w 434"/>
                <a:gd name="T11" fmla="*/ 2 h 447"/>
                <a:gd name="T12" fmla="*/ 27 w 434"/>
                <a:gd name="T13" fmla="*/ 2 h 447"/>
                <a:gd name="T14" fmla="*/ 28 w 434"/>
                <a:gd name="T15" fmla="*/ 3 h 447"/>
                <a:gd name="T16" fmla="*/ 28 w 434"/>
                <a:gd name="T17" fmla="*/ 5 h 447"/>
                <a:gd name="T18" fmla="*/ 31 w 434"/>
                <a:gd name="T19" fmla="*/ 3 h 447"/>
                <a:gd name="T20" fmla="*/ 33 w 434"/>
                <a:gd name="T21" fmla="*/ 2 h 447"/>
                <a:gd name="T22" fmla="*/ 37 w 434"/>
                <a:gd name="T23" fmla="*/ 2 h 447"/>
                <a:gd name="T24" fmla="*/ 37 w 434"/>
                <a:gd name="T25" fmla="*/ 1 h 447"/>
                <a:gd name="T26" fmla="*/ 38 w 434"/>
                <a:gd name="T27" fmla="*/ 1 h 447"/>
                <a:gd name="T28" fmla="*/ 40 w 434"/>
                <a:gd name="T29" fmla="*/ 0 h 447"/>
                <a:gd name="T30" fmla="*/ 41 w 434"/>
                <a:gd name="T31" fmla="*/ 1 h 447"/>
                <a:gd name="T32" fmla="*/ 41 w 434"/>
                <a:gd name="T33" fmla="*/ 1 h 447"/>
                <a:gd name="T34" fmla="*/ 43 w 434"/>
                <a:gd name="T35" fmla="*/ 4 h 447"/>
                <a:gd name="T36" fmla="*/ 45 w 434"/>
                <a:gd name="T37" fmla="*/ 5 h 447"/>
                <a:gd name="T38" fmla="*/ 46 w 434"/>
                <a:gd name="T39" fmla="*/ 7 h 447"/>
                <a:gd name="T40" fmla="*/ 52 w 434"/>
                <a:gd name="T41" fmla="*/ 12 h 447"/>
                <a:gd name="T42" fmla="*/ 54 w 434"/>
                <a:gd name="T43" fmla="*/ 13 h 447"/>
                <a:gd name="T44" fmla="*/ 56 w 434"/>
                <a:gd name="T45" fmla="*/ 14 h 447"/>
                <a:gd name="T46" fmla="*/ 58 w 434"/>
                <a:gd name="T47" fmla="*/ 15 h 447"/>
                <a:gd name="T48" fmla="*/ 59 w 434"/>
                <a:gd name="T49" fmla="*/ 16 h 447"/>
                <a:gd name="T50" fmla="*/ 61 w 434"/>
                <a:gd name="T51" fmla="*/ 17 h 447"/>
                <a:gd name="T52" fmla="*/ 62 w 434"/>
                <a:gd name="T53" fmla="*/ 20 h 447"/>
                <a:gd name="T54" fmla="*/ 62 w 434"/>
                <a:gd name="T55" fmla="*/ 22 h 447"/>
                <a:gd name="T56" fmla="*/ 64 w 434"/>
                <a:gd name="T57" fmla="*/ 22 h 447"/>
                <a:gd name="T58" fmla="*/ 65 w 434"/>
                <a:gd name="T59" fmla="*/ 23 h 447"/>
                <a:gd name="T60" fmla="*/ 68 w 434"/>
                <a:gd name="T61" fmla="*/ 23 h 447"/>
                <a:gd name="T62" fmla="*/ 73 w 434"/>
                <a:gd name="T63" fmla="*/ 25 h 447"/>
                <a:gd name="T64" fmla="*/ 73 w 434"/>
                <a:gd name="T65" fmla="*/ 26 h 447"/>
                <a:gd name="T66" fmla="*/ 64 w 434"/>
                <a:gd name="T67" fmla="*/ 28 h 447"/>
                <a:gd name="T68" fmla="*/ 47 w 434"/>
                <a:gd name="T69" fmla="*/ 41 h 447"/>
                <a:gd name="T70" fmla="*/ 44 w 434"/>
                <a:gd name="T71" fmla="*/ 44 h 447"/>
                <a:gd name="T72" fmla="*/ 43 w 434"/>
                <a:gd name="T73" fmla="*/ 45 h 447"/>
                <a:gd name="T74" fmla="*/ 37 w 434"/>
                <a:gd name="T75" fmla="*/ 46 h 447"/>
                <a:gd name="T76" fmla="*/ 36 w 434"/>
                <a:gd name="T77" fmla="*/ 46 h 447"/>
                <a:gd name="T78" fmla="*/ 31 w 434"/>
                <a:gd name="T79" fmla="*/ 44 h 447"/>
                <a:gd name="T80" fmla="*/ 28 w 434"/>
                <a:gd name="T81" fmla="*/ 44 h 447"/>
                <a:gd name="T82" fmla="*/ 27 w 434"/>
                <a:gd name="T83" fmla="*/ 44 h 447"/>
                <a:gd name="T84" fmla="*/ 23 w 434"/>
                <a:gd name="T85" fmla="*/ 48 h 447"/>
                <a:gd name="T86" fmla="*/ 23 w 434"/>
                <a:gd name="T87" fmla="*/ 48 h 447"/>
                <a:gd name="T88" fmla="*/ 22 w 434"/>
                <a:gd name="T89" fmla="*/ 49 h 447"/>
                <a:gd name="T90" fmla="*/ 20 w 434"/>
                <a:gd name="T91" fmla="*/ 50 h 447"/>
                <a:gd name="T92" fmla="*/ 18 w 434"/>
                <a:gd name="T93" fmla="*/ 52 h 447"/>
                <a:gd name="T94" fmla="*/ 13 w 434"/>
                <a:gd name="T95" fmla="*/ 53 h 447"/>
                <a:gd name="T96" fmla="*/ 7 w 434"/>
                <a:gd name="T97" fmla="*/ 52 h 447"/>
                <a:gd name="T98" fmla="*/ 6 w 434"/>
                <a:gd name="T99" fmla="*/ 51 h 447"/>
                <a:gd name="T100" fmla="*/ 8 w 434"/>
                <a:gd name="T101" fmla="*/ 48 h 447"/>
                <a:gd name="T102" fmla="*/ 7 w 434"/>
                <a:gd name="T103" fmla="*/ 46 h 447"/>
                <a:gd name="T104" fmla="*/ 6 w 434"/>
                <a:gd name="T105" fmla="*/ 44 h 447"/>
                <a:gd name="T106" fmla="*/ 4 w 434"/>
                <a:gd name="T107" fmla="*/ 43 h 447"/>
                <a:gd name="T108" fmla="*/ 4 w 434"/>
                <a:gd name="T109" fmla="*/ 43 h 447"/>
                <a:gd name="T110" fmla="*/ 2 w 434"/>
                <a:gd name="T111" fmla="*/ 42 h 447"/>
                <a:gd name="T112" fmla="*/ 2 w 434"/>
                <a:gd name="T113" fmla="*/ 41 h 447"/>
                <a:gd name="T114" fmla="*/ 1 w 434"/>
                <a:gd name="T115" fmla="*/ 41 h 447"/>
                <a:gd name="T116" fmla="*/ 0 w 434"/>
                <a:gd name="T117" fmla="*/ 41 h 44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4"/>
                <a:gd name="T178" fmla="*/ 0 h 447"/>
                <a:gd name="T179" fmla="*/ 434 w 434"/>
                <a:gd name="T180" fmla="*/ 447 h 44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4" h="447">
                  <a:moveTo>
                    <a:pt x="0" y="342"/>
                  </a:moveTo>
                  <a:lnTo>
                    <a:pt x="0" y="205"/>
                  </a:lnTo>
                  <a:lnTo>
                    <a:pt x="47" y="205"/>
                  </a:lnTo>
                  <a:lnTo>
                    <a:pt x="47" y="34"/>
                  </a:lnTo>
                  <a:lnTo>
                    <a:pt x="51" y="30"/>
                  </a:lnTo>
                  <a:lnTo>
                    <a:pt x="152" y="17"/>
                  </a:lnTo>
                  <a:lnTo>
                    <a:pt x="161" y="20"/>
                  </a:lnTo>
                  <a:lnTo>
                    <a:pt x="166" y="29"/>
                  </a:lnTo>
                  <a:lnTo>
                    <a:pt x="168" y="42"/>
                  </a:lnTo>
                  <a:lnTo>
                    <a:pt x="182" y="26"/>
                  </a:lnTo>
                  <a:lnTo>
                    <a:pt x="195" y="17"/>
                  </a:lnTo>
                  <a:lnTo>
                    <a:pt x="218" y="11"/>
                  </a:lnTo>
                  <a:lnTo>
                    <a:pt x="222" y="5"/>
                  </a:lnTo>
                  <a:lnTo>
                    <a:pt x="228" y="1"/>
                  </a:lnTo>
                  <a:lnTo>
                    <a:pt x="238" y="0"/>
                  </a:lnTo>
                  <a:lnTo>
                    <a:pt x="243" y="2"/>
                  </a:lnTo>
                  <a:lnTo>
                    <a:pt x="244" y="10"/>
                  </a:lnTo>
                  <a:lnTo>
                    <a:pt x="256" y="33"/>
                  </a:lnTo>
                  <a:lnTo>
                    <a:pt x="265" y="42"/>
                  </a:lnTo>
                  <a:lnTo>
                    <a:pt x="273" y="62"/>
                  </a:lnTo>
                  <a:lnTo>
                    <a:pt x="308" y="105"/>
                  </a:lnTo>
                  <a:lnTo>
                    <a:pt x="322" y="108"/>
                  </a:lnTo>
                  <a:lnTo>
                    <a:pt x="333" y="115"/>
                  </a:lnTo>
                  <a:lnTo>
                    <a:pt x="341" y="126"/>
                  </a:lnTo>
                  <a:lnTo>
                    <a:pt x="351" y="130"/>
                  </a:lnTo>
                  <a:lnTo>
                    <a:pt x="359" y="139"/>
                  </a:lnTo>
                  <a:lnTo>
                    <a:pt x="363" y="173"/>
                  </a:lnTo>
                  <a:lnTo>
                    <a:pt x="369" y="183"/>
                  </a:lnTo>
                  <a:lnTo>
                    <a:pt x="376" y="190"/>
                  </a:lnTo>
                  <a:lnTo>
                    <a:pt x="383" y="194"/>
                  </a:lnTo>
                  <a:lnTo>
                    <a:pt x="405" y="196"/>
                  </a:lnTo>
                  <a:lnTo>
                    <a:pt x="434" y="212"/>
                  </a:lnTo>
                  <a:lnTo>
                    <a:pt x="432" y="215"/>
                  </a:lnTo>
                  <a:lnTo>
                    <a:pt x="379" y="242"/>
                  </a:lnTo>
                  <a:lnTo>
                    <a:pt x="275" y="348"/>
                  </a:lnTo>
                  <a:lnTo>
                    <a:pt x="262" y="376"/>
                  </a:lnTo>
                  <a:lnTo>
                    <a:pt x="258" y="381"/>
                  </a:lnTo>
                  <a:lnTo>
                    <a:pt x="222" y="390"/>
                  </a:lnTo>
                  <a:lnTo>
                    <a:pt x="210" y="389"/>
                  </a:lnTo>
                  <a:lnTo>
                    <a:pt x="180" y="375"/>
                  </a:lnTo>
                  <a:lnTo>
                    <a:pt x="167" y="373"/>
                  </a:lnTo>
                  <a:lnTo>
                    <a:pt x="158" y="377"/>
                  </a:lnTo>
                  <a:lnTo>
                    <a:pt x="136" y="400"/>
                  </a:lnTo>
                  <a:lnTo>
                    <a:pt x="134" y="406"/>
                  </a:lnTo>
                  <a:lnTo>
                    <a:pt x="127" y="415"/>
                  </a:lnTo>
                  <a:lnTo>
                    <a:pt x="117" y="421"/>
                  </a:lnTo>
                  <a:lnTo>
                    <a:pt x="104" y="440"/>
                  </a:lnTo>
                  <a:lnTo>
                    <a:pt x="76" y="447"/>
                  </a:lnTo>
                  <a:lnTo>
                    <a:pt x="39" y="442"/>
                  </a:lnTo>
                  <a:lnTo>
                    <a:pt x="36" y="435"/>
                  </a:lnTo>
                  <a:lnTo>
                    <a:pt x="45" y="406"/>
                  </a:lnTo>
                  <a:lnTo>
                    <a:pt x="43" y="386"/>
                  </a:lnTo>
                  <a:lnTo>
                    <a:pt x="36" y="377"/>
                  </a:lnTo>
                  <a:lnTo>
                    <a:pt x="26" y="367"/>
                  </a:lnTo>
                  <a:lnTo>
                    <a:pt x="22" y="361"/>
                  </a:lnTo>
                  <a:lnTo>
                    <a:pt x="12" y="351"/>
                  </a:lnTo>
                  <a:lnTo>
                    <a:pt x="10" y="347"/>
                  </a:lnTo>
                  <a:lnTo>
                    <a:pt x="4" y="342"/>
                  </a:lnTo>
                  <a:lnTo>
                    <a:pt x="0" y="342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5" name="Freeform 214"/>
            <p:cNvSpPr>
              <a:spLocks/>
            </p:cNvSpPr>
            <p:nvPr/>
          </p:nvSpPr>
          <p:spPr bwMode="auto">
            <a:xfrm>
              <a:off x="4354144" y="4009897"/>
              <a:ext cx="521971" cy="443432"/>
            </a:xfrm>
            <a:custGeom>
              <a:avLst/>
              <a:gdLst>
                <a:gd name="T0" fmla="*/ 0 w 434"/>
                <a:gd name="T1" fmla="*/ 41 h 447"/>
                <a:gd name="T2" fmla="*/ 0 w 434"/>
                <a:gd name="T3" fmla="*/ 24 h 447"/>
                <a:gd name="T4" fmla="*/ 8 w 434"/>
                <a:gd name="T5" fmla="*/ 24 h 447"/>
                <a:gd name="T6" fmla="*/ 8 w 434"/>
                <a:gd name="T7" fmla="*/ 4 h 447"/>
                <a:gd name="T8" fmla="*/ 9 w 434"/>
                <a:gd name="T9" fmla="*/ 3 h 447"/>
                <a:gd name="T10" fmla="*/ 25 w 434"/>
                <a:gd name="T11" fmla="*/ 2 h 447"/>
                <a:gd name="T12" fmla="*/ 27 w 434"/>
                <a:gd name="T13" fmla="*/ 2 h 447"/>
                <a:gd name="T14" fmla="*/ 28 w 434"/>
                <a:gd name="T15" fmla="*/ 3 h 447"/>
                <a:gd name="T16" fmla="*/ 28 w 434"/>
                <a:gd name="T17" fmla="*/ 5 h 447"/>
                <a:gd name="T18" fmla="*/ 31 w 434"/>
                <a:gd name="T19" fmla="*/ 3 h 447"/>
                <a:gd name="T20" fmla="*/ 33 w 434"/>
                <a:gd name="T21" fmla="*/ 2 h 447"/>
                <a:gd name="T22" fmla="*/ 37 w 434"/>
                <a:gd name="T23" fmla="*/ 2 h 447"/>
                <a:gd name="T24" fmla="*/ 37 w 434"/>
                <a:gd name="T25" fmla="*/ 1 h 447"/>
                <a:gd name="T26" fmla="*/ 38 w 434"/>
                <a:gd name="T27" fmla="*/ 1 h 447"/>
                <a:gd name="T28" fmla="*/ 40 w 434"/>
                <a:gd name="T29" fmla="*/ 0 h 447"/>
                <a:gd name="T30" fmla="*/ 41 w 434"/>
                <a:gd name="T31" fmla="*/ 1 h 447"/>
                <a:gd name="T32" fmla="*/ 41 w 434"/>
                <a:gd name="T33" fmla="*/ 1 h 447"/>
                <a:gd name="T34" fmla="*/ 43 w 434"/>
                <a:gd name="T35" fmla="*/ 4 h 447"/>
                <a:gd name="T36" fmla="*/ 45 w 434"/>
                <a:gd name="T37" fmla="*/ 5 h 447"/>
                <a:gd name="T38" fmla="*/ 46 w 434"/>
                <a:gd name="T39" fmla="*/ 7 h 447"/>
                <a:gd name="T40" fmla="*/ 52 w 434"/>
                <a:gd name="T41" fmla="*/ 12 h 447"/>
                <a:gd name="T42" fmla="*/ 54 w 434"/>
                <a:gd name="T43" fmla="*/ 13 h 447"/>
                <a:gd name="T44" fmla="*/ 56 w 434"/>
                <a:gd name="T45" fmla="*/ 14 h 447"/>
                <a:gd name="T46" fmla="*/ 58 w 434"/>
                <a:gd name="T47" fmla="*/ 15 h 447"/>
                <a:gd name="T48" fmla="*/ 59 w 434"/>
                <a:gd name="T49" fmla="*/ 16 h 447"/>
                <a:gd name="T50" fmla="*/ 61 w 434"/>
                <a:gd name="T51" fmla="*/ 17 h 447"/>
                <a:gd name="T52" fmla="*/ 62 w 434"/>
                <a:gd name="T53" fmla="*/ 20 h 447"/>
                <a:gd name="T54" fmla="*/ 62 w 434"/>
                <a:gd name="T55" fmla="*/ 22 h 447"/>
                <a:gd name="T56" fmla="*/ 64 w 434"/>
                <a:gd name="T57" fmla="*/ 22 h 447"/>
                <a:gd name="T58" fmla="*/ 65 w 434"/>
                <a:gd name="T59" fmla="*/ 23 h 447"/>
                <a:gd name="T60" fmla="*/ 68 w 434"/>
                <a:gd name="T61" fmla="*/ 23 h 447"/>
                <a:gd name="T62" fmla="*/ 73 w 434"/>
                <a:gd name="T63" fmla="*/ 25 h 447"/>
                <a:gd name="T64" fmla="*/ 73 w 434"/>
                <a:gd name="T65" fmla="*/ 26 h 447"/>
                <a:gd name="T66" fmla="*/ 64 w 434"/>
                <a:gd name="T67" fmla="*/ 28 h 447"/>
                <a:gd name="T68" fmla="*/ 47 w 434"/>
                <a:gd name="T69" fmla="*/ 41 h 447"/>
                <a:gd name="T70" fmla="*/ 44 w 434"/>
                <a:gd name="T71" fmla="*/ 44 h 447"/>
                <a:gd name="T72" fmla="*/ 43 w 434"/>
                <a:gd name="T73" fmla="*/ 45 h 447"/>
                <a:gd name="T74" fmla="*/ 37 w 434"/>
                <a:gd name="T75" fmla="*/ 46 h 447"/>
                <a:gd name="T76" fmla="*/ 36 w 434"/>
                <a:gd name="T77" fmla="*/ 46 h 447"/>
                <a:gd name="T78" fmla="*/ 31 w 434"/>
                <a:gd name="T79" fmla="*/ 44 h 447"/>
                <a:gd name="T80" fmla="*/ 28 w 434"/>
                <a:gd name="T81" fmla="*/ 44 h 447"/>
                <a:gd name="T82" fmla="*/ 27 w 434"/>
                <a:gd name="T83" fmla="*/ 44 h 447"/>
                <a:gd name="T84" fmla="*/ 23 w 434"/>
                <a:gd name="T85" fmla="*/ 48 h 447"/>
                <a:gd name="T86" fmla="*/ 23 w 434"/>
                <a:gd name="T87" fmla="*/ 48 h 447"/>
                <a:gd name="T88" fmla="*/ 22 w 434"/>
                <a:gd name="T89" fmla="*/ 49 h 447"/>
                <a:gd name="T90" fmla="*/ 20 w 434"/>
                <a:gd name="T91" fmla="*/ 50 h 447"/>
                <a:gd name="T92" fmla="*/ 18 w 434"/>
                <a:gd name="T93" fmla="*/ 52 h 447"/>
                <a:gd name="T94" fmla="*/ 13 w 434"/>
                <a:gd name="T95" fmla="*/ 53 h 447"/>
                <a:gd name="T96" fmla="*/ 7 w 434"/>
                <a:gd name="T97" fmla="*/ 52 h 447"/>
                <a:gd name="T98" fmla="*/ 6 w 434"/>
                <a:gd name="T99" fmla="*/ 51 h 447"/>
                <a:gd name="T100" fmla="*/ 8 w 434"/>
                <a:gd name="T101" fmla="*/ 48 h 447"/>
                <a:gd name="T102" fmla="*/ 7 w 434"/>
                <a:gd name="T103" fmla="*/ 46 h 447"/>
                <a:gd name="T104" fmla="*/ 6 w 434"/>
                <a:gd name="T105" fmla="*/ 44 h 447"/>
                <a:gd name="T106" fmla="*/ 4 w 434"/>
                <a:gd name="T107" fmla="*/ 43 h 447"/>
                <a:gd name="T108" fmla="*/ 4 w 434"/>
                <a:gd name="T109" fmla="*/ 43 h 447"/>
                <a:gd name="T110" fmla="*/ 2 w 434"/>
                <a:gd name="T111" fmla="*/ 42 h 447"/>
                <a:gd name="T112" fmla="*/ 2 w 434"/>
                <a:gd name="T113" fmla="*/ 41 h 447"/>
                <a:gd name="T114" fmla="*/ 1 w 434"/>
                <a:gd name="T115" fmla="*/ 41 h 447"/>
                <a:gd name="T116" fmla="*/ 0 w 434"/>
                <a:gd name="T117" fmla="*/ 41 h 44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34"/>
                <a:gd name="T178" fmla="*/ 0 h 447"/>
                <a:gd name="T179" fmla="*/ 434 w 434"/>
                <a:gd name="T180" fmla="*/ 447 h 44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34" h="447">
                  <a:moveTo>
                    <a:pt x="0" y="342"/>
                  </a:moveTo>
                  <a:lnTo>
                    <a:pt x="0" y="205"/>
                  </a:lnTo>
                  <a:lnTo>
                    <a:pt x="47" y="205"/>
                  </a:lnTo>
                  <a:lnTo>
                    <a:pt x="47" y="34"/>
                  </a:lnTo>
                  <a:lnTo>
                    <a:pt x="51" y="30"/>
                  </a:lnTo>
                  <a:lnTo>
                    <a:pt x="152" y="17"/>
                  </a:lnTo>
                  <a:lnTo>
                    <a:pt x="161" y="20"/>
                  </a:lnTo>
                  <a:lnTo>
                    <a:pt x="166" y="29"/>
                  </a:lnTo>
                  <a:lnTo>
                    <a:pt x="168" y="42"/>
                  </a:lnTo>
                  <a:lnTo>
                    <a:pt x="182" y="26"/>
                  </a:lnTo>
                  <a:lnTo>
                    <a:pt x="195" y="17"/>
                  </a:lnTo>
                  <a:lnTo>
                    <a:pt x="218" y="11"/>
                  </a:lnTo>
                  <a:lnTo>
                    <a:pt x="222" y="5"/>
                  </a:lnTo>
                  <a:lnTo>
                    <a:pt x="228" y="1"/>
                  </a:lnTo>
                  <a:lnTo>
                    <a:pt x="238" y="0"/>
                  </a:lnTo>
                  <a:lnTo>
                    <a:pt x="243" y="2"/>
                  </a:lnTo>
                  <a:lnTo>
                    <a:pt x="244" y="10"/>
                  </a:lnTo>
                  <a:lnTo>
                    <a:pt x="256" y="33"/>
                  </a:lnTo>
                  <a:lnTo>
                    <a:pt x="265" y="42"/>
                  </a:lnTo>
                  <a:lnTo>
                    <a:pt x="273" y="62"/>
                  </a:lnTo>
                  <a:lnTo>
                    <a:pt x="308" y="105"/>
                  </a:lnTo>
                  <a:lnTo>
                    <a:pt x="322" y="108"/>
                  </a:lnTo>
                  <a:lnTo>
                    <a:pt x="333" y="115"/>
                  </a:lnTo>
                  <a:lnTo>
                    <a:pt x="341" y="126"/>
                  </a:lnTo>
                  <a:lnTo>
                    <a:pt x="351" y="130"/>
                  </a:lnTo>
                  <a:lnTo>
                    <a:pt x="359" y="139"/>
                  </a:lnTo>
                  <a:lnTo>
                    <a:pt x="363" y="173"/>
                  </a:lnTo>
                  <a:lnTo>
                    <a:pt x="369" y="183"/>
                  </a:lnTo>
                  <a:lnTo>
                    <a:pt x="376" y="190"/>
                  </a:lnTo>
                  <a:lnTo>
                    <a:pt x="383" y="194"/>
                  </a:lnTo>
                  <a:lnTo>
                    <a:pt x="405" y="196"/>
                  </a:lnTo>
                  <a:lnTo>
                    <a:pt x="434" y="212"/>
                  </a:lnTo>
                  <a:lnTo>
                    <a:pt x="432" y="215"/>
                  </a:lnTo>
                  <a:lnTo>
                    <a:pt x="379" y="242"/>
                  </a:lnTo>
                  <a:lnTo>
                    <a:pt x="275" y="348"/>
                  </a:lnTo>
                  <a:lnTo>
                    <a:pt x="262" y="376"/>
                  </a:lnTo>
                  <a:lnTo>
                    <a:pt x="258" y="381"/>
                  </a:lnTo>
                  <a:lnTo>
                    <a:pt x="222" y="390"/>
                  </a:lnTo>
                  <a:lnTo>
                    <a:pt x="210" y="389"/>
                  </a:lnTo>
                  <a:lnTo>
                    <a:pt x="180" y="375"/>
                  </a:lnTo>
                  <a:lnTo>
                    <a:pt x="167" y="373"/>
                  </a:lnTo>
                  <a:lnTo>
                    <a:pt x="158" y="377"/>
                  </a:lnTo>
                  <a:lnTo>
                    <a:pt x="136" y="400"/>
                  </a:lnTo>
                  <a:lnTo>
                    <a:pt x="134" y="406"/>
                  </a:lnTo>
                  <a:lnTo>
                    <a:pt x="127" y="415"/>
                  </a:lnTo>
                  <a:lnTo>
                    <a:pt x="117" y="421"/>
                  </a:lnTo>
                  <a:lnTo>
                    <a:pt x="104" y="440"/>
                  </a:lnTo>
                  <a:lnTo>
                    <a:pt x="76" y="447"/>
                  </a:lnTo>
                  <a:lnTo>
                    <a:pt x="39" y="442"/>
                  </a:lnTo>
                  <a:lnTo>
                    <a:pt x="36" y="435"/>
                  </a:lnTo>
                  <a:lnTo>
                    <a:pt x="45" y="406"/>
                  </a:lnTo>
                  <a:lnTo>
                    <a:pt x="43" y="386"/>
                  </a:lnTo>
                  <a:lnTo>
                    <a:pt x="36" y="377"/>
                  </a:lnTo>
                  <a:lnTo>
                    <a:pt x="26" y="367"/>
                  </a:lnTo>
                  <a:lnTo>
                    <a:pt x="22" y="361"/>
                  </a:lnTo>
                  <a:lnTo>
                    <a:pt x="12" y="351"/>
                  </a:lnTo>
                  <a:lnTo>
                    <a:pt x="10" y="347"/>
                  </a:lnTo>
                  <a:lnTo>
                    <a:pt x="4" y="342"/>
                  </a:lnTo>
                  <a:lnTo>
                    <a:pt x="0" y="34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6" name="Freeform 215"/>
            <p:cNvSpPr>
              <a:spLocks/>
            </p:cNvSpPr>
            <p:nvPr/>
          </p:nvSpPr>
          <p:spPr bwMode="auto">
            <a:xfrm>
              <a:off x="1876302" y="2399444"/>
              <a:ext cx="20310" cy="11132"/>
            </a:xfrm>
            <a:custGeom>
              <a:avLst/>
              <a:gdLst>
                <a:gd name="T0" fmla="*/ 2 w 17"/>
                <a:gd name="T1" fmla="*/ 0 h 11"/>
                <a:gd name="T2" fmla="*/ 0 w 17"/>
                <a:gd name="T3" fmla="*/ 1 h 11"/>
                <a:gd name="T4" fmla="*/ 1 w 17"/>
                <a:gd name="T5" fmla="*/ 1 h 11"/>
                <a:gd name="T6" fmla="*/ 1 w 17"/>
                <a:gd name="T7" fmla="*/ 2 h 11"/>
                <a:gd name="T8" fmla="*/ 2 w 17"/>
                <a:gd name="T9" fmla="*/ 1 h 11"/>
                <a:gd name="T10" fmla="*/ 3 w 17"/>
                <a:gd name="T11" fmla="*/ 1 h 11"/>
                <a:gd name="T12" fmla="*/ 3 w 17"/>
                <a:gd name="T13" fmla="*/ 1 h 11"/>
                <a:gd name="T14" fmla="*/ 2 w 17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5" y="0"/>
                  </a:moveTo>
                  <a:lnTo>
                    <a:pt x="0" y="1"/>
                  </a:lnTo>
                  <a:lnTo>
                    <a:pt x="1" y="9"/>
                  </a:lnTo>
                  <a:lnTo>
                    <a:pt x="3" y="11"/>
                  </a:lnTo>
                  <a:lnTo>
                    <a:pt x="10" y="8"/>
                  </a:lnTo>
                  <a:lnTo>
                    <a:pt x="16" y="5"/>
                  </a:lnTo>
                  <a:lnTo>
                    <a:pt x="17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7" name="Freeform 216"/>
            <p:cNvSpPr>
              <a:spLocks/>
            </p:cNvSpPr>
            <p:nvPr/>
          </p:nvSpPr>
          <p:spPr bwMode="auto">
            <a:xfrm>
              <a:off x="1876302" y="2399444"/>
              <a:ext cx="20310" cy="11132"/>
            </a:xfrm>
            <a:custGeom>
              <a:avLst/>
              <a:gdLst>
                <a:gd name="T0" fmla="*/ 2 w 17"/>
                <a:gd name="T1" fmla="*/ 0 h 11"/>
                <a:gd name="T2" fmla="*/ 0 w 17"/>
                <a:gd name="T3" fmla="*/ 1 h 11"/>
                <a:gd name="T4" fmla="*/ 1 w 17"/>
                <a:gd name="T5" fmla="*/ 1 h 11"/>
                <a:gd name="T6" fmla="*/ 1 w 17"/>
                <a:gd name="T7" fmla="*/ 2 h 11"/>
                <a:gd name="T8" fmla="*/ 2 w 17"/>
                <a:gd name="T9" fmla="*/ 1 h 11"/>
                <a:gd name="T10" fmla="*/ 3 w 17"/>
                <a:gd name="T11" fmla="*/ 1 h 11"/>
                <a:gd name="T12" fmla="*/ 3 w 17"/>
                <a:gd name="T13" fmla="*/ 1 h 11"/>
                <a:gd name="T14" fmla="*/ 2 w 17"/>
                <a:gd name="T15" fmla="*/ 0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11"/>
                <a:gd name="T26" fmla="*/ 17 w 17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11">
                  <a:moveTo>
                    <a:pt x="15" y="0"/>
                  </a:moveTo>
                  <a:lnTo>
                    <a:pt x="0" y="1"/>
                  </a:lnTo>
                  <a:lnTo>
                    <a:pt x="1" y="9"/>
                  </a:lnTo>
                  <a:lnTo>
                    <a:pt x="3" y="11"/>
                  </a:lnTo>
                  <a:lnTo>
                    <a:pt x="10" y="8"/>
                  </a:lnTo>
                  <a:lnTo>
                    <a:pt x="16" y="5"/>
                  </a:lnTo>
                  <a:lnTo>
                    <a:pt x="17" y="2"/>
                  </a:lnTo>
                  <a:lnTo>
                    <a:pt x="1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8" name="Freeform 217"/>
            <p:cNvSpPr>
              <a:spLocks/>
            </p:cNvSpPr>
            <p:nvPr/>
          </p:nvSpPr>
          <p:spPr bwMode="auto">
            <a:xfrm>
              <a:off x="1929108" y="2421708"/>
              <a:ext cx="24372" cy="7422"/>
            </a:xfrm>
            <a:custGeom>
              <a:avLst/>
              <a:gdLst>
                <a:gd name="T0" fmla="*/ 4 w 19"/>
                <a:gd name="T1" fmla="*/ 1 h 7"/>
                <a:gd name="T2" fmla="*/ 4 w 19"/>
                <a:gd name="T3" fmla="*/ 1 h 7"/>
                <a:gd name="T4" fmla="*/ 1 w 19"/>
                <a:gd name="T5" fmla="*/ 0 h 7"/>
                <a:gd name="T6" fmla="*/ 0 w 19"/>
                <a:gd name="T7" fmla="*/ 1 h 7"/>
                <a:gd name="T8" fmla="*/ 1 w 19"/>
                <a:gd name="T9" fmla="*/ 1 h 7"/>
                <a:gd name="T10" fmla="*/ 1 w 19"/>
                <a:gd name="T11" fmla="*/ 1 h 7"/>
                <a:gd name="T12" fmla="*/ 4 w 19"/>
                <a:gd name="T13" fmla="*/ 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7"/>
                <a:gd name="T23" fmla="*/ 19 w 1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7">
                  <a:moveTo>
                    <a:pt x="19" y="3"/>
                  </a:moveTo>
                  <a:lnTo>
                    <a:pt x="17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4"/>
                  </a:lnTo>
                  <a:lnTo>
                    <a:pt x="19" y="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09" name="Freeform 218"/>
            <p:cNvSpPr>
              <a:spLocks/>
            </p:cNvSpPr>
            <p:nvPr/>
          </p:nvSpPr>
          <p:spPr bwMode="auto">
            <a:xfrm>
              <a:off x="1929108" y="2421708"/>
              <a:ext cx="24372" cy="7422"/>
            </a:xfrm>
            <a:custGeom>
              <a:avLst/>
              <a:gdLst>
                <a:gd name="T0" fmla="*/ 4 w 19"/>
                <a:gd name="T1" fmla="*/ 1 h 7"/>
                <a:gd name="T2" fmla="*/ 4 w 19"/>
                <a:gd name="T3" fmla="*/ 1 h 7"/>
                <a:gd name="T4" fmla="*/ 1 w 19"/>
                <a:gd name="T5" fmla="*/ 0 h 7"/>
                <a:gd name="T6" fmla="*/ 0 w 19"/>
                <a:gd name="T7" fmla="*/ 1 h 7"/>
                <a:gd name="T8" fmla="*/ 1 w 19"/>
                <a:gd name="T9" fmla="*/ 1 h 7"/>
                <a:gd name="T10" fmla="*/ 1 w 19"/>
                <a:gd name="T11" fmla="*/ 1 h 7"/>
                <a:gd name="T12" fmla="*/ 4 w 19"/>
                <a:gd name="T13" fmla="*/ 1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7"/>
                <a:gd name="T23" fmla="*/ 19 w 19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7">
                  <a:moveTo>
                    <a:pt x="19" y="3"/>
                  </a:moveTo>
                  <a:lnTo>
                    <a:pt x="17" y="2"/>
                  </a:lnTo>
                  <a:lnTo>
                    <a:pt x="2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4"/>
                  </a:lnTo>
                  <a:lnTo>
                    <a:pt x="19" y="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0" name="Freeform 219"/>
            <p:cNvSpPr>
              <a:spLocks/>
            </p:cNvSpPr>
            <p:nvPr/>
          </p:nvSpPr>
          <p:spPr bwMode="auto">
            <a:xfrm>
              <a:off x="2004255" y="2410576"/>
              <a:ext cx="8124" cy="11132"/>
            </a:xfrm>
            <a:custGeom>
              <a:avLst/>
              <a:gdLst>
                <a:gd name="T0" fmla="*/ 1 w 6"/>
                <a:gd name="T1" fmla="*/ 0 h 11"/>
                <a:gd name="T2" fmla="*/ 0 w 6"/>
                <a:gd name="T3" fmla="*/ 2 h 11"/>
                <a:gd name="T4" fmla="*/ 1 w 6"/>
                <a:gd name="T5" fmla="*/ 2 h 11"/>
                <a:gd name="T6" fmla="*/ 1 w 6"/>
                <a:gd name="T7" fmla="*/ 1 h 11"/>
                <a:gd name="T8" fmla="*/ 1 w 6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0"/>
                  </a:moveTo>
                  <a:lnTo>
                    <a:pt x="0" y="11"/>
                  </a:lnTo>
                  <a:lnTo>
                    <a:pt x="5" y="11"/>
                  </a:lnTo>
                  <a:lnTo>
                    <a:pt x="6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1" name="Freeform 220"/>
            <p:cNvSpPr>
              <a:spLocks/>
            </p:cNvSpPr>
            <p:nvPr/>
          </p:nvSpPr>
          <p:spPr bwMode="auto">
            <a:xfrm>
              <a:off x="2004255" y="2410576"/>
              <a:ext cx="8124" cy="11132"/>
            </a:xfrm>
            <a:custGeom>
              <a:avLst/>
              <a:gdLst>
                <a:gd name="T0" fmla="*/ 1 w 6"/>
                <a:gd name="T1" fmla="*/ 0 h 11"/>
                <a:gd name="T2" fmla="*/ 0 w 6"/>
                <a:gd name="T3" fmla="*/ 2 h 11"/>
                <a:gd name="T4" fmla="*/ 1 w 6"/>
                <a:gd name="T5" fmla="*/ 2 h 11"/>
                <a:gd name="T6" fmla="*/ 1 w 6"/>
                <a:gd name="T7" fmla="*/ 1 h 11"/>
                <a:gd name="T8" fmla="*/ 1 w 6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0"/>
                  </a:moveTo>
                  <a:lnTo>
                    <a:pt x="0" y="11"/>
                  </a:lnTo>
                  <a:lnTo>
                    <a:pt x="5" y="11"/>
                  </a:lnTo>
                  <a:lnTo>
                    <a:pt x="6" y="4"/>
                  </a:lnTo>
                  <a:lnTo>
                    <a:pt x="3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2" name="Freeform 221"/>
            <p:cNvSpPr>
              <a:spLocks/>
            </p:cNvSpPr>
            <p:nvPr/>
          </p:nvSpPr>
          <p:spPr bwMode="auto">
            <a:xfrm>
              <a:off x="2010349" y="2447683"/>
              <a:ext cx="14216" cy="9277"/>
            </a:xfrm>
            <a:custGeom>
              <a:avLst/>
              <a:gdLst>
                <a:gd name="T0" fmla="*/ 1 w 13"/>
                <a:gd name="T1" fmla="*/ 0 h 11"/>
                <a:gd name="T2" fmla="*/ 1 w 13"/>
                <a:gd name="T3" fmla="*/ 0 h 11"/>
                <a:gd name="T4" fmla="*/ 2 w 13"/>
                <a:gd name="T5" fmla="*/ 0 h 11"/>
                <a:gd name="T6" fmla="*/ 2 w 13"/>
                <a:gd name="T7" fmla="*/ 0 h 11"/>
                <a:gd name="T8" fmla="*/ 1 w 13"/>
                <a:gd name="T9" fmla="*/ 0 h 11"/>
                <a:gd name="T10" fmla="*/ 1 w 13"/>
                <a:gd name="T11" fmla="*/ 0 h 11"/>
                <a:gd name="T12" fmla="*/ 1 w 13"/>
                <a:gd name="T13" fmla="*/ 0 h 11"/>
                <a:gd name="T14" fmla="*/ 0 w 13"/>
                <a:gd name="T15" fmla="*/ 0 h 11"/>
                <a:gd name="T16" fmla="*/ 1 w 13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1"/>
                <a:gd name="T29" fmla="*/ 13 w 13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1">
                  <a:moveTo>
                    <a:pt x="3" y="1"/>
                  </a:moveTo>
                  <a:lnTo>
                    <a:pt x="9" y="0"/>
                  </a:lnTo>
                  <a:lnTo>
                    <a:pt x="12" y="2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5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3" name="Freeform 222"/>
            <p:cNvSpPr>
              <a:spLocks/>
            </p:cNvSpPr>
            <p:nvPr/>
          </p:nvSpPr>
          <p:spPr bwMode="auto">
            <a:xfrm>
              <a:off x="2010349" y="2447683"/>
              <a:ext cx="14216" cy="9277"/>
            </a:xfrm>
            <a:custGeom>
              <a:avLst/>
              <a:gdLst>
                <a:gd name="T0" fmla="*/ 1 w 13"/>
                <a:gd name="T1" fmla="*/ 0 h 11"/>
                <a:gd name="T2" fmla="*/ 1 w 13"/>
                <a:gd name="T3" fmla="*/ 0 h 11"/>
                <a:gd name="T4" fmla="*/ 2 w 13"/>
                <a:gd name="T5" fmla="*/ 0 h 11"/>
                <a:gd name="T6" fmla="*/ 2 w 13"/>
                <a:gd name="T7" fmla="*/ 0 h 11"/>
                <a:gd name="T8" fmla="*/ 1 w 13"/>
                <a:gd name="T9" fmla="*/ 0 h 11"/>
                <a:gd name="T10" fmla="*/ 1 w 13"/>
                <a:gd name="T11" fmla="*/ 0 h 11"/>
                <a:gd name="T12" fmla="*/ 1 w 13"/>
                <a:gd name="T13" fmla="*/ 0 h 11"/>
                <a:gd name="T14" fmla="*/ 0 w 13"/>
                <a:gd name="T15" fmla="*/ 0 h 11"/>
                <a:gd name="T16" fmla="*/ 1 w 13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1"/>
                <a:gd name="T29" fmla="*/ 13 w 13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1">
                  <a:moveTo>
                    <a:pt x="3" y="1"/>
                  </a:moveTo>
                  <a:lnTo>
                    <a:pt x="9" y="0"/>
                  </a:lnTo>
                  <a:lnTo>
                    <a:pt x="12" y="2"/>
                  </a:lnTo>
                  <a:lnTo>
                    <a:pt x="13" y="7"/>
                  </a:lnTo>
                  <a:lnTo>
                    <a:pt x="9" y="11"/>
                  </a:lnTo>
                  <a:lnTo>
                    <a:pt x="5" y="11"/>
                  </a:lnTo>
                  <a:lnTo>
                    <a:pt x="2" y="7"/>
                  </a:lnTo>
                  <a:lnTo>
                    <a:pt x="0" y="5"/>
                  </a:lnTo>
                  <a:lnTo>
                    <a:pt x="3" y="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4" name="Freeform 223"/>
            <p:cNvSpPr>
              <a:spLocks/>
            </p:cNvSpPr>
            <p:nvPr/>
          </p:nvSpPr>
          <p:spPr bwMode="auto">
            <a:xfrm>
              <a:off x="1961605" y="2486646"/>
              <a:ext cx="20310" cy="20409"/>
            </a:xfrm>
            <a:custGeom>
              <a:avLst/>
              <a:gdLst>
                <a:gd name="T0" fmla="*/ 1 w 16"/>
                <a:gd name="T1" fmla="*/ 0 h 18"/>
                <a:gd name="T2" fmla="*/ 0 w 16"/>
                <a:gd name="T3" fmla="*/ 0 h 18"/>
                <a:gd name="T4" fmla="*/ 0 w 16"/>
                <a:gd name="T5" fmla="*/ 4 h 18"/>
                <a:gd name="T6" fmla="*/ 1 w 16"/>
                <a:gd name="T7" fmla="*/ 4 h 18"/>
                <a:gd name="T8" fmla="*/ 3 w 16"/>
                <a:gd name="T9" fmla="*/ 2 h 18"/>
                <a:gd name="T10" fmla="*/ 4 w 16"/>
                <a:gd name="T11" fmla="*/ 2 h 18"/>
                <a:gd name="T12" fmla="*/ 2 w 16"/>
                <a:gd name="T13" fmla="*/ 1 h 18"/>
                <a:gd name="T14" fmla="*/ 1 w 1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8"/>
                <a:gd name="T26" fmla="*/ 16 w 1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8">
                  <a:moveTo>
                    <a:pt x="1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18"/>
                  </a:lnTo>
                  <a:lnTo>
                    <a:pt x="14" y="15"/>
                  </a:lnTo>
                  <a:lnTo>
                    <a:pt x="16" y="11"/>
                  </a:lnTo>
                  <a:lnTo>
                    <a:pt x="7" y="3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5" name="Freeform 224"/>
            <p:cNvSpPr>
              <a:spLocks/>
            </p:cNvSpPr>
            <p:nvPr/>
          </p:nvSpPr>
          <p:spPr bwMode="auto">
            <a:xfrm>
              <a:off x="1961605" y="2486646"/>
              <a:ext cx="20310" cy="20409"/>
            </a:xfrm>
            <a:custGeom>
              <a:avLst/>
              <a:gdLst>
                <a:gd name="T0" fmla="*/ 1 w 16"/>
                <a:gd name="T1" fmla="*/ 0 h 18"/>
                <a:gd name="T2" fmla="*/ 0 w 16"/>
                <a:gd name="T3" fmla="*/ 0 h 18"/>
                <a:gd name="T4" fmla="*/ 0 w 16"/>
                <a:gd name="T5" fmla="*/ 4 h 18"/>
                <a:gd name="T6" fmla="*/ 1 w 16"/>
                <a:gd name="T7" fmla="*/ 4 h 18"/>
                <a:gd name="T8" fmla="*/ 3 w 16"/>
                <a:gd name="T9" fmla="*/ 2 h 18"/>
                <a:gd name="T10" fmla="*/ 4 w 16"/>
                <a:gd name="T11" fmla="*/ 2 h 18"/>
                <a:gd name="T12" fmla="*/ 2 w 16"/>
                <a:gd name="T13" fmla="*/ 1 h 18"/>
                <a:gd name="T14" fmla="*/ 1 w 1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6"/>
                <a:gd name="T25" fmla="*/ 0 h 18"/>
                <a:gd name="T26" fmla="*/ 16 w 1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6" h="18">
                  <a:moveTo>
                    <a:pt x="1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5" y="18"/>
                  </a:lnTo>
                  <a:lnTo>
                    <a:pt x="14" y="15"/>
                  </a:lnTo>
                  <a:lnTo>
                    <a:pt x="16" y="11"/>
                  </a:lnTo>
                  <a:lnTo>
                    <a:pt x="7" y="3"/>
                  </a:lnTo>
                  <a:lnTo>
                    <a:pt x="1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6" name="Freeform 225"/>
            <p:cNvSpPr>
              <a:spLocks/>
            </p:cNvSpPr>
            <p:nvPr/>
          </p:nvSpPr>
          <p:spPr bwMode="auto">
            <a:xfrm>
              <a:off x="1920984" y="2503343"/>
              <a:ext cx="12186" cy="7422"/>
            </a:xfrm>
            <a:custGeom>
              <a:avLst/>
              <a:gdLst>
                <a:gd name="T0" fmla="*/ 1 w 10"/>
                <a:gd name="T1" fmla="*/ 0 h 8"/>
                <a:gd name="T2" fmla="*/ 1 w 10"/>
                <a:gd name="T3" fmla="*/ 0 h 8"/>
                <a:gd name="T4" fmla="*/ 0 w 10"/>
                <a:gd name="T5" fmla="*/ 1 h 8"/>
                <a:gd name="T6" fmla="*/ 1 w 10"/>
                <a:gd name="T7" fmla="*/ 1 h 8"/>
                <a:gd name="T8" fmla="*/ 1 w 10"/>
                <a:gd name="T9" fmla="*/ 1 h 8"/>
                <a:gd name="T10" fmla="*/ 2 w 10"/>
                <a:gd name="T11" fmla="*/ 1 h 8"/>
                <a:gd name="T12" fmla="*/ 1 w 10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5" y="0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5" y="8"/>
                  </a:lnTo>
                  <a:lnTo>
                    <a:pt x="10" y="5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7" name="Freeform 226"/>
            <p:cNvSpPr>
              <a:spLocks/>
            </p:cNvSpPr>
            <p:nvPr/>
          </p:nvSpPr>
          <p:spPr bwMode="auto">
            <a:xfrm>
              <a:off x="1920984" y="2503343"/>
              <a:ext cx="12186" cy="7422"/>
            </a:xfrm>
            <a:custGeom>
              <a:avLst/>
              <a:gdLst>
                <a:gd name="T0" fmla="*/ 1 w 10"/>
                <a:gd name="T1" fmla="*/ 0 h 8"/>
                <a:gd name="T2" fmla="*/ 1 w 10"/>
                <a:gd name="T3" fmla="*/ 0 h 8"/>
                <a:gd name="T4" fmla="*/ 0 w 10"/>
                <a:gd name="T5" fmla="*/ 1 h 8"/>
                <a:gd name="T6" fmla="*/ 1 w 10"/>
                <a:gd name="T7" fmla="*/ 1 h 8"/>
                <a:gd name="T8" fmla="*/ 1 w 10"/>
                <a:gd name="T9" fmla="*/ 1 h 8"/>
                <a:gd name="T10" fmla="*/ 2 w 10"/>
                <a:gd name="T11" fmla="*/ 1 h 8"/>
                <a:gd name="T12" fmla="*/ 1 w 10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8"/>
                <a:gd name="T23" fmla="*/ 10 w 10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8">
                  <a:moveTo>
                    <a:pt x="5" y="0"/>
                  </a:moveTo>
                  <a:lnTo>
                    <a:pt x="1" y="0"/>
                  </a:lnTo>
                  <a:lnTo>
                    <a:pt x="0" y="6"/>
                  </a:lnTo>
                  <a:lnTo>
                    <a:pt x="2" y="8"/>
                  </a:lnTo>
                  <a:lnTo>
                    <a:pt x="5" y="8"/>
                  </a:lnTo>
                  <a:lnTo>
                    <a:pt x="10" y="5"/>
                  </a:lnTo>
                  <a:lnTo>
                    <a:pt x="5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8" name="Freeform 227"/>
            <p:cNvSpPr>
              <a:spLocks/>
            </p:cNvSpPr>
            <p:nvPr/>
          </p:nvSpPr>
          <p:spPr bwMode="auto">
            <a:xfrm>
              <a:off x="4394764" y="1059873"/>
              <a:ext cx="132015" cy="90913"/>
            </a:xfrm>
            <a:custGeom>
              <a:avLst/>
              <a:gdLst>
                <a:gd name="T0" fmla="*/ 4 w 111"/>
                <a:gd name="T1" fmla="*/ 11 h 90"/>
                <a:gd name="T2" fmla="*/ 1 w 111"/>
                <a:gd name="T3" fmla="*/ 10 h 90"/>
                <a:gd name="T4" fmla="*/ 0 w 111"/>
                <a:gd name="T5" fmla="*/ 8 h 90"/>
                <a:gd name="T6" fmla="*/ 1 w 111"/>
                <a:gd name="T7" fmla="*/ 2 h 90"/>
                <a:gd name="T8" fmla="*/ 1 w 111"/>
                <a:gd name="T9" fmla="*/ 2 h 90"/>
                <a:gd name="T10" fmla="*/ 1 w 111"/>
                <a:gd name="T11" fmla="*/ 2 h 90"/>
                <a:gd name="T12" fmla="*/ 2 w 111"/>
                <a:gd name="T13" fmla="*/ 2 h 90"/>
                <a:gd name="T14" fmla="*/ 2 w 111"/>
                <a:gd name="T15" fmla="*/ 1 h 90"/>
                <a:gd name="T16" fmla="*/ 4 w 111"/>
                <a:gd name="T17" fmla="*/ 1 h 90"/>
                <a:gd name="T18" fmla="*/ 5 w 111"/>
                <a:gd name="T19" fmla="*/ 1 h 90"/>
                <a:gd name="T20" fmla="*/ 5 w 111"/>
                <a:gd name="T21" fmla="*/ 1 h 90"/>
                <a:gd name="T22" fmla="*/ 6 w 111"/>
                <a:gd name="T23" fmla="*/ 1 h 90"/>
                <a:gd name="T24" fmla="*/ 6 w 111"/>
                <a:gd name="T25" fmla="*/ 1 h 90"/>
                <a:gd name="T26" fmla="*/ 7 w 111"/>
                <a:gd name="T27" fmla="*/ 1 h 90"/>
                <a:gd name="T28" fmla="*/ 9 w 111"/>
                <a:gd name="T29" fmla="*/ 1 h 90"/>
                <a:gd name="T30" fmla="*/ 9 w 111"/>
                <a:gd name="T31" fmla="*/ 0 h 90"/>
                <a:gd name="T32" fmla="*/ 11 w 111"/>
                <a:gd name="T33" fmla="*/ 1 h 90"/>
                <a:gd name="T34" fmla="*/ 13 w 111"/>
                <a:gd name="T35" fmla="*/ 1 h 90"/>
                <a:gd name="T36" fmla="*/ 13 w 111"/>
                <a:gd name="T37" fmla="*/ 1 h 90"/>
                <a:gd name="T38" fmla="*/ 17 w 111"/>
                <a:gd name="T39" fmla="*/ 3 h 90"/>
                <a:gd name="T40" fmla="*/ 18 w 111"/>
                <a:gd name="T41" fmla="*/ 8 h 90"/>
                <a:gd name="T42" fmla="*/ 17 w 111"/>
                <a:gd name="T43" fmla="*/ 8 h 90"/>
                <a:gd name="T44" fmla="*/ 15 w 111"/>
                <a:gd name="T45" fmla="*/ 9 h 90"/>
                <a:gd name="T46" fmla="*/ 12 w 111"/>
                <a:gd name="T47" fmla="*/ 9 h 90"/>
                <a:gd name="T48" fmla="*/ 10 w 111"/>
                <a:gd name="T49" fmla="*/ 10 h 90"/>
                <a:gd name="T50" fmla="*/ 9 w 111"/>
                <a:gd name="T51" fmla="*/ 11 h 90"/>
                <a:gd name="T52" fmla="*/ 4 w 111"/>
                <a:gd name="T53" fmla="*/ 11 h 9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1"/>
                <a:gd name="T82" fmla="*/ 0 h 90"/>
                <a:gd name="T83" fmla="*/ 111 w 111"/>
                <a:gd name="T84" fmla="*/ 90 h 9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1" h="90">
                  <a:moveTo>
                    <a:pt x="22" y="90"/>
                  </a:moveTo>
                  <a:lnTo>
                    <a:pt x="7" y="76"/>
                  </a:lnTo>
                  <a:lnTo>
                    <a:pt x="0" y="60"/>
                  </a:lnTo>
                  <a:lnTo>
                    <a:pt x="3" y="16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12" y="15"/>
                  </a:lnTo>
                  <a:lnTo>
                    <a:pt x="13" y="8"/>
                  </a:lnTo>
                  <a:lnTo>
                    <a:pt x="26" y="2"/>
                  </a:lnTo>
                  <a:lnTo>
                    <a:pt x="29" y="3"/>
                  </a:lnTo>
                  <a:lnTo>
                    <a:pt x="34" y="10"/>
                  </a:lnTo>
                  <a:lnTo>
                    <a:pt x="36" y="9"/>
                  </a:lnTo>
                  <a:lnTo>
                    <a:pt x="36" y="6"/>
                  </a:lnTo>
                  <a:lnTo>
                    <a:pt x="44" y="1"/>
                  </a:lnTo>
                  <a:lnTo>
                    <a:pt x="56" y="4"/>
                  </a:lnTo>
                  <a:lnTo>
                    <a:pt x="59" y="0"/>
                  </a:lnTo>
                  <a:lnTo>
                    <a:pt x="71" y="3"/>
                  </a:lnTo>
                  <a:lnTo>
                    <a:pt x="81" y="1"/>
                  </a:lnTo>
                  <a:lnTo>
                    <a:pt x="86" y="4"/>
                  </a:lnTo>
                  <a:lnTo>
                    <a:pt x="105" y="20"/>
                  </a:lnTo>
                  <a:lnTo>
                    <a:pt x="111" y="59"/>
                  </a:lnTo>
                  <a:lnTo>
                    <a:pt x="105" y="60"/>
                  </a:lnTo>
                  <a:lnTo>
                    <a:pt x="93" y="72"/>
                  </a:lnTo>
                  <a:lnTo>
                    <a:pt x="76" y="72"/>
                  </a:lnTo>
                  <a:lnTo>
                    <a:pt x="61" y="78"/>
                  </a:lnTo>
                  <a:lnTo>
                    <a:pt x="52" y="86"/>
                  </a:lnTo>
                  <a:lnTo>
                    <a:pt x="22" y="90"/>
                  </a:lnTo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19" name="Freeform 228"/>
            <p:cNvSpPr>
              <a:spLocks/>
            </p:cNvSpPr>
            <p:nvPr/>
          </p:nvSpPr>
          <p:spPr bwMode="auto">
            <a:xfrm>
              <a:off x="3941847" y="2948632"/>
              <a:ext cx="1045973" cy="849755"/>
            </a:xfrm>
            <a:custGeom>
              <a:avLst/>
              <a:gdLst>
                <a:gd name="T0" fmla="*/ 137 w 873"/>
                <a:gd name="T1" fmla="*/ 70 h 851"/>
                <a:gd name="T2" fmla="*/ 132 w 873"/>
                <a:gd name="T3" fmla="*/ 66 h 851"/>
                <a:gd name="T4" fmla="*/ 131 w 873"/>
                <a:gd name="T5" fmla="*/ 61 h 851"/>
                <a:gd name="T6" fmla="*/ 130 w 873"/>
                <a:gd name="T7" fmla="*/ 53 h 851"/>
                <a:gd name="T8" fmla="*/ 130 w 873"/>
                <a:gd name="T9" fmla="*/ 45 h 851"/>
                <a:gd name="T10" fmla="*/ 133 w 873"/>
                <a:gd name="T11" fmla="*/ 37 h 851"/>
                <a:gd name="T12" fmla="*/ 142 w 873"/>
                <a:gd name="T13" fmla="*/ 20 h 851"/>
                <a:gd name="T14" fmla="*/ 146 w 873"/>
                <a:gd name="T15" fmla="*/ 18 h 851"/>
                <a:gd name="T16" fmla="*/ 144 w 873"/>
                <a:gd name="T17" fmla="*/ 16 h 851"/>
                <a:gd name="T18" fmla="*/ 143 w 873"/>
                <a:gd name="T19" fmla="*/ 10 h 851"/>
                <a:gd name="T20" fmla="*/ 142 w 873"/>
                <a:gd name="T21" fmla="*/ 9 h 851"/>
                <a:gd name="T22" fmla="*/ 130 w 873"/>
                <a:gd name="T23" fmla="*/ 5 h 851"/>
                <a:gd name="T24" fmla="*/ 124 w 873"/>
                <a:gd name="T25" fmla="*/ 5 h 851"/>
                <a:gd name="T26" fmla="*/ 118 w 873"/>
                <a:gd name="T27" fmla="*/ 2 h 851"/>
                <a:gd name="T28" fmla="*/ 112 w 873"/>
                <a:gd name="T29" fmla="*/ 2 h 851"/>
                <a:gd name="T30" fmla="*/ 107 w 873"/>
                <a:gd name="T31" fmla="*/ 0 h 851"/>
                <a:gd name="T32" fmla="*/ 99 w 873"/>
                <a:gd name="T33" fmla="*/ 2 h 851"/>
                <a:gd name="T34" fmla="*/ 95 w 873"/>
                <a:gd name="T35" fmla="*/ 2 h 851"/>
                <a:gd name="T36" fmla="*/ 94 w 873"/>
                <a:gd name="T37" fmla="*/ 1 h 851"/>
                <a:gd name="T38" fmla="*/ 81 w 873"/>
                <a:gd name="T39" fmla="*/ 3 h 851"/>
                <a:gd name="T40" fmla="*/ 78 w 873"/>
                <a:gd name="T41" fmla="*/ 5 h 851"/>
                <a:gd name="T42" fmla="*/ 65 w 873"/>
                <a:gd name="T43" fmla="*/ 4 h 851"/>
                <a:gd name="T44" fmla="*/ 61 w 873"/>
                <a:gd name="T45" fmla="*/ 3 h 851"/>
                <a:gd name="T46" fmla="*/ 55 w 873"/>
                <a:gd name="T47" fmla="*/ 1 h 851"/>
                <a:gd name="T48" fmla="*/ 51 w 873"/>
                <a:gd name="T49" fmla="*/ 4 h 851"/>
                <a:gd name="T50" fmla="*/ 49 w 873"/>
                <a:gd name="T51" fmla="*/ 9 h 851"/>
                <a:gd name="T52" fmla="*/ 41 w 873"/>
                <a:gd name="T53" fmla="*/ 33 h 851"/>
                <a:gd name="T54" fmla="*/ 29 w 873"/>
                <a:gd name="T55" fmla="*/ 48 h 851"/>
                <a:gd name="T56" fmla="*/ 17 w 873"/>
                <a:gd name="T57" fmla="*/ 56 h 851"/>
                <a:gd name="T58" fmla="*/ 15 w 873"/>
                <a:gd name="T59" fmla="*/ 54 h 851"/>
                <a:gd name="T60" fmla="*/ 9 w 873"/>
                <a:gd name="T61" fmla="*/ 56 h 851"/>
                <a:gd name="T62" fmla="*/ 5 w 873"/>
                <a:gd name="T63" fmla="*/ 55 h 851"/>
                <a:gd name="T64" fmla="*/ 0 w 873"/>
                <a:gd name="T65" fmla="*/ 62 h 851"/>
                <a:gd name="T66" fmla="*/ 1 w 873"/>
                <a:gd name="T67" fmla="*/ 64 h 851"/>
                <a:gd name="T68" fmla="*/ 16 w 873"/>
                <a:gd name="T69" fmla="*/ 62 h 851"/>
                <a:gd name="T70" fmla="*/ 31 w 873"/>
                <a:gd name="T71" fmla="*/ 62 h 851"/>
                <a:gd name="T72" fmla="*/ 32 w 873"/>
                <a:gd name="T73" fmla="*/ 62 h 851"/>
                <a:gd name="T74" fmla="*/ 42 w 873"/>
                <a:gd name="T75" fmla="*/ 74 h 851"/>
                <a:gd name="T76" fmla="*/ 54 w 873"/>
                <a:gd name="T77" fmla="*/ 74 h 851"/>
                <a:gd name="T78" fmla="*/ 55 w 873"/>
                <a:gd name="T79" fmla="*/ 68 h 851"/>
                <a:gd name="T80" fmla="*/ 65 w 873"/>
                <a:gd name="T81" fmla="*/ 67 h 851"/>
                <a:gd name="T82" fmla="*/ 73 w 873"/>
                <a:gd name="T83" fmla="*/ 71 h 851"/>
                <a:gd name="T84" fmla="*/ 73 w 873"/>
                <a:gd name="T85" fmla="*/ 83 h 851"/>
                <a:gd name="T86" fmla="*/ 74 w 873"/>
                <a:gd name="T87" fmla="*/ 90 h 851"/>
                <a:gd name="T88" fmla="*/ 74 w 873"/>
                <a:gd name="T89" fmla="*/ 91 h 851"/>
                <a:gd name="T90" fmla="*/ 77 w 873"/>
                <a:gd name="T91" fmla="*/ 93 h 851"/>
                <a:gd name="T92" fmla="*/ 78 w 873"/>
                <a:gd name="T93" fmla="*/ 90 h 851"/>
                <a:gd name="T94" fmla="*/ 88 w 873"/>
                <a:gd name="T95" fmla="*/ 90 h 851"/>
                <a:gd name="T96" fmla="*/ 90 w 873"/>
                <a:gd name="T97" fmla="*/ 89 h 851"/>
                <a:gd name="T98" fmla="*/ 93 w 873"/>
                <a:gd name="T99" fmla="*/ 90 h 851"/>
                <a:gd name="T100" fmla="*/ 94 w 873"/>
                <a:gd name="T101" fmla="*/ 93 h 851"/>
                <a:gd name="T102" fmla="*/ 99 w 873"/>
                <a:gd name="T103" fmla="*/ 91 h 851"/>
                <a:gd name="T104" fmla="*/ 100 w 873"/>
                <a:gd name="T105" fmla="*/ 93 h 851"/>
                <a:gd name="T106" fmla="*/ 113 w 873"/>
                <a:gd name="T107" fmla="*/ 95 h 851"/>
                <a:gd name="T108" fmla="*/ 120 w 873"/>
                <a:gd name="T109" fmla="*/ 97 h 851"/>
                <a:gd name="T110" fmla="*/ 123 w 873"/>
                <a:gd name="T111" fmla="*/ 101 h 851"/>
                <a:gd name="T112" fmla="*/ 130 w 873"/>
                <a:gd name="T113" fmla="*/ 103 h 851"/>
                <a:gd name="T114" fmla="*/ 133 w 873"/>
                <a:gd name="T115" fmla="*/ 103 h 851"/>
                <a:gd name="T116" fmla="*/ 134 w 873"/>
                <a:gd name="T117" fmla="*/ 103 h 851"/>
                <a:gd name="T118" fmla="*/ 132 w 873"/>
                <a:gd name="T119" fmla="*/ 97 h 851"/>
                <a:gd name="T120" fmla="*/ 127 w 873"/>
                <a:gd name="T121" fmla="*/ 97 h 851"/>
                <a:gd name="T122" fmla="*/ 127 w 873"/>
                <a:gd name="T123" fmla="*/ 85 h 851"/>
                <a:gd name="T124" fmla="*/ 129 w 873"/>
                <a:gd name="T125" fmla="*/ 76 h 85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3"/>
                <a:gd name="T190" fmla="*/ 0 h 851"/>
                <a:gd name="T191" fmla="*/ 873 w 873"/>
                <a:gd name="T192" fmla="*/ 851 h 85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3" h="851">
                  <a:moveTo>
                    <a:pt x="838" y="614"/>
                  </a:moveTo>
                  <a:lnTo>
                    <a:pt x="831" y="585"/>
                  </a:lnTo>
                  <a:lnTo>
                    <a:pt x="823" y="575"/>
                  </a:lnTo>
                  <a:lnTo>
                    <a:pt x="813" y="571"/>
                  </a:lnTo>
                  <a:lnTo>
                    <a:pt x="795" y="553"/>
                  </a:lnTo>
                  <a:lnTo>
                    <a:pt x="790" y="540"/>
                  </a:lnTo>
                  <a:lnTo>
                    <a:pt x="785" y="534"/>
                  </a:lnTo>
                  <a:lnTo>
                    <a:pt x="782" y="520"/>
                  </a:lnTo>
                  <a:lnTo>
                    <a:pt x="785" y="500"/>
                  </a:lnTo>
                  <a:lnTo>
                    <a:pt x="773" y="473"/>
                  </a:lnTo>
                  <a:lnTo>
                    <a:pt x="780" y="441"/>
                  </a:lnTo>
                  <a:lnTo>
                    <a:pt x="779" y="433"/>
                  </a:lnTo>
                  <a:lnTo>
                    <a:pt x="774" y="435"/>
                  </a:lnTo>
                  <a:lnTo>
                    <a:pt x="783" y="394"/>
                  </a:lnTo>
                  <a:lnTo>
                    <a:pt x="782" y="374"/>
                  </a:lnTo>
                  <a:lnTo>
                    <a:pt x="769" y="357"/>
                  </a:lnTo>
                  <a:lnTo>
                    <a:pt x="769" y="349"/>
                  </a:lnTo>
                  <a:lnTo>
                    <a:pt x="798" y="301"/>
                  </a:lnTo>
                  <a:lnTo>
                    <a:pt x="801" y="300"/>
                  </a:lnTo>
                  <a:lnTo>
                    <a:pt x="811" y="221"/>
                  </a:lnTo>
                  <a:lnTo>
                    <a:pt x="848" y="169"/>
                  </a:lnTo>
                  <a:lnTo>
                    <a:pt x="862" y="160"/>
                  </a:lnTo>
                  <a:lnTo>
                    <a:pt x="868" y="153"/>
                  </a:lnTo>
                  <a:lnTo>
                    <a:pt x="873" y="146"/>
                  </a:lnTo>
                  <a:lnTo>
                    <a:pt x="871" y="140"/>
                  </a:lnTo>
                  <a:lnTo>
                    <a:pt x="869" y="135"/>
                  </a:lnTo>
                  <a:lnTo>
                    <a:pt x="863" y="133"/>
                  </a:lnTo>
                  <a:lnTo>
                    <a:pt x="854" y="127"/>
                  </a:lnTo>
                  <a:lnTo>
                    <a:pt x="852" y="119"/>
                  </a:lnTo>
                  <a:lnTo>
                    <a:pt x="854" y="86"/>
                  </a:lnTo>
                  <a:lnTo>
                    <a:pt x="857" y="79"/>
                  </a:lnTo>
                  <a:lnTo>
                    <a:pt x="856" y="75"/>
                  </a:lnTo>
                  <a:lnTo>
                    <a:pt x="851" y="76"/>
                  </a:lnTo>
                  <a:lnTo>
                    <a:pt x="798" y="29"/>
                  </a:lnTo>
                  <a:lnTo>
                    <a:pt x="787" y="38"/>
                  </a:lnTo>
                  <a:lnTo>
                    <a:pt x="778" y="39"/>
                  </a:lnTo>
                  <a:lnTo>
                    <a:pt x="756" y="34"/>
                  </a:lnTo>
                  <a:lnTo>
                    <a:pt x="751" y="42"/>
                  </a:lnTo>
                  <a:lnTo>
                    <a:pt x="745" y="44"/>
                  </a:lnTo>
                  <a:lnTo>
                    <a:pt x="726" y="36"/>
                  </a:lnTo>
                  <a:lnTo>
                    <a:pt x="717" y="21"/>
                  </a:lnTo>
                  <a:lnTo>
                    <a:pt x="706" y="14"/>
                  </a:lnTo>
                  <a:lnTo>
                    <a:pt x="701" y="4"/>
                  </a:lnTo>
                  <a:lnTo>
                    <a:pt x="677" y="4"/>
                  </a:lnTo>
                  <a:lnTo>
                    <a:pt x="671" y="13"/>
                  </a:lnTo>
                  <a:lnTo>
                    <a:pt x="661" y="6"/>
                  </a:lnTo>
                  <a:lnTo>
                    <a:pt x="655" y="13"/>
                  </a:lnTo>
                  <a:lnTo>
                    <a:pt x="643" y="0"/>
                  </a:lnTo>
                  <a:lnTo>
                    <a:pt x="612" y="6"/>
                  </a:lnTo>
                  <a:lnTo>
                    <a:pt x="595" y="2"/>
                  </a:lnTo>
                  <a:lnTo>
                    <a:pt x="593" y="13"/>
                  </a:lnTo>
                  <a:lnTo>
                    <a:pt x="583" y="13"/>
                  </a:lnTo>
                  <a:lnTo>
                    <a:pt x="576" y="16"/>
                  </a:lnTo>
                  <a:lnTo>
                    <a:pt x="569" y="13"/>
                  </a:lnTo>
                  <a:lnTo>
                    <a:pt x="571" y="13"/>
                  </a:lnTo>
                  <a:lnTo>
                    <a:pt x="569" y="9"/>
                  </a:lnTo>
                  <a:lnTo>
                    <a:pt x="565" y="9"/>
                  </a:lnTo>
                  <a:lnTo>
                    <a:pt x="509" y="27"/>
                  </a:lnTo>
                  <a:lnTo>
                    <a:pt x="502" y="22"/>
                  </a:lnTo>
                  <a:lnTo>
                    <a:pt x="487" y="20"/>
                  </a:lnTo>
                  <a:lnTo>
                    <a:pt x="475" y="27"/>
                  </a:lnTo>
                  <a:lnTo>
                    <a:pt x="474" y="42"/>
                  </a:lnTo>
                  <a:lnTo>
                    <a:pt x="467" y="44"/>
                  </a:lnTo>
                  <a:lnTo>
                    <a:pt x="425" y="44"/>
                  </a:lnTo>
                  <a:lnTo>
                    <a:pt x="406" y="38"/>
                  </a:lnTo>
                  <a:lnTo>
                    <a:pt x="394" y="31"/>
                  </a:lnTo>
                  <a:lnTo>
                    <a:pt x="387" y="37"/>
                  </a:lnTo>
                  <a:lnTo>
                    <a:pt x="381" y="36"/>
                  </a:lnTo>
                  <a:lnTo>
                    <a:pt x="365" y="21"/>
                  </a:lnTo>
                  <a:lnTo>
                    <a:pt x="363" y="13"/>
                  </a:lnTo>
                  <a:lnTo>
                    <a:pt x="355" y="5"/>
                  </a:lnTo>
                  <a:lnTo>
                    <a:pt x="332" y="4"/>
                  </a:lnTo>
                  <a:lnTo>
                    <a:pt x="315" y="18"/>
                  </a:lnTo>
                  <a:lnTo>
                    <a:pt x="309" y="31"/>
                  </a:lnTo>
                  <a:lnTo>
                    <a:pt x="303" y="35"/>
                  </a:lnTo>
                  <a:lnTo>
                    <a:pt x="300" y="63"/>
                  </a:lnTo>
                  <a:lnTo>
                    <a:pt x="302" y="69"/>
                  </a:lnTo>
                  <a:lnTo>
                    <a:pt x="291" y="71"/>
                  </a:lnTo>
                  <a:lnTo>
                    <a:pt x="294" y="86"/>
                  </a:lnTo>
                  <a:lnTo>
                    <a:pt x="264" y="153"/>
                  </a:lnTo>
                  <a:lnTo>
                    <a:pt x="248" y="274"/>
                  </a:lnTo>
                  <a:lnTo>
                    <a:pt x="220" y="293"/>
                  </a:lnTo>
                  <a:lnTo>
                    <a:pt x="186" y="336"/>
                  </a:lnTo>
                  <a:lnTo>
                    <a:pt x="175" y="401"/>
                  </a:lnTo>
                  <a:lnTo>
                    <a:pt x="151" y="432"/>
                  </a:lnTo>
                  <a:lnTo>
                    <a:pt x="120" y="454"/>
                  </a:lnTo>
                  <a:lnTo>
                    <a:pt x="104" y="462"/>
                  </a:lnTo>
                  <a:lnTo>
                    <a:pt x="94" y="459"/>
                  </a:lnTo>
                  <a:lnTo>
                    <a:pt x="93" y="443"/>
                  </a:lnTo>
                  <a:lnTo>
                    <a:pt x="91" y="440"/>
                  </a:lnTo>
                  <a:lnTo>
                    <a:pt x="69" y="445"/>
                  </a:lnTo>
                  <a:lnTo>
                    <a:pt x="62" y="450"/>
                  </a:lnTo>
                  <a:lnTo>
                    <a:pt x="56" y="460"/>
                  </a:lnTo>
                  <a:lnTo>
                    <a:pt x="46" y="463"/>
                  </a:lnTo>
                  <a:lnTo>
                    <a:pt x="32" y="454"/>
                  </a:lnTo>
                  <a:lnTo>
                    <a:pt x="29" y="455"/>
                  </a:lnTo>
                  <a:lnTo>
                    <a:pt x="15" y="469"/>
                  </a:lnTo>
                  <a:lnTo>
                    <a:pt x="9" y="504"/>
                  </a:lnTo>
                  <a:lnTo>
                    <a:pt x="0" y="508"/>
                  </a:lnTo>
                  <a:lnTo>
                    <a:pt x="3" y="517"/>
                  </a:lnTo>
                  <a:lnTo>
                    <a:pt x="0" y="523"/>
                  </a:lnTo>
                  <a:lnTo>
                    <a:pt x="2" y="527"/>
                  </a:lnTo>
                  <a:lnTo>
                    <a:pt x="3" y="524"/>
                  </a:lnTo>
                  <a:lnTo>
                    <a:pt x="46" y="507"/>
                  </a:lnTo>
                  <a:lnTo>
                    <a:pt x="96" y="506"/>
                  </a:lnTo>
                  <a:lnTo>
                    <a:pt x="103" y="507"/>
                  </a:lnTo>
                  <a:lnTo>
                    <a:pt x="181" y="506"/>
                  </a:lnTo>
                  <a:lnTo>
                    <a:pt x="183" y="507"/>
                  </a:lnTo>
                  <a:lnTo>
                    <a:pt x="187" y="513"/>
                  </a:lnTo>
                  <a:lnTo>
                    <a:pt x="190" y="513"/>
                  </a:lnTo>
                  <a:lnTo>
                    <a:pt x="194" y="512"/>
                  </a:lnTo>
                  <a:lnTo>
                    <a:pt x="213" y="574"/>
                  </a:lnTo>
                  <a:lnTo>
                    <a:pt x="241" y="608"/>
                  </a:lnTo>
                  <a:lnTo>
                    <a:pt x="252" y="612"/>
                  </a:lnTo>
                  <a:lnTo>
                    <a:pt x="263" y="612"/>
                  </a:lnTo>
                  <a:lnTo>
                    <a:pt x="291" y="604"/>
                  </a:lnTo>
                  <a:lnTo>
                    <a:pt x="321" y="605"/>
                  </a:lnTo>
                  <a:lnTo>
                    <a:pt x="325" y="587"/>
                  </a:lnTo>
                  <a:lnTo>
                    <a:pt x="328" y="583"/>
                  </a:lnTo>
                  <a:lnTo>
                    <a:pt x="333" y="560"/>
                  </a:lnTo>
                  <a:lnTo>
                    <a:pt x="369" y="560"/>
                  </a:lnTo>
                  <a:lnTo>
                    <a:pt x="370" y="555"/>
                  </a:lnTo>
                  <a:lnTo>
                    <a:pt x="390" y="555"/>
                  </a:lnTo>
                  <a:lnTo>
                    <a:pt x="389" y="573"/>
                  </a:lnTo>
                  <a:lnTo>
                    <a:pt x="430" y="574"/>
                  </a:lnTo>
                  <a:lnTo>
                    <a:pt x="434" y="584"/>
                  </a:lnTo>
                  <a:lnTo>
                    <a:pt x="440" y="648"/>
                  </a:lnTo>
                  <a:lnTo>
                    <a:pt x="437" y="662"/>
                  </a:lnTo>
                  <a:lnTo>
                    <a:pt x="439" y="680"/>
                  </a:lnTo>
                  <a:lnTo>
                    <a:pt x="458" y="724"/>
                  </a:lnTo>
                  <a:lnTo>
                    <a:pt x="457" y="730"/>
                  </a:lnTo>
                  <a:lnTo>
                    <a:pt x="443" y="745"/>
                  </a:lnTo>
                  <a:lnTo>
                    <a:pt x="443" y="748"/>
                  </a:lnTo>
                  <a:lnTo>
                    <a:pt x="444" y="750"/>
                  </a:lnTo>
                  <a:lnTo>
                    <a:pt x="445" y="751"/>
                  </a:lnTo>
                  <a:lnTo>
                    <a:pt x="449" y="752"/>
                  </a:lnTo>
                  <a:lnTo>
                    <a:pt x="454" y="758"/>
                  </a:lnTo>
                  <a:lnTo>
                    <a:pt x="459" y="759"/>
                  </a:lnTo>
                  <a:lnTo>
                    <a:pt x="461" y="758"/>
                  </a:lnTo>
                  <a:lnTo>
                    <a:pt x="465" y="746"/>
                  </a:lnTo>
                  <a:lnTo>
                    <a:pt x="469" y="744"/>
                  </a:lnTo>
                  <a:lnTo>
                    <a:pt x="511" y="744"/>
                  </a:lnTo>
                  <a:lnTo>
                    <a:pt x="521" y="741"/>
                  </a:lnTo>
                  <a:lnTo>
                    <a:pt x="527" y="743"/>
                  </a:lnTo>
                  <a:lnTo>
                    <a:pt x="530" y="743"/>
                  </a:lnTo>
                  <a:lnTo>
                    <a:pt x="537" y="737"/>
                  </a:lnTo>
                  <a:lnTo>
                    <a:pt x="539" y="737"/>
                  </a:lnTo>
                  <a:lnTo>
                    <a:pt x="551" y="735"/>
                  </a:lnTo>
                  <a:lnTo>
                    <a:pt x="552" y="735"/>
                  </a:lnTo>
                  <a:lnTo>
                    <a:pt x="558" y="744"/>
                  </a:lnTo>
                  <a:lnTo>
                    <a:pt x="557" y="755"/>
                  </a:lnTo>
                  <a:lnTo>
                    <a:pt x="559" y="758"/>
                  </a:lnTo>
                  <a:lnTo>
                    <a:pt x="561" y="759"/>
                  </a:lnTo>
                  <a:lnTo>
                    <a:pt x="577" y="753"/>
                  </a:lnTo>
                  <a:lnTo>
                    <a:pt x="583" y="753"/>
                  </a:lnTo>
                  <a:lnTo>
                    <a:pt x="592" y="749"/>
                  </a:lnTo>
                  <a:lnTo>
                    <a:pt x="597" y="756"/>
                  </a:lnTo>
                  <a:lnTo>
                    <a:pt x="599" y="763"/>
                  </a:lnTo>
                  <a:lnTo>
                    <a:pt x="603" y="768"/>
                  </a:lnTo>
                  <a:lnTo>
                    <a:pt x="640" y="786"/>
                  </a:lnTo>
                  <a:lnTo>
                    <a:pt x="651" y="786"/>
                  </a:lnTo>
                  <a:lnTo>
                    <a:pt x="675" y="778"/>
                  </a:lnTo>
                  <a:lnTo>
                    <a:pt x="680" y="778"/>
                  </a:lnTo>
                  <a:lnTo>
                    <a:pt x="695" y="794"/>
                  </a:lnTo>
                  <a:lnTo>
                    <a:pt x="717" y="803"/>
                  </a:lnTo>
                  <a:lnTo>
                    <a:pt x="726" y="803"/>
                  </a:lnTo>
                  <a:lnTo>
                    <a:pt x="731" y="809"/>
                  </a:lnTo>
                  <a:lnTo>
                    <a:pt x="738" y="825"/>
                  </a:lnTo>
                  <a:lnTo>
                    <a:pt x="762" y="841"/>
                  </a:lnTo>
                  <a:lnTo>
                    <a:pt x="778" y="847"/>
                  </a:lnTo>
                  <a:lnTo>
                    <a:pt x="781" y="847"/>
                  </a:lnTo>
                  <a:lnTo>
                    <a:pt x="786" y="844"/>
                  </a:lnTo>
                  <a:lnTo>
                    <a:pt x="790" y="844"/>
                  </a:lnTo>
                  <a:lnTo>
                    <a:pt x="794" y="850"/>
                  </a:lnTo>
                  <a:lnTo>
                    <a:pt x="797" y="851"/>
                  </a:lnTo>
                  <a:lnTo>
                    <a:pt x="800" y="851"/>
                  </a:lnTo>
                  <a:lnTo>
                    <a:pt x="802" y="849"/>
                  </a:lnTo>
                  <a:lnTo>
                    <a:pt x="800" y="807"/>
                  </a:lnTo>
                  <a:lnTo>
                    <a:pt x="798" y="801"/>
                  </a:lnTo>
                  <a:lnTo>
                    <a:pt x="793" y="800"/>
                  </a:lnTo>
                  <a:lnTo>
                    <a:pt x="786" y="804"/>
                  </a:lnTo>
                  <a:lnTo>
                    <a:pt x="766" y="802"/>
                  </a:lnTo>
                  <a:lnTo>
                    <a:pt x="760" y="798"/>
                  </a:lnTo>
                  <a:lnTo>
                    <a:pt x="746" y="780"/>
                  </a:lnTo>
                  <a:lnTo>
                    <a:pt x="746" y="772"/>
                  </a:lnTo>
                  <a:lnTo>
                    <a:pt x="763" y="697"/>
                  </a:lnTo>
                  <a:lnTo>
                    <a:pt x="756" y="661"/>
                  </a:lnTo>
                  <a:lnTo>
                    <a:pt x="771" y="631"/>
                  </a:lnTo>
                  <a:lnTo>
                    <a:pt x="776" y="629"/>
                  </a:lnTo>
                  <a:lnTo>
                    <a:pt x="838" y="614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0" name="Freeform 229"/>
            <p:cNvSpPr>
              <a:spLocks/>
            </p:cNvSpPr>
            <p:nvPr/>
          </p:nvSpPr>
          <p:spPr bwMode="auto">
            <a:xfrm>
              <a:off x="3941847" y="2948632"/>
              <a:ext cx="1045973" cy="849755"/>
            </a:xfrm>
            <a:custGeom>
              <a:avLst/>
              <a:gdLst>
                <a:gd name="T0" fmla="*/ 137 w 873"/>
                <a:gd name="T1" fmla="*/ 70 h 851"/>
                <a:gd name="T2" fmla="*/ 132 w 873"/>
                <a:gd name="T3" fmla="*/ 66 h 851"/>
                <a:gd name="T4" fmla="*/ 131 w 873"/>
                <a:gd name="T5" fmla="*/ 61 h 851"/>
                <a:gd name="T6" fmla="*/ 130 w 873"/>
                <a:gd name="T7" fmla="*/ 53 h 851"/>
                <a:gd name="T8" fmla="*/ 130 w 873"/>
                <a:gd name="T9" fmla="*/ 45 h 851"/>
                <a:gd name="T10" fmla="*/ 133 w 873"/>
                <a:gd name="T11" fmla="*/ 37 h 851"/>
                <a:gd name="T12" fmla="*/ 142 w 873"/>
                <a:gd name="T13" fmla="*/ 20 h 851"/>
                <a:gd name="T14" fmla="*/ 146 w 873"/>
                <a:gd name="T15" fmla="*/ 18 h 851"/>
                <a:gd name="T16" fmla="*/ 144 w 873"/>
                <a:gd name="T17" fmla="*/ 16 h 851"/>
                <a:gd name="T18" fmla="*/ 143 w 873"/>
                <a:gd name="T19" fmla="*/ 10 h 851"/>
                <a:gd name="T20" fmla="*/ 142 w 873"/>
                <a:gd name="T21" fmla="*/ 9 h 851"/>
                <a:gd name="T22" fmla="*/ 130 w 873"/>
                <a:gd name="T23" fmla="*/ 5 h 851"/>
                <a:gd name="T24" fmla="*/ 124 w 873"/>
                <a:gd name="T25" fmla="*/ 5 h 851"/>
                <a:gd name="T26" fmla="*/ 118 w 873"/>
                <a:gd name="T27" fmla="*/ 2 h 851"/>
                <a:gd name="T28" fmla="*/ 112 w 873"/>
                <a:gd name="T29" fmla="*/ 2 h 851"/>
                <a:gd name="T30" fmla="*/ 107 w 873"/>
                <a:gd name="T31" fmla="*/ 0 h 851"/>
                <a:gd name="T32" fmla="*/ 99 w 873"/>
                <a:gd name="T33" fmla="*/ 2 h 851"/>
                <a:gd name="T34" fmla="*/ 95 w 873"/>
                <a:gd name="T35" fmla="*/ 2 h 851"/>
                <a:gd name="T36" fmla="*/ 94 w 873"/>
                <a:gd name="T37" fmla="*/ 1 h 851"/>
                <a:gd name="T38" fmla="*/ 81 w 873"/>
                <a:gd name="T39" fmla="*/ 3 h 851"/>
                <a:gd name="T40" fmla="*/ 78 w 873"/>
                <a:gd name="T41" fmla="*/ 5 h 851"/>
                <a:gd name="T42" fmla="*/ 65 w 873"/>
                <a:gd name="T43" fmla="*/ 4 h 851"/>
                <a:gd name="T44" fmla="*/ 61 w 873"/>
                <a:gd name="T45" fmla="*/ 3 h 851"/>
                <a:gd name="T46" fmla="*/ 55 w 873"/>
                <a:gd name="T47" fmla="*/ 1 h 851"/>
                <a:gd name="T48" fmla="*/ 51 w 873"/>
                <a:gd name="T49" fmla="*/ 4 h 851"/>
                <a:gd name="T50" fmla="*/ 49 w 873"/>
                <a:gd name="T51" fmla="*/ 9 h 851"/>
                <a:gd name="T52" fmla="*/ 41 w 873"/>
                <a:gd name="T53" fmla="*/ 33 h 851"/>
                <a:gd name="T54" fmla="*/ 29 w 873"/>
                <a:gd name="T55" fmla="*/ 48 h 851"/>
                <a:gd name="T56" fmla="*/ 17 w 873"/>
                <a:gd name="T57" fmla="*/ 56 h 851"/>
                <a:gd name="T58" fmla="*/ 15 w 873"/>
                <a:gd name="T59" fmla="*/ 54 h 851"/>
                <a:gd name="T60" fmla="*/ 9 w 873"/>
                <a:gd name="T61" fmla="*/ 56 h 851"/>
                <a:gd name="T62" fmla="*/ 5 w 873"/>
                <a:gd name="T63" fmla="*/ 55 h 851"/>
                <a:gd name="T64" fmla="*/ 0 w 873"/>
                <a:gd name="T65" fmla="*/ 62 h 851"/>
                <a:gd name="T66" fmla="*/ 1 w 873"/>
                <a:gd name="T67" fmla="*/ 64 h 851"/>
                <a:gd name="T68" fmla="*/ 16 w 873"/>
                <a:gd name="T69" fmla="*/ 62 h 851"/>
                <a:gd name="T70" fmla="*/ 31 w 873"/>
                <a:gd name="T71" fmla="*/ 62 h 851"/>
                <a:gd name="T72" fmla="*/ 32 w 873"/>
                <a:gd name="T73" fmla="*/ 62 h 851"/>
                <a:gd name="T74" fmla="*/ 42 w 873"/>
                <a:gd name="T75" fmla="*/ 74 h 851"/>
                <a:gd name="T76" fmla="*/ 54 w 873"/>
                <a:gd name="T77" fmla="*/ 74 h 851"/>
                <a:gd name="T78" fmla="*/ 55 w 873"/>
                <a:gd name="T79" fmla="*/ 68 h 851"/>
                <a:gd name="T80" fmla="*/ 65 w 873"/>
                <a:gd name="T81" fmla="*/ 67 h 851"/>
                <a:gd name="T82" fmla="*/ 73 w 873"/>
                <a:gd name="T83" fmla="*/ 71 h 851"/>
                <a:gd name="T84" fmla="*/ 73 w 873"/>
                <a:gd name="T85" fmla="*/ 83 h 851"/>
                <a:gd name="T86" fmla="*/ 74 w 873"/>
                <a:gd name="T87" fmla="*/ 90 h 851"/>
                <a:gd name="T88" fmla="*/ 74 w 873"/>
                <a:gd name="T89" fmla="*/ 91 h 851"/>
                <a:gd name="T90" fmla="*/ 77 w 873"/>
                <a:gd name="T91" fmla="*/ 93 h 851"/>
                <a:gd name="T92" fmla="*/ 78 w 873"/>
                <a:gd name="T93" fmla="*/ 90 h 851"/>
                <a:gd name="T94" fmla="*/ 88 w 873"/>
                <a:gd name="T95" fmla="*/ 90 h 851"/>
                <a:gd name="T96" fmla="*/ 90 w 873"/>
                <a:gd name="T97" fmla="*/ 89 h 851"/>
                <a:gd name="T98" fmla="*/ 93 w 873"/>
                <a:gd name="T99" fmla="*/ 90 h 851"/>
                <a:gd name="T100" fmla="*/ 94 w 873"/>
                <a:gd name="T101" fmla="*/ 93 h 851"/>
                <a:gd name="T102" fmla="*/ 99 w 873"/>
                <a:gd name="T103" fmla="*/ 91 h 851"/>
                <a:gd name="T104" fmla="*/ 100 w 873"/>
                <a:gd name="T105" fmla="*/ 93 h 851"/>
                <a:gd name="T106" fmla="*/ 113 w 873"/>
                <a:gd name="T107" fmla="*/ 95 h 851"/>
                <a:gd name="T108" fmla="*/ 120 w 873"/>
                <a:gd name="T109" fmla="*/ 97 h 851"/>
                <a:gd name="T110" fmla="*/ 123 w 873"/>
                <a:gd name="T111" fmla="*/ 101 h 851"/>
                <a:gd name="T112" fmla="*/ 130 w 873"/>
                <a:gd name="T113" fmla="*/ 103 h 851"/>
                <a:gd name="T114" fmla="*/ 133 w 873"/>
                <a:gd name="T115" fmla="*/ 103 h 851"/>
                <a:gd name="T116" fmla="*/ 134 w 873"/>
                <a:gd name="T117" fmla="*/ 103 h 851"/>
                <a:gd name="T118" fmla="*/ 132 w 873"/>
                <a:gd name="T119" fmla="*/ 97 h 851"/>
                <a:gd name="T120" fmla="*/ 127 w 873"/>
                <a:gd name="T121" fmla="*/ 97 h 851"/>
                <a:gd name="T122" fmla="*/ 127 w 873"/>
                <a:gd name="T123" fmla="*/ 85 h 851"/>
                <a:gd name="T124" fmla="*/ 129 w 873"/>
                <a:gd name="T125" fmla="*/ 76 h 85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73"/>
                <a:gd name="T190" fmla="*/ 0 h 851"/>
                <a:gd name="T191" fmla="*/ 873 w 873"/>
                <a:gd name="T192" fmla="*/ 851 h 85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73" h="851">
                  <a:moveTo>
                    <a:pt x="838" y="614"/>
                  </a:moveTo>
                  <a:lnTo>
                    <a:pt x="831" y="585"/>
                  </a:lnTo>
                  <a:lnTo>
                    <a:pt x="823" y="575"/>
                  </a:lnTo>
                  <a:lnTo>
                    <a:pt x="813" y="571"/>
                  </a:lnTo>
                  <a:lnTo>
                    <a:pt x="795" y="553"/>
                  </a:lnTo>
                  <a:lnTo>
                    <a:pt x="790" y="540"/>
                  </a:lnTo>
                  <a:lnTo>
                    <a:pt x="785" y="534"/>
                  </a:lnTo>
                  <a:lnTo>
                    <a:pt x="782" y="520"/>
                  </a:lnTo>
                  <a:lnTo>
                    <a:pt x="785" y="500"/>
                  </a:lnTo>
                  <a:lnTo>
                    <a:pt x="773" y="473"/>
                  </a:lnTo>
                  <a:lnTo>
                    <a:pt x="780" y="441"/>
                  </a:lnTo>
                  <a:lnTo>
                    <a:pt x="779" y="433"/>
                  </a:lnTo>
                  <a:lnTo>
                    <a:pt x="774" y="435"/>
                  </a:lnTo>
                  <a:lnTo>
                    <a:pt x="783" y="394"/>
                  </a:lnTo>
                  <a:lnTo>
                    <a:pt x="782" y="374"/>
                  </a:lnTo>
                  <a:lnTo>
                    <a:pt x="769" y="357"/>
                  </a:lnTo>
                  <a:lnTo>
                    <a:pt x="769" y="349"/>
                  </a:lnTo>
                  <a:lnTo>
                    <a:pt x="798" y="301"/>
                  </a:lnTo>
                  <a:lnTo>
                    <a:pt x="801" y="300"/>
                  </a:lnTo>
                  <a:lnTo>
                    <a:pt x="811" y="221"/>
                  </a:lnTo>
                  <a:lnTo>
                    <a:pt x="848" y="169"/>
                  </a:lnTo>
                  <a:lnTo>
                    <a:pt x="862" y="160"/>
                  </a:lnTo>
                  <a:lnTo>
                    <a:pt x="868" y="153"/>
                  </a:lnTo>
                  <a:lnTo>
                    <a:pt x="873" y="146"/>
                  </a:lnTo>
                  <a:lnTo>
                    <a:pt x="871" y="140"/>
                  </a:lnTo>
                  <a:lnTo>
                    <a:pt x="869" y="135"/>
                  </a:lnTo>
                  <a:lnTo>
                    <a:pt x="863" y="133"/>
                  </a:lnTo>
                  <a:lnTo>
                    <a:pt x="854" y="127"/>
                  </a:lnTo>
                  <a:lnTo>
                    <a:pt x="852" y="119"/>
                  </a:lnTo>
                  <a:lnTo>
                    <a:pt x="854" y="86"/>
                  </a:lnTo>
                  <a:lnTo>
                    <a:pt x="857" y="79"/>
                  </a:lnTo>
                  <a:lnTo>
                    <a:pt x="856" y="75"/>
                  </a:lnTo>
                  <a:lnTo>
                    <a:pt x="851" y="76"/>
                  </a:lnTo>
                  <a:lnTo>
                    <a:pt x="798" y="29"/>
                  </a:lnTo>
                  <a:lnTo>
                    <a:pt x="787" y="38"/>
                  </a:lnTo>
                  <a:lnTo>
                    <a:pt x="778" y="39"/>
                  </a:lnTo>
                  <a:lnTo>
                    <a:pt x="756" y="34"/>
                  </a:lnTo>
                  <a:lnTo>
                    <a:pt x="751" y="42"/>
                  </a:lnTo>
                  <a:lnTo>
                    <a:pt x="745" y="44"/>
                  </a:lnTo>
                  <a:lnTo>
                    <a:pt x="726" y="36"/>
                  </a:lnTo>
                  <a:lnTo>
                    <a:pt x="717" y="21"/>
                  </a:lnTo>
                  <a:lnTo>
                    <a:pt x="706" y="14"/>
                  </a:lnTo>
                  <a:lnTo>
                    <a:pt x="701" y="4"/>
                  </a:lnTo>
                  <a:lnTo>
                    <a:pt x="677" y="4"/>
                  </a:lnTo>
                  <a:lnTo>
                    <a:pt x="671" y="13"/>
                  </a:lnTo>
                  <a:lnTo>
                    <a:pt x="661" y="6"/>
                  </a:lnTo>
                  <a:lnTo>
                    <a:pt x="655" y="13"/>
                  </a:lnTo>
                  <a:lnTo>
                    <a:pt x="643" y="0"/>
                  </a:lnTo>
                  <a:lnTo>
                    <a:pt x="612" y="6"/>
                  </a:lnTo>
                  <a:lnTo>
                    <a:pt x="595" y="2"/>
                  </a:lnTo>
                  <a:lnTo>
                    <a:pt x="593" y="13"/>
                  </a:lnTo>
                  <a:lnTo>
                    <a:pt x="583" y="13"/>
                  </a:lnTo>
                  <a:lnTo>
                    <a:pt x="576" y="16"/>
                  </a:lnTo>
                  <a:lnTo>
                    <a:pt x="569" y="13"/>
                  </a:lnTo>
                  <a:lnTo>
                    <a:pt x="571" y="13"/>
                  </a:lnTo>
                  <a:lnTo>
                    <a:pt x="569" y="9"/>
                  </a:lnTo>
                  <a:lnTo>
                    <a:pt x="565" y="9"/>
                  </a:lnTo>
                  <a:lnTo>
                    <a:pt x="509" y="27"/>
                  </a:lnTo>
                  <a:lnTo>
                    <a:pt x="502" y="22"/>
                  </a:lnTo>
                  <a:lnTo>
                    <a:pt x="487" y="20"/>
                  </a:lnTo>
                  <a:lnTo>
                    <a:pt x="475" y="27"/>
                  </a:lnTo>
                  <a:lnTo>
                    <a:pt x="474" y="42"/>
                  </a:lnTo>
                  <a:lnTo>
                    <a:pt x="467" y="44"/>
                  </a:lnTo>
                  <a:lnTo>
                    <a:pt x="425" y="44"/>
                  </a:lnTo>
                  <a:lnTo>
                    <a:pt x="406" y="38"/>
                  </a:lnTo>
                  <a:lnTo>
                    <a:pt x="394" y="31"/>
                  </a:lnTo>
                  <a:lnTo>
                    <a:pt x="387" y="37"/>
                  </a:lnTo>
                  <a:lnTo>
                    <a:pt x="381" y="36"/>
                  </a:lnTo>
                  <a:lnTo>
                    <a:pt x="365" y="21"/>
                  </a:lnTo>
                  <a:lnTo>
                    <a:pt x="363" y="13"/>
                  </a:lnTo>
                  <a:lnTo>
                    <a:pt x="355" y="5"/>
                  </a:lnTo>
                  <a:lnTo>
                    <a:pt x="332" y="4"/>
                  </a:lnTo>
                  <a:lnTo>
                    <a:pt x="315" y="18"/>
                  </a:lnTo>
                  <a:lnTo>
                    <a:pt x="309" y="31"/>
                  </a:lnTo>
                  <a:lnTo>
                    <a:pt x="303" y="35"/>
                  </a:lnTo>
                  <a:lnTo>
                    <a:pt x="300" y="63"/>
                  </a:lnTo>
                  <a:lnTo>
                    <a:pt x="302" y="69"/>
                  </a:lnTo>
                  <a:lnTo>
                    <a:pt x="291" y="71"/>
                  </a:lnTo>
                  <a:lnTo>
                    <a:pt x="294" y="86"/>
                  </a:lnTo>
                  <a:lnTo>
                    <a:pt x="264" y="153"/>
                  </a:lnTo>
                  <a:lnTo>
                    <a:pt x="248" y="274"/>
                  </a:lnTo>
                  <a:lnTo>
                    <a:pt x="220" y="293"/>
                  </a:lnTo>
                  <a:lnTo>
                    <a:pt x="186" y="336"/>
                  </a:lnTo>
                  <a:lnTo>
                    <a:pt x="175" y="401"/>
                  </a:lnTo>
                  <a:lnTo>
                    <a:pt x="151" y="432"/>
                  </a:lnTo>
                  <a:lnTo>
                    <a:pt x="120" y="454"/>
                  </a:lnTo>
                  <a:lnTo>
                    <a:pt x="104" y="462"/>
                  </a:lnTo>
                  <a:lnTo>
                    <a:pt x="94" y="459"/>
                  </a:lnTo>
                  <a:lnTo>
                    <a:pt x="93" y="443"/>
                  </a:lnTo>
                  <a:lnTo>
                    <a:pt x="91" y="440"/>
                  </a:lnTo>
                  <a:lnTo>
                    <a:pt x="69" y="445"/>
                  </a:lnTo>
                  <a:lnTo>
                    <a:pt x="62" y="450"/>
                  </a:lnTo>
                  <a:lnTo>
                    <a:pt x="56" y="460"/>
                  </a:lnTo>
                  <a:lnTo>
                    <a:pt x="46" y="463"/>
                  </a:lnTo>
                  <a:lnTo>
                    <a:pt x="32" y="454"/>
                  </a:lnTo>
                  <a:lnTo>
                    <a:pt x="29" y="455"/>
                  </a:lnTo>
                  <a:lnTo>
                    <a:pt x="15" y="469"/>
                  </a:lnTo>
                  <a:lnTo>
                    <a:pt x="9" y="504"/>
                  </a:lnTo>
                  <a:lnTo>
                    <a:pt x="0" y="508"/>
                  </a:lnTo>
                  <a:lnTo>
                    <a:pt x="3" y="517"/>
                  </a:lnTo>
                  <a:lnTo>
                    <a:pt x="0" y="523"/>
                  </a:lnTo>
                  <a:lnTo>
                    <a:pt x="2" y="527"/>
                  </a:lnTo>
                  <a:lnTo>
                    <a:pt x="3" y="524"/>
                  </a:lnTo>
                  <a:lnTo>
                    <a:pt x="46" y="507"/>
                  </a:lnTo>
                  <a:lnTo>
                    <a:pt x="96" y="506"/>
                  </a:lnTo>
                  <a:lnTo>
                    <a:pt x="103" y="507"/>
                  </a:lnTo>
                  <a:lnTo>
                    <a:pt x="181" y="506"/>
                  </a:lnTo>
                  <a:lnTo>
                    <a:pt x="183" y="507"/>
                  </a:lnTo>
                  <a:lnTo>
                    <a:pt x="187" y="513"/>
                  </a:lnTo>
                  <a:lnTo>
                    <a:pt x="190" y="513"/>
                  </a:lnTo>
                  <a:lnTo>
                    <a:pt x="194" y="512"/>
                  </a:lnTo>
                  <a:lnTo>
                    <a:pt x="213" y="574"/>
                  </a:lnTo>
                  <a:lnTo>
                    <a:pt x="241" y="608"/>
                  </a:lnTo>
                  <a:lnTo>
                    <a:pt x="252" y="612"/>
                  </a:lnTo>
                  <a:lnTo>
                    <a:pt x="263" y="612"/>
                  </a:lnTo>
                  <a:lnTo>
                    <a:pt x="291" y="604"/>
                  </a:lnTo>
                  <a:lnTo>
                    <a:pt x="321" y="605"/>
                  </a:lnTo>
                  <a:lnTo>
                    <a:pt x="325" y="587"/>
                  </a:lnTo>
                  <a:lnTo>
                    <a:pt x="328" y="583"/>
                  </a:lnTo>
                  <a:lnTo>
                    <a:pt x="333" y="560"/>
                  </a:lnTo>
                  <a:lnTo>
                    <a:pt x="369" y="560"/>
                  </a:lnTo>
                  <a:lnTo>
                    <a:pt x="370" y="555"/>
                  </a:lnTo>
                  <a:lnTo>
                    <a:pt x="390" y="555"/>
                  </a:lnTo>
                  <a:lnTo>
                    <a:pt x="389" y="573"/>
                  </a:lnTo>
                  <a:lnTo>
                    <a:pt x="430" y="574"/>
                  </a:lnTo>
                  <a:lnTo>
                    <a:pt x="434" y="584"/>
                  </a:lnTo>
                  <a:lnTo>
                    <a:pt x="440" y="648"/>
                  </a:lnTo>
                  <a:lnTo>
                    <a:pt x="437" y="662"/>
                  </a:lnTo>
                  <a:lnTo>
                    <a:pt x="439" y="680"/>
                  </a:lnTo>
                  <a:lnTo>
                    <a:pt x="458" y="724"/>
                  </a:lnTo>
                  <a:lnTo>
                    <a:pt x="457" y="730"/>
                  </a:lnTo>
                  <a:lnTo>
                    <a:pt x="443" y="745"/>
                  </a:lnTo>
                  <a:lnTo>
                    <a:pt x="443" y="748"/>
                  </a:lnTo>
                  <a:lnTo>
                    <a:pt x="444" y="750"/>
                  </a:lnTo>
                  <a:lnTo>
                    <a:pt x="445" y="751"/>
                  </a:lnTo>
                  <a:lnTo>
                    <a:pt x="449" y="752"/>
                  </a:lnTo>
                  <a:lnTo>
                    <a:pt x="454" y="758"/>
                  </a:lnTo>
                  <a:lnTo>
                    <a:pt x="459" y="759"/>
                  </a:lnTo>
                  <a:lnTo>
                    <a:pt x="461" y="758"/>
                  </a:lnTo>
                  <a:lnTo>
                    <a:pt x="465" y="746"/>
                  </a:lnTo>
                  <a:lnTo>
                    <a:pt x="469" y="744"/>
                  </a:lnTo>
                  <a:lnTo>
                    <a:pt x="511" y="744"/>
                  </a:lnTo>
                  <a:lnTo>
                    <a:pt x="521" y="741"/>
                  </a:lnTo>
                  <a:lnTo>
                    <a:pt x="527" y="743"/>
                  </a:lnTo>
                  <a:lnTo>
                    <a:pt x="530" y="743"/>
                  </a:lnTo>
                  <a:lnTo>
                    <a:pt x="537" y="737"/>
                  </a:lnTo>
                  <a:lnTo>
                    <a:pt x="539" y="737"/>
                  </a:lnTo>
                  <a:lnTo>
                    <a:pt x="551" y="735"/>
                  </a:lnTo>
                  <a:lnTo>
                    <a:pt x="552" y="735"/>
                  </a:lnTo>
                  <a:lnTo>
                    <a:pt x="558" y="744"/>
                  </a:lnTo>
                  <a:lnTo>
                    <a:pt x="557" y="755"/>
                  </a:lnTo>
                  <a:lnTo>
                    <a:pt x="559" y="758"/>
                  </a:lnTo>
                  <a:lnTo>
                    <a:pt x="561" y="759"/>
                  </a:lnTo>
                  <a:lnTo>
                    <a:pt x="577" y="753"/>
                  </a:lnTo>
                  <a:lnTo>
                    <a:pt x="583" y="753"/>
                  </a:lnTo>
                  <a:lnTo>
                    <a:pt x="592" y="749"/>
                  </a:lnTo>
                  <a:lnTo>
                    <a:pt x="597" y="756"/>
                  </a:lnTo>
                  <a:lnTo>
                    <a:pt x="599" y="763"/>
                  </a:lnTo>
                  <a:lnTo>
                    <a:pt x="603" y="768"/>
                  </a:lnTo>
                  <a:lnTo>
                    <a:pt x="640" y="786"/>
                  </a:lnTo>
                  <a:lnTo>
                    <a:pt x="651" y="786"/>
                  </a:lnTo>
                  <a:lnTo>
                    <a:pt x="675" y="778"/>
                  </a:lnTo>
                  <a:lnTo>
                    <a:pt x="680" y="778"/>
                  </a:lnTo>
                  <a:lnTo>
                    <a:pt x="695" y="794"/>
                  </a:lnTo>
                  <a:lnTo>
                    <a:pt x="717" y="803"/>
                  </a:lnTo>
                  <a:lnTo>
                    <a:pt x="726" y="803"/>
                  </a:lnTo>
                  <a:lnTo>
                    <a:pt x="731" y="809"/>
                  </a:lnTo>
                  <a:lnTo>
                    <a:pt x="738" y="825"/>
                  </a:lnTo>
                  <a:lnTo>
                    <a:pt x="762" y="841"/>
                  </a:lnTo>
                  <a:lnTo>
                    <a:pt x="778" y="847"/>
                  </a:lnTo>
                  <a:lnTo>
                    <a:pt x="781" y="847"/>
                  </a:lnTo>
                  <a:lnTo>
                    <a:pt x="786" y="844"/>
                  </a:lnTo>
                  <a:lnTo>
                    <a:pt x="790" y="844"/>
                  </a:lnTo>
                  <a:lnTo>
                    <a:pt x="794" y="850"/>
                  </a:lnTo>
                  <a:lnTo>
                    <a:pt x="797" y="851"/>
                  </a:lnTo>
                  <a:lnTo>
                    <a:pt x="800" y="851"/>
                  </a:lnTo>
                  <a:lnTo>
                    <a:pt x="802" y="849"/>
                  </a:lnTo>
                  <a:lnTo>
                    <a:pt x="800" y="807"/>
                  </a:lnTo>
                  <a:lnTo>
                    <a:pt x="798" y="801"/>
                  </a:lnTo>
                  <a:lnTo>
                    <a:pt x="793" y="800"/>
                  </a:lnTo>
                  <a:lnTo>
                    <a:pt x="786" y="804"/>
                  </a:lnTo>
                  <a:lnTo>
                    <a:pt x="766" y="802"/>
                  </a:lnTo>
                  <a:lnTo>
                    <a:pt x="760" y="798"/>
                  </a:lnTo>
                  <a:lnTo>
                    <a:pt x="746" y="780"/>
                  </a:lnTo>
                  <a:lnTo>
                    <a:pt x="746" y="772"/>
                  </a:lnTo>
                  <a:lnTo>
                    <a:pt x="763" y="697"/>
                  </a:lnTo>
                  <a:lnTo>
                    <a:pt x="756" y="661"/>
                  </a:lnTo>
                  <a:lnTo>
                    <a:pt x="771" y="631"/>
                  </a:lnTo>
                  <a:lnTo>
                    <a:pt x="776" y="629"/>
                  </a:lnTo>
                  <a:lnTo>
                    <a:pt x="838" y="614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1" name="Freeform 230"/>
            <p:cNvSpPr>
              <a:spLocks/>
            </p:cNvSpPr>
            <p:nvPr/>
          </p:nvSpPr>
          <p:spPr bwMode="auto">
            <a:xfrm>
              <a:off x="5166549" y="1642456"/>
              <a:ext cx="1157680" cy="794096"/>
            </a:xfrm>
            <a:custGeom>
              <a:avLst/>
              <a:gdLst>
                <a:gd name="T0" fmla="*/ 128 w 967"/>
                <a:gd name="T1" fmla="*/ 48 h 795"/>
                <a:gd name="T2" fmla="*/ 128 w 967"/>
                <a:gd name="T3" fmla="*/ 50 h 795"/>
                <a:gd name="T4" fmla="*/ 130 w 967"/>
                <a:gd name="T5" fmla="*/ 51 h 795"/>
                <a:gd name="T6" fmla="*/ 157 w 967"/>
                <a:gd name="T7" fmla="*/ 60 h 795"/>
                <a:gd name="T8" fmla="*/ 156 w 967"/>
                <a:gd name="T9" fmla="*/ 76 h 795"/>
                <a:gd name="T10" fmla="*/ 110 w 967"/>
                <a:gd name="T11" fmla="*/ 84 h 795"/>
                <a:gd name="T12" fmla="*/ 98 w 967"/>
                <a:gd name="T13" fmla="*/ 93 h 795"/>
                <a:gd name="T14" fmla="*/ 93 w 967"/>
                <a:gd name="T15" fmla="*/ 92 h 795"/>
                <a:gd name="T16" fmla="*/ 68 w 967"/>
                <a:gd name="T17" fmla="*/ 93 h 795"/>
                <a:gd name="T18" fmla="*/ 64 w 967"/>
                <a:gd name="T19" fmla="*/ 95 h 795"/>
                <a:gd name="T20" fmla="*/ 62 w 967"/>
                <a:gd name="T21" fmla="*/ 97 h 795"/>
                <a:gd name="T22" fmla="*/ 61 w 967"/>
                <a:gd name="T23" fmla="*/ 95 h 795"/>
                <a:gd name="T24" fmla="*/ 59 w 967"/>
                <a:gd name="T25" fmla="*/ 92 h 795"/>
                <a:gd name="T26" fmla="*/ 55 w 967"/>
                <a:gd name="T27" fmla="*/ 88 h 795"/>
                <a:gd name="T28" fmla="*/ 50 w 967"/>
                <a:gd name="T29" fmla="*/ 83 h 795"/>
                <a:gd name="T30" fmla="*/ 41 w 967"/>
                <a:gd name="T31" fmla="*/ 74 h 795"/>
                <a:gd name="T32" fmla="*/ 36 w 967"/>
                <a:gd name="T33" fmla="*/ 72 h 795"/>
                <a:gd name="T34" fmla="*/ 34 w 967"/>
                <a:gd name="T35" fmla="*/ 64 h 795"/>
                <a:gd name="T36" fmla="*/ 33 w 967"/>
                <a:gd name="T37" fmla="*/ 59 h 795"/>
                <a:gd name="T38" fmla="*/ 25 w 967"/>
                <a:gd name="T39" fmla="*/ 51 h 795"/>
                <a:gd name="T40" fmla="*/ 24 w 967"/>
                <a:gd name="T41" fmla="*/ 50 h 795"/>
                <a:gd name="T42" fmla="*/ 22 w 967"/>
                <a:gd name="T43" fmla="*/ 50 h 795"/>
                <a:gd name="T44" fmla="*/ 20 w 967"/>
                <a:gd name="T45" fmla="*/ 46 h 795"/>
                <a:gd name="T46" fmla="*/ 16 w 967"/>
                <a:gd name="T47" fmla="*/ 41 h 795"/>
                <a:gd name="T48" fmla="*/ 14 w 967"/>
                <a:gd name="T49" fmla="*/ 38 h 795"/>
                <a:gd name="T50" fmla="*/ 10 w 967"/>
                <a:gd name="T51" fmla="*/ 34 h 795"/>
                <a:gd name="T52" fmla="*/ 5 w 967"/>
                <a:gd name="T53" fmla="*/ 27 h 795"/>
                <a:gd name="T54" fmla="*/ 1 w 967"/>
                <a:gd name="T55" fmla="*/ 26 h 795"/>
                <a:gd name="T56" fmla="*/ 2 w 967"/>
                <a:gd name="T57" fmla="*/ 24 h 795"/>
                <a:gd name="T58" fmla="*/ 3 w 967"/>
                <a:gd name="T59" fmla="*/ 18 h 795"/>
                <a:gd name="T60" fmla="*/ 14 w 967"/>
                <a:gd name="T61" fmla="*/ 18 h 795"/>
                <a:gd name="T62" fmla="*/ 22 w 967"/>
                <a:gd name="T63" fmla="*/ 12 h 795"/>
                <a:gd name="T64" fmla="*/ 17 w 967"/>
                <a:gd name="T65" fmla="*/ 4 h 795"/>
                <a:gd name="T66" fmla="*/ 64 w 967"/>
                <a:gd name="T67" fmla="*/ 10 h 795"/>
                <a:gd name="T68" fmla="*/ 69 w 967"/>
                <a:gd name="T69" fmla="*/ 12 h 795"/>
                <a:gd name="T70" fmla="*/ 78 w 967"/>
                <a:gd name="T71" fmla="*/ 19 h 795"/>
                <a:gd name="T72" fmla="*/ 99 w 967"/>
                <a:gd name="T73" fmla="*/ 22 h 795"/>
                <a:gd name="T74" fmla="*/ 108 w 967"/>
                <a:gd name="T75" fmla="*/ 28 h 795"/>
                <a:gd name="T76" fmla="*/ 112 w 967"/>
                <a:gd name="T77" fmla="*/ 31 h 795"/>
                <a:gd name="T78" fmla="*/ 112 w 967"/>
                <a:gd name="T79" fmla="*/ 32 h 795"/>
                <a:gd name="T80" fmla="*/ 117 w 967"/>
                <a:gd name="T81" fmla="*/ 35 h 795"/>
                <a:gd name="T82" fmla="*/ 119 w 967"/>
                <a:gd name="T83" fmla="*/ 38 h 795"/>
                <a:gd name="T84" fmla="*/ 118 w 967"/>
                <a:gd name="T85" fmla="*/ 39 h 795"/>
                <a:gd name="T86" fmla="*/ 122 w 967"/>
                <a:gd name="T87" fmla="*/ 45 h 795"/>
                <a:gd name="T88" fmla="*/ 123 w 967"/>
                <a:gd name="T89" fmla="*/ 47 h 795"/>
                <a:gd name="T90" fmla="*/ 124 w 967"/>
                <a:gd name="T91" fmla="*/ 48 h 795"/>
                <a:gd name="T92" fmla="*/ 129 w 967"/>
                <a:gd name="T93" fmla="*/ 48 h 79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967"/>
                <a:gd name="T142" fmla="*/ 0 h 795"/>
                <a:gd name="T143" fmla="*/ 967 w 967"/>
                <a:gd name="T144" fmla="*/ 795 h 79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967" h="795">
                  <a:moveTo>
                    <a:pt x="771" y="392"/>
                  </a:moveTo>
                  <a:lnTo>
                    <a:pt x="768" y="396"/>
                  </a:lnTo>
                  <a:lnTo>
                    <a:pt x="769" y="399"/>
                  </a:lnTo>
                  <a:lnTo>
                    <a:pt x="771" y="400"/>
                  </a:lnTo>
                  <a:lnTo>
                    <a:pt x="768" y="405"/>
                  </a:lnTo>
                  <a:lnTo>
                    <a:pt x="768" y="411"/>
                  </a:lnTo>
                  <a:lnTo>
                    <a:pt x="775" y="410"/>
                  </a:lnTo>
                  <a:lnTo>
                    <a:pt x="778" y="413"/>
                  </a:lnTo>
                  <a:lnTo>
                    <a:pt x="778" y="420"/>
                  </a:lnTo>
                  <a:lnTo>
                    <a:pt x="825" y="478"/>
                  </a:lnTo>
                  <a:lnTo>
                    <a:pt x="941" y="493"/>
                  </a:lnTo>
                  <a:lnTo>
                    <a:pt x="944" y="490"/>
                  </a:lnTo>
                  <a:lnTo>
                    <a:pt x="944" y="491"/>
                  </a:lnTo>
                  <a:lnTo>
                    <a:pt x="967" y="525"/>
                  </a:lnTo>
                  <a:lnTo>
                    <a:pt x="935" y="623"/>
                  </a:lnTo>
                  <a:lnTo>
                    <a:pt x="798" y="671"/>
                  </a:lnTo>
                  <a:lnTo>
                    <a:pt x="798" y="670"/>
                  </a:lnTo>
                  <a:lnTo>
                    <a:pt x="664" y="690"/>
                  </a:lnTo>
                  <a:lnTo>
                    <a:pt x="622" y="711"/>
                  </a:lnTo>
                  <a:lnTo>
                    <a:pt x="596" y="747"/>
                  </a:lnTo>
                  <a:lnTo>
                    <a:pt x="591" y="762"/>
                  </a:lnTo>
                  <a:lnTo>
                    <a:pt x="576" y="770"/>
                  </a:lnTo>
                  <a:lnTo>
                    <a:pt x="569" y="770"/>
                  </a:lnTo>
                  <a:lnTo>
                    <a:pt x="557" y="750"/>
                  </a:lnTo>
                  <a:lnTo>
                    <a:pt x="447" y="747"/>
                  </a:lnTo>
                  <a:lnTo>
                    <a:pt x="424" y="762"/>
                  </a:lnTo>
                  <a:lnTo>
                    <a:pt x="407" y="764"/>
                  </a:lnTo>
                  <a:lnTo>
                    <a:pt x="402" y="767"/>
                  </a:lnTo>
                  <a:lnTo>
                    <a:pt x="399" y="774"/>
                  </a:lnTo>
                  <a:lnTo>
                    <a:pt x="386" y="780"/>
                  </a:lnTo>
                  <a:lnTo>
                    <a:pt x="385" y="787"/>
                  </a:lnTo>
                  <a:lnTo>
                    <a:pt x="381" y="791"/>
                  </a:lnTo>
                  <a:lnTo>
                    <a:pt x="372" y="795"/>
                  </a:lnTo>
                  <a:lnTo>
                    <a:pt x="370" y="789"/>
                  </a:lnTo>
                  <a:lnTo>
                    <a:pt x="370" y="781"/>
                  </a:lnTo>
                  <a:lnTo>
                    <a:pt x="359" y="763"/>
                  </a:lnTo>
                  <a:lnTo>
                    <a:pt x="357" y="761"/>
                  </a:lnTo>
                  <a:lnTo>
                    <a:pt x="353" y="756"/>
                  </a:lnTo>
                  <a:lnTo>
                    <a:pt x="350" y="742"/>
                  </a:lnTo>
                  <a:lnTo>
                    <a:pt x="335" y="727"/>
                  </a:lnTo>
                  <a:lnTo>
                    <a:pt x="327" y="724"/>
                  </a:lnTo>
                  <a:lnTo>
                    <a:pt x="306" y="688"/>
                  </a:lnTo>
                  <a:lnTo>
                    <a:pt x="301" y="685"/>
                  </a:lnTo>
                  <a:lnTo>
                    <a:pt x="300" y="683"/>
                  </a:lnTo>
                  <a:lnTo>
                    <a:pt x="297" y="663"/>
                  </a:lnTo>
                  <a:lnTo>
                    <a:pt x="270" y="623"/>
                  </a:lnTo>
                  <a:lnTo>
                    <a:pt x="246" y="606"/>
                  </a:lnTo>
                  <a:lnTo>
                    <a:pt x="244" y="607"/>
                  </a:lnTo>
                  <a:lnTo>
                    <a:pt x="227" y="598"/>
                  </a:lnTo>
                  <a:lnTo>
                    <a:pt x="218" y="589"/>
                  </a:lnTo>
                  <a:lnTo>
                    <a:pt x="204" y="534"/>
                  </a:lnTo>
                  <a:lnTo>
                    <a:pt x="201" y="529"/>
                  </a:lnTo>
                  <a:lnTo>
                    <a:pt x="200" y="525"/>
                  </a:lnTo>
                  <a:lnTo>
                    <a:pt x="202" y="523"/>
                  </a:lnTo>
                  <a:lnTo>
                    <a:pt x="206" y="505"/>
                  </a:lnTo>
                  <a:lnTo>
                    <a:pt x="199" y="488"/>
                  </a:lnTo>
                  <a:lnTo>
                    <a:pt x="196" y="484"/>
                  </a:lnTo>
                  <a:lnTo>
                    <a:pt x="174" y="435"/>
                  </a:lnTo>
                  <a:lnTo>
                    <a:pt x="152" y="415"/>
                  </a:lnTo>
                  <a:lnTo>
                    <a:pt x="149" y="415"/>
                  </a:lnTo>
                  <a:lnTo>
                    <a:pt x="148" y="412"/>
                  </a:lnTo>
                  <a:lnTo>
                    <a:pt x="142" y="409"/>
                  </a:lnTo>
                  <a:lnTo>
                    <a:pt x="136" y="409"/>
                  </a:lnTo>
                  <a:lnTo>
                    <a:pt x="133" y="410"/>
                  </a:lnTo>
                  <a:lnTo>
                    <a:pt x="130" y="408"/>
                  </a:lnTo>
                  <a:lnTo>
                    <a:pt x="128" y="402"/>
                  </a:lnTo>
                  <a:lnTo>
                    <a:pt x="119" y="389"/>
                  </a:lnTo>
                  <a:lnTo>
                    <a:pt x="119" y="381"/>
                  </a:lnTo>
                  <a:lnTo>
                    <a:pt x="120" y="379"/>
                  </a:lnTo>
                  <a:lnTo>
                    <a:pt x="101" y="338"/>
                  </a:lnTo>
                  <a:lnTo>
                    <a:pt x="94" y="335"/>
                  </a:lnTo>
                  <a:lnTo>
                    <a:pt x="92" y="331"/>
                  </a:lnTo>
                  <a:lnTo>
                    <a:pt x="90" y="325"/>
                  </a:lnTo>
                  <a:lnTo>
                    <a:pt x="81" y="313"/>
                  </a:lnTo>
                  <a:lnTo>
                    <a:pt x="73" y="293"/>
                  </a:lnTo>
                  <a:lnTo>
                    <a:pt x="68" y="286"/>
                  </a:lnTo>
                  <a:lnTo>
                    <a:pt x="62" y="281"/>
                  </a:lnTo>
                  <a:lnTo>
                    <a:pt x="52" y="268"/>
                  </a:lnTo>
                  <a:lnTo>
                    <a:pt x="51" y="263"/>
                  </a:lnTo>
                  <a:lnTo>
                    <a:pt x="27" y="220"/>
                  </a:lnTo>
                  <a:lnTo>
                    <a:pt x="22" y="216"/>
                  </a:lnTo>
                  <a:lnTo>
                    <a:pt x="8" y="215"/>
                  </a:lnTo>
                  <a:lnTo>
                    <a:pt x="6" y="214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10" y="196"/>
                  </a:lnTo>
                  <a:lnTo>
                    <a:pt x="13" y="170"/>
                  </a:lnTo>
                  <a:lnTo>
                    <a:pt x="16" y="161"/>
                  </a:lnTo>
                  <a:lnTo>
                    <a:pt x="16" y="149"/>
                  </a:lnTo>
                  <a:lnTo>
                    <a:pt x="17" y="156"/>
                  </a:lnTo>
                  <a:lnTo>
                    <a:pt x="68" y="163"/>
                  </a:lnTo>
                  <a:lnTo>
                    <a:pt x="83" y="148"/>
                  </a:lnTo>
                  <a:lnTo>
                    <a:pt x="95" y="124"/>
                  </a:lnTo>
                  <a:lnTo>
                    <a:pt x="130" y="119"/>
                  </a:lnTo>
                  <a:lnTo>
                    <a:pt x="137" y="98"/>
                  </a:lnTo>
                  <a:lnTo>
                    <a:pt x="156" y="87"/>
                  </a:lnTo>
                  <a:lnTo>
                    <a:pt x="156" y="86"/>
                  </a:lnTo>
                  <a:lnTo>
                    <a:pt x="105" y="36"/>
                  </a:lnTo>
                  <a:lnTo>
                    <a:pt x="194" y="17"/>
                  </a:lnTo>
                  <a:lnTo>
                    <a:pt x="208" y="0"/>
                  </a:lnTo>
                  <a:lnTo>
                    <a:pt x="381" y="80"/>
                  </a:lnTo>
                  <a:lnTo>
                    <a:pt x="388" y="96"/>
                  </a:lnTo>
                  <a:lnTo>
                    <a:pt x="412" y="98"/>
                  </a:lnTo>
                  <a:lnTo>
                    <a:pt x="414" y="100"/>
                  </a:lnTo>
                  <a:lnTo>
                    <a:pt x="414" y="133"/>
                  </a:lnTo>
                  <a:lnTo>
                    <a:pt x="416" y="136"/>
                  </a:lnTo>
                  <a:lnTo>
                    <a:pt x="469" y="159"/>
                  </a:lnTo>
                  <a:lnTo>
                    <a:pt x="550" y="164"/>
                  </a:lnTo>
                  <a:lnTo>
                    <a:pt x="588" y="175"/>
                  </a:lnTo>
                  <a:lnTo>
                    <a:pt x="595" y="180"/>
                  </a:lnTo>
                  <a:lnTo>
                    <a:pt x="603" y="193"/>
                  </a:lnTo>
                  <a:lnTo>
                    <a:pt x="631" y="193"/>
                  </a:lnTo>
                  <a:lnTo>
                    <a:pt x="649" y="230"/>
                  </a:lnTo>
                  <a:lnTo>
                    <a:pt x="657" y="233"/>
                  </a:lnTo>
                  <a:lnTo>
                    <a:pt x="662" y="243"/>
                  </a:lnTo>
                  <a:lnTo>
                    <a:pt x="673" y="251"/>
                  </a:lnTo>
                  <a:lnTo>
                    <a:pt x="673" y="252"/>
                  </a:lnTo>
                  <a:lnTo>
                    <a:pt x="671" y="254"/>
                  </a:lnTo>
                  <a:lnTo>
                    <a:pt x="673" y="259"/>
                  </a:lnTo>
                  <a:lnTo>
                    <a:pt x="675" y="266"/>
                  </a:lnTo>
                  <a:lnTo>
                    <a:pt x="683" y="268"/>
                  </a:lnTo>
                  <a:lnTo>
                    <a:pt x="704" y="284"/>
                  </a:lnTo>
                  <a:lnTo>
                    <a:pt x="708" y="291"/>
                  </a:lnTo>
                  <a:lnTo>
                    <a:pt x="707" y="299"/>
                  </a:lnTo>
                  <a:lnTo>
                    <a:pt x="713" y="308"/>
                  </a:lnTo>
                  <a:lnTo>
                    <a:pt x="715" y="314"/>
                  </a:lnTo>
                  <a:lnTo>
                    <a:pt x="714" y="318"/>
                  </a:lnTo>
                  <a:lnTo>
                    <a:pt x="710" y="324"/>
                  </a:lnTo>
                  <a:lnTo>
                    <a:pt x="710" y="334"/>
                  </a:lnTo>
                  <a:lnTo>
                    <a:pt x="729" y="356"/>
                  </a:lnTo>
                  <a:lnTo>
                    <a:pt x="732" y="371"/>
                  </a:lnTo>
                  <a:lnTo>
                    <a:pt x="736" y="376"/>
                  </a:lnTo>
                  <a:lnTo>
                    <a:pt x="737" y="381"/>
                  </a:lnTo>
                  <a:lnTo>
                    <a:pt x="739" y="383"/>
                  </a:lnTo>
                  <a:lnTo>
                    <a:pt x="740" y="388"/>
                  </a:lnTo>
                  <a:lnTo>
                    <a:pt x="742" y="388"/>
                  </a:lnTo>
                  <a:lnTo>
                    <a:pt x="748" y="398"/>
                  </a:lnTo>
                  <a:lnTo>
                    <a:pt x="754" y="399"/>
                  </a:lnTo>
                  <a:lnTo>
                    <a:pt x="771" y="392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2" name="Freeform 231"/>
            <p:cNvSpPr>
              <a:spLocks/>
            </p:cNvSpPr>
            <p:nvPr/>
          </p:nvSpPr>
          <p:spPr bwMode="auto">
            <a:xfrm>
              <a:off x="5166549" y="1642456"/>
              <a:ext cx="1157680" cy="794096"/>
            </a:xfrm>
            <a:custGeom>
              <a:avLst/>
              <a:gdLst>
                <a:gd name="T0" fmla="*/ 128 w 967"/>
                <a:gd name="T1" fmla="*/ 48 h 795"/>
                <a:gd name="T2" fmla="*/ 128 w 967"/>
                <a:gd name="T3" fmla="*/ 50 h 795"/>
                <a:gd name="T4" fmla="*/ 130 w 967"/>
                <a:gd name="T5" fmla="*/ 51 h 795"/>
                <a:gd name="T6" fmla="*/ 157 w 967"/>
                <a:gd name="T7" fmla="*/ 60 h 795"/>
                <a:gd name="T8" fmla="*/ 156 w 967"/>
                <a:gd name="T9" fmla="*/ 76 h 795"/>
                <a:gd name="T10" fmla="*/ 110 w 967"/>
                <a:gd name="T11" fmla="*/ 84 h 795"/>
                <a:gd name="T12" fmla="*/ 98 w 967"/>
                <a:gd name="T13" fmla="*/ 93 h 795"/>
                <a:gd name="T14" fmla="*/ 93 w 967"/>
                <a:gd name="T15" fmla="*/ 92 h 795"/>
                <a:gd name="T16" fmla="*/ 68 w 967"/>
                <a:gd name="T17" fmla="*/ 93 h 795"/>
                <a:gd name="T18" fmla="*/ 64 w 967"/>
                <a:gd name="T19" fmla="*/ 95 h 795"/>
                <a:gd name="T20" fmla="*/ 62 w 967"/>
                <a:gd name="T21" fmla="*/ 97 h 795"/>
                <a:gd name="T22" fmla="*/ 61 w 967"/>
                <a:gd name="T23" fmla="*/ 95 h 795"/>
                <a:gd name="T24" fmla="*/ 59 w 967"/>
                <a:gd name="T25" fmla="*/ 92 h 795"/>
                <a:gd name="T26" fmla="*/ 55 w 967"/>
                <a:gd name="T27" fmla="*/ 88 h 795"/>
                <a:gd name="T28" fmla="*/ 50 w 967"/>
                <a:gd name="T29" fmla="*/ 83 h 795"/>
                <a:gd name="T30" fmla="*/ 41 w 967"/>
                <a:gd name="T31" fmla="*/ 74 h 795"/>
                <a:gd name="T32" fmla="*/ 36 w 967"/>
                <a:gd name="T33" fmla="*/ 72 h 795"/>
                <a:gd name="T34" fmla="*/ 34 w 967"/>
                <a:gd name="T35" fmla="*/ 64 h 795"/>
                <a:gd name="T36" fmla="*/ 33 w 967"/>
                <a:gd name="T37" fmla="*/ 59 h 795"/>
                <a:gd name="T38" fmla="*/ 25 w 967"/>
                <a:gd name="T39" fmla="*/ 51 h 795"/>
                <a:gd name="T40" fmla="*/ 24 w 967"/>
                <a:gd name="T41" fmla="*/ 50 h 795"/>
                <a:gd name="T42" fmla="*/ 22 w 967"/>
                <a:gd name="T43" fmla="*/ 50 h 795"/>
                <a:gd name="T44" fmla="*/ 20 w 967"/>
                <a:gd name="T45" fmla="*/ 46 h 795"/>
                <a:gd name="T46" fmla="*/ 16 w 967"/>
                <a:gd name="T47" fmla="*/ 41 h 795"/>
                <a:gd name="T48" fmla="*/ 14 w 967"/>
                <a:gd name="T49" fmla="*/ 38 h 795"/>
                <a:gd name="T50" fmla="*/ 10 w 967"/>
                <a:gd name="T51" fmla="*/ 34 h 795"/>
                <a:gd name="T52" fmla="*/ 5 w 967"/>
                <a:gd name="T53" fmla="*/ 27 h 795"/>
                <a:gd name="T54" fmla="*/ 1 w 967"/>
                <a:gd name="T55" fmla="*/ 26 h 795"/>
                <a:gd name="T56" fmla="*/ 2 w 967"/>
                <a:gd name="T57" fmla="*/ 24 h 795"/>
                <a:gd name="T58" fmla="*/ 3 w 967"/>
                <a:gd name="T59" fmla="*/ 18 h 795"/>
                <a:gd name="T60" fmla="*/ 14 w 967"/>
                <a:gd name="T61" fmla="*/ 18 h 795"/>
                <a:gd name="T62" fmla="*/ 22 w 967"/>
                <a:gd name="T63" fmla="*/ 12 h 795"/>
                <a:gd name="T64" fmla="*/ 17 w 967"/>
                <a:gd name="T65" fmla="*/ 4 h 795"/>
                <a:gd name="T66" fmla="*/ 64 w 967"/>
                <a:gd name="T67" fmla="*/ 10 h 795"/>
                <a:gd name="T68" fmla="*/ 69 w 967"/>
                <a:gd name="T69" fmla="*/ 12 h 795"/>
                <a:gd name="T70" fmla="*/ 78 w 967"/>
                <a:gd name="T71" fmla="*/ 19 h 795"/>
                <a:gd name="T72" fmla="*/ 99 w 967"/>
                <a:gd name="T73" fmla="*/ 22 h 795"/>
                <a:gd name="T74" fmla="*/ 108 w 967"/>
                <a:gd name="T75" fmla="*/ 28 h 795"/>
                <a:gd name="T76" fmla="*/ 112 w 967"/>
                <a:gd name="T77" fmla="*/ 31 h 795"/>
                <a:gd name="T78" fmla="*/ 112 w 967"/>
                <a:gd name="T79" fmla="*/ 32 h 795"/>
                <a:gd name="T80" fmla="*/ 117 w 967"/>
                <a:gd name="T81" fmla="*/ 35 h 795"/>
                <a:gd name="T82" fmla="*/ 119 w 967"/>
                <a:gd name="T83" fmla="*/ 38 h 795"/>
                <a:gd name="T84" fmla="*/ 118 w 967"/>
                <a:gd name="T85" fmla="*/ 39 h 795"/>
                <a:gd name="T86" fmla="*/ 122 w 967"/>
                <a:gd name="T87" fmla="*/ 45 h 795"/>
                <a:gd name="T88" fmla="*/ 123 w 967"/>
                <a:gd name="T89" fmla="*/ 47 h 795"/>
                <a:gd name="T90" fmla="*/ 124 w 967"/>
                <a:gd name="T91" fmla="*/ 48 h 79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967"/>
                <a:gd name="T139" fmla="*/ 0 h 795"/>
                <a:gd name="T140" fmla="*/ 967 w 967"/>
                <a:gd name="T141" fmla="*/ 795 h 79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967" h="795">
                  <a:moveTo>
                    <a:pt x="771" y="392"/>
                  </a:moveTo>
                  <a:lnTo>
                    <a:pt x="768" y="396"/>
                  </a:lnTo>
                  <a:lnTo>
                    <a:pt x="769" y="399"/>
                  </a:lnTo>
                  <a:lnTo>
                    <a:pt x="771" y="400"/>
                  </a:lnTo>
                  <a:lnTo>
                    <a:pt x="768" y="405"/>
                  </a:lnTo>
                  <a:lnTo>
                    <a:pt x="768" y="411"/>
                  </a:lnTo>
                  <a:lnTo>
                    <a:pt x="775" y="410"/>
                  </a:lnTo>
                  <a:lnTo>
                    <a:pt x="778" y="413"/>
                  </a:lnTo>
                  <a:lnTo>
                    <a:pt x="778" y="420"/>
                  </a:lnTo>
                  <a:lnTo>
                    <a:pt x="825" y="478"/>
                  </a:lnTo>
                  <a:lnTo>
                    <a:pt x="941" y="493"/>
                  </a:lnTo>
                  <a:lnTo>
                    <a:pt x="944" y="490"/>
                  </a:lnTo>
                  <a:lnTo>
                    <a:pt x="944" y="491"/>
                  </a:lnTo>
                  <a:lnTo>
                    <a:pt x="967" y="525"/>
                  </a:lnTo>
                  <a:lnTo>
                    <a:pt x="935" y="623"/>
                  </a:lnTo>
                  <a:lnTo>
                    <a:pt x="798" y="671"/>
                  </a:lnTo>
                  <a:lnTo>
                    <a:pt x="798" y="670"/>
                  </a:lnTo>
                  <a:lnTo>
                    <a:pt x="664" y="690"/>
                  </a:lnTo>
                  <a:lnTo>
                    <a:pt x="622" y="711"/>
                  </a:lnTo>
                  <a:lnTo>
                    <a:pt x="596" y="747"/>
                  </a:lnTo>
                  <a:lnTo>
                    <a:pt x="591" y="762"/>
                  </a:lnTo>
                  <a:lnTo>
                    <a:pt x="576" y="770"/>
                  </a:lnTo>
                  <a:lnTo>
                    <a:pt x="569" y="770"/>
                  </a:lnTo>
                  <a:lnTo>
                    <a:pt x="557" y="750"/>
                  </a:lnTo>
                  <a:lnTo>
                    <a:pt x="447" y="747"/>
                  </a:lnTo>
                  <a:lnTo>
                    <a:pt x="424" y="762"/>
                  </a:lnTo>
                  <a:lnTo>
                    <a:pt x="407" y="764"/>
                  </a:lnTo>
                  <a:lnTo>
                    <a:pt x="402" y="767"/>
                  </a:lnTo>
                  <a:lnTo>
                    <a:pt x="399" y="774"/>
                  </a:lnTo>
                  <a:lnTo>
                    <a:pt x="386" y="780"/>
                  </a:lnTo>
                  <a:lnTo>
                    <a:pt x="385" y="787"/>
                  </a:lnTo>
                  <a:lnTo>
                    <a:pt x="381" y="791"/>
                  </a:lnTo>
                  <a:lnTo>
                    <a:pt x="372" y="795"/>
                  </a:lnTo>
                  <a:lnTo>
                    <a:pt x="370" y="789"/>
                  </a:lnTo>
                  <a:lnTo>
                    <a:pt x="370" y="781"/>
                  </a:lnTo>
                  <a:lnTo>
                    <a:pt x="359" y="763"/>
                  </a:lnTo>
                  <a:lnTo>
                    <a:pt x="357" y="761"/>
                  </a:lnTo>
                  <a:lnTo>
                    <a:pt x="353" y="756"/>
                  </a:lnTo>
                  <a:lnTo>
                    <a:pt x="350" y="742"/>
                  </a:lnTo>
                  <a:lnTo>
                    <a:pt x="335" y="727"/>
                  </a:lnTo>
                  <a:lnTo>
                    <a:pt x="327" y="724"/>
                  </a:lnTo>
                  <a:lnTo>
                    <a:pt x="306" y="688"/>
                  </a:lnTo>
                  <a:lnTo>
                    <a:pt x="301" y="685"/>
                  </a:lnTo>
                  <a:lnTo>
                    <a:pt x="300" y="683"/>
                  </a:lnTo>
                  <a:lnTo>
                    <a:pt x="297" y="663"/>
                  </a:lnTo>
                  <a:lnTo>
                    <a:pt x="270" y="623"/>
                  </a:lnTo>
                  <a:lnTo>
                    <a:pt x="246" y="606"/>
                  </a:lnTo>
                  <a:lnTo>
                    <a:pt x="244" y="607"/>
                  </a:lnTo>
                  <a:lnTo>
                    <a:pt x="227" y="598"/>
                  </a:lnTo>
                  <a:lnTo>
                    <a:pt x="218" y="589"/>
                  </a:lnTo>
                  <a:lnTo>
                    <a:pt x="204" y="534"/>
                  </a:lnTo>
                  <a:lnTo>
                    <a:pt x="201" y="529"/>
                  </a:lnTo>
                  <a:lnTo>
                    <a:pt x="200" y="525"/>
                  </a:lnTo>
                  <a:lnTo>
                    <a:pt x="202" y="523"/>
                  </a:lnTo>
                  <a:lnTo>
                    <a:pt x="206" y="505"/>
                  </a:lnTo>
                  <a:lnTo>
                    <a:pt x="199" y="488"/>
                  </a:lnTo>
                  <a:lnTo>
                    <a:pt x="196" y="484"/>
                  </a:lnTo>
                  <a:lnTo>
                    <a:pt x="174" y="435"/>
                  </a:lnTo>
                  <a:lnTo>
                    <a:pt x="152" y="415"/>
                  </a:lnTo>
                  <a:lnTo>
                    <a:pt x="149" y="415"/>
                  </a:lnTo>
                  <a:lnTo>
                    <a:pt x="148" y="412"/>
                  </a:lnTo>
                  <a:lnTo>
                    <a:pt x="142" y="409"/>
                  </a:lnTo>
                  <a:lnTo>
                    <a:pt x="136" y="409"/>
                  </a:lnTo>
                  <a:lnTo>
                    <a:pt x="133" y="410"/>
                  </a:lnTo>
                  <a:lnTo>
                    <a:pt x="130" y="408"/>
                  </a:lnTo>
                  <a:lnTo>
                    <a:pt x="128" y="402"/>
                  </a:lnTo>
                  <a:lnTo>
                    <a:pt x="119" y="389"/>
                  </a:lnTo>
                  <a:lnTo>
                    <a:pt x="119" y="381"/>
                  </a:lnTo>
                  <a:lnTo>
                    <a:pt x="120" y="379"/>
                  </a:lnTo>
                  <a:lnTo>
                    <a:pt x="101" y="338"/>
                  </a:lnTo>
                  <a:lnTo>
                    <a:pt x="94" y="335"/>
                  </a:lnTo>
                  <a:lnTo>
                    <a:pt x="92" y="331"/>
                  </a:lnTo>
                  <a:lnTo>
                    <a:pt x="90" y="325"/>
                  </a:lnTo>
                  <a:lnTo>
                    <a:pt x="81" y="313"/>
                  </a:lnTo>
                  <a:lnTo>
                    <a:pt x="73" y="293"/>
                  </a:lnTo>
                  <a:lnTo>
                    <a:pt x="68" y="286"/>
                  </a:lnTo>
                  <a:lnTo>
                    <a:pt x="62" y="281"/>
                  </a:lnTo>
                  <a:lnTo>
                    <a:pt x="52" y="268"/>
                  </a:lnTo>
                  <a:lnTo>
                    <a:pt x="51" y="263"/>
                  </a:lnTo>
                  <a:lnTo>
                    <a:pt x="27" y="220"/>
                  </a:lnTo>
                  <a:lnTo>
                    <a:pt x="22" y="216"/>
                  </a:lnTo>
                  <a:lnTo>
                    <a:pt x="8" y="215"/>
                  </a:lnTo>
                  <a:lnTo>
                    <a:pt x="6" y="214"/>
                  </a:lnTo>
                  <a:lnTo>
                    <a:pt x="2" y="215"/>
                  </a:lnTo>
                  <a:lnTo>
                    <a:pt x="0" y="219"/>
                  </a:lnTo>
                  <a:lnTo>
                    <a:pt x="10" y="196"/>
                  </a:lnTo>
                  <a:lnTo>
                    <a:pt x="13" y="170"/>
                  </a:lnTo>
                  <a:lnTo>
                    <a:pt x="16" y="161"/>
                  </a:lnTo>
                  <a:lnTo>
                    <a:pt x="16" y="149"/>
                  </a:lnTo>
                  <a:lnTo>
                    <a:pt x="17" y="156"/>
                  </a:lnTo>
                  <a:lnTo>
                    <a:pt x="68" y="163"/>
                  </a:lnTo>
                  <a:lnTo>
                    <a:pt x="83" y="148"/>
                  </a:lnTo>
                  <a:lnTo>
                    <a:pt x="95" y="124"/>
                  </a:lnTo>
                  <a:lnTo>
                    <a:pt x="130" y="119"/>
                  </a:lnTo>
                  <a:lnTo>
                    <a:pt x="137" y="98"/>
                  </a:lnTo>
                  <a:lnTo>
                    <a:pt x="156" y="87"/>
                  </a:lnTo>
                  <a:lnTo>
                    <a:pt x="156" y="86"/>
                  </a:lnTo>
                  <a:lnTo>
                    <a:pt x="105" y="36"/>
                  </a:lnTo>
                  <a:lnTo>
                    <a:pt x="194" y="17"/>
                  </a:lnTo>
                  <a:lnTo>
                    <a:pt x="208" y="0"/>
                  </a:lnTo>
                  <a:lnTo>
                    <a:pt x="381" y="80"/>
                  </a:lnTo>
                  <a:lnTo>
                    <a:pt x="388" y="96"/>
                  </a:lnTo>
                  <a:lnTo>
                    <a:pt x="412" y="98"/>
                  </a:lnTo>
                  <a:lnTo>
                    <a:pt x="414" y="100"/>
                  </a:lnTo>
                  <a:lnTo>
                    <a:pt x="414" y="133"/>
                  </a:lnTo>
                  <a:lnTo>
                    <a:pt x="416" y="136"/>
                  </a:lnTo>
                  <a:lnTo>
                    <a:pt x="469" y="159"/>
                  </a:lnTo>
                  <a:lnTo>
                    <a:pt x="550" y="164"/>
                  </a:lnTo>
                  <a:lnTo>
                    <a:pt x="588" y="175"/>
                  </a:lnTo>
                  <a:lnTo>
                    <a:pt x="595" y="180"/>
                  </a:lnTo>
                  <a:lnTo>
                    <a:pt x="603" y="193"/>
                  </a:lnTo>
                  <a:lnTo>
                    <a:pt x="631" y="193"/>
                  </a:lnTo>
                  <a:lnTo>
                    <a:pt x="649" y="230"/>
                  </a:lnTo>
                  <a:lnTo>
                    <a:pt x="657" y="233"/>
                  </a:lnTo>
                  <a:lnTo>
                    <a:pt x="662" y="243"/>
                  </a:lnTo>
                  <a:lnTo>
                    <a:pt x="673" y="251"/>
                  </a:lnTo>
                  <a:lnTo>
                    <a:pt x="673" y="252"/>
                  </a:lnTo>
                  <a:lnTo>
                    <a:pt x="671" y="254"/>
                  </a:lnTo>
                  <a:lnTo>
                    <a:pt x="673" y="259"/>
                  </a:lnTo>
                  <a:lnTo>
                    <a:pt x="675" y="266"/>
                  </a:lnTo>
                  <a:lnTo>
                    <a:pt x="683" y="268"/>
                  </a:lnTo>
                  <a:lnTo>
                    <a:pt x="704" y="284"/>
                  </a:lnTo>
                  <a:lnTo>
                    <a:pt x="708" y="291"/>
                  </a:lnTo>
                  <a:lnTo>
                    <a:pt x="707" y="299"/>
                  </a:lnTo>
                  <a:lnTo>
                    <a:pt x="713" y="308"/>
                  </a:lnTo>
                  <a:lnTo>
                    <a:pt x="715" y="314"/>
                  </a:lnTo>
                  <a:lnTo>
                    <a:pt x="714" y="318"/>
                  </a:lnTo>
                  <a:lnTo>
                    <a:pt x="710" y="324"/>
                  </a:lnTo>
                  <a:lnTo>
                    <a:pt x="710" y="334"/>
                  </a:lnTo>
                  <a:lnTo>
                    <a:pt x="729" y="356"/>
                  </a:lnTo>
                  <a:lnTo>
                    <a:pt x="732" y="371"/>
                  </a:lnTo>
                  <a:lnTo>
                    <a:pt x="736" y="376"/>
                  </a:lnTo>
                  <a:lnTo>
                    <a:pt x="737" y="381"/>
                  </a:lnTo>
                  <a:lnTo>
                    <a:pt x="739" y="383"/>
                  </a:lnTo>
                  <a:lnTo>
                    <a:pt x="740" y="388"/>
                  </a:lnTo>
                  <a:lnTo>
                    <a:pt x="742" y="388"/>
                  </a:lnTo>
                  <a:lnTo>
                    <a:pt x="748" y="398"/>
                  </a:lnTo>
                  <a:lnTo>
                    <a:pt x="754" y="399"/>
                  </a:lnTo>
                  <a:lnTo>
                    <a:pt x="771" y="392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3" name="Freeform 232"/>
            <p:cNvSpPr>
              <a:spLocks/>
            </p:cNvSpPr>
            <p:nvPr/>
          </p:nvSpPr>
          <p:spPr bwMode="auto">
            <a:xfrm>
              <a:off x="4754253" y="4538676"/>
              <a:ext cx="127953" cy="109466"/>
            </a:xfrm>
            <a:custGeom>
              <a:avLst/>
              <a:gdLst>
                <a:gd name="T0" fmla="*/ 17 w 108"/>
                <a:gd name="T1" fmla="*/ 5 h 109"/>
                <a:gd name="T2" fmla="*/ 17 w 108"/>
                <a:gd name="T3" fmla="*/ 5 h 109"/>
                <a:gd name="T4" fmla="*/ 17 w 108"/>
                <a:gd name="T5" fmla="*/ 6 h 109"/>
                <a:gd name="T6" fmla="*/ 13 w 108"/>
                <a:gd name="T7" fmla="*/ 10 h 109"/>
                <a:gd name="T8" fmla="*/ 10 w 108"/>
                <a:gd name="T9" fmla="*/ 11 h 109"/>
                <a:gd name="T10" fmla="*/ 9 w 108"/>
                <a:gd name="T11" fmla="*/ 13 h 109"/>
                <a:gd name="T12" fmla="*/ 8 w 108"/>
                <a:gd name="T13" fmla="*/ 13 h 109"/>
                <a:gd name="T14" fmla="*/ 6 w 108"/>
                <a:gd name="T15" fmla="*/ 14 h 109"/>
                <a:gd name="T16" fmla="*/ 2 w 108"/>
                <a:gd name="T17" fmla="*/ 10 h 109"/>
                <a:gd name="T18" fmla="*/ 0 w 108"/>
                <a:gd name="T19" fmla="*/ 8 h 109"/>
                <a:gd name="T20" fmla="*/ 1 w 108"/>
                <a:gd name="T21" fmla="*/ 6 h 109"/>
                <a:gd name="T22" fmla="*/ 6 w 108"/>
                <a:gd name="T23" fmla="*/ 2 h 109"/>
                <a:gd name="T24" fmla="*/ 9 w 108"/>
                <a:gd name="T25" fmla="*/ 1 h 109"/>
                <a:gd name="T26" fmla="*/ 11 w 108"/>
                <a:gd name="T27" fmla="*/ 0 h 109"/>
                <a:gd name="T28" fmla="*/ 13 w 108"/>
                <a:gd name="T29" fmla="*/ 1 h 109"/>
                <a:gd name="T30" fmla="*/ 16 w 108"/>
                <a:gd name="T31" fmla="*/ 4 h 109"/>
                <a:gd name="T32" fmla="*/ 17 w 108"/>
                <a:gd name="T33" fmla="*/ 5 h 10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109"/>
                <a:gd name="T53" fmla="*/ 108 w 108"/>
                <a:gd name="T54" fmla="*/ 109 h 10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109">
                  <a:moveTo>
                    <a:pt x="107" y="43"/>
                  </a:moveTo>
                  <a:lnTo>
                    <a:pt x="108" y="41"/>
                  </a:lnTo>
                  <a:lnTo>
                    <a:pt x="108" y="48"/>
                  </a:lnTo>
                  <a:lnTo>
                    <a:pt x="87" y="82"/>
                  </a:lnTo>
                  <a:lnTo>
                    <a:pt x="63" y="92"/>
                  </a:lnTo>
                  <a:lnTo>
                    <a:pt x="55" y="105"/>
                  </a:lnTo>
                  <a:lnTo>
                    <a:pt x="48" y="108"/>
                  </a:lnTo>
                  <a:lnTo>
                    <a:pt x="38" y="109"/>
                  </a:lnTo>
                  <a:lnTo>
                    <a:pt x="11" y="83"/>
                  </a:lnTo>
                  <a:lnTo>
                    <a:pt x="0" y="62"/>
                  </a:lnTo>
                  <a:lnTo>
                    <a:pt x="5" y="51"/>
                  </a:lnTo>
                  <a:lnTo>
                    <a:pt x="36" y="13"/>
                  </a:lnTo>
                  <a:lnTo>
                    <a:pt x="59" y="2"/>
                  </a:lnTo>
                  <a:lnTo>
                    <a:pt x="72" y="0"/>
                  </a:lnTo>
                  <a:lnTo>
                    <a:pt x="81" y="6"/>
                  </a:lnTo>
                  <a:lnTo>
                    <a:pt x="104" y="35"/>
                  </a:lnTo>
                  <a:lnTo>
                    <a:pt x="107" y="43"/>
                  </a:lnTo>
                  <a:close/>
                </a:path>
              </a:pathLst>
            </a:custGeom>
            <a:solidFill>
              <a:srgbClr val="0070C0"/>
            </a:solidFill>
            <a:ln w="317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4" name="Freeform 233"/>
            <p:cNvSpPr>
              <a:spLocks/>
            </p:cNvSpPr>
            <p:nvPr/>
          </p:nvSpPr>
          <p:spPr bwMode="auto">
            <a:xfrm>
              <a:off x="4754253" y="4538676"/>
              <a:ext cx="127953" cy="109466"/>
            </a:xfrm>
            <a:custGeom>
              <a:avLst/>
              <a:gdLst>
                <a:gd name="T0" fmla="*/ 17 w 108"/>
                <a:gd name="T1" fmla="*/ 5 h 109"/>
                <a:gd name="T2" fmla="*/ 17 w 108"/>
                <a:gd name="T3" fmla="*/ 5 h 109"/>
                <a:gd name="T4" fmla="*/ 17 w 108"/>
                <a:gd name="T5" fmla="*/ 6 h 109"/>
                <a:gd name="T6" fmla="*/ 13 w 108"/>
                <a:gd name="T7" fmla="*/ 10 h 109"/>
                <a:gd name="T8" fmla="*/ 10 w 108"/>
                <a:gd name="T9" fmla="*/ 11 h 109"/>
                <a:gd name="T10" fmla="*/ 9 w 108"/>
                <a:gd name="T11" fmla="*/ 13 h 109"/>
                <a:gd name="T12" fmla="*/ 8 w 108"/>
                <a:gd name="T13" fmla="*/ 13 h 109"/>
                <a:gd name="T14" fmla="*/ 6 w 108"/>
                <a:gd name="T15" fmla="*/ 14 h 109"/>
                <a:gd name="T16" fmla="*/ 2 w 108"/>
                <a:gd name="T17" fmla="*/ 10 h 109"/>
                <a:gd name="T18" fmla="*/ 0 w 108"/>
                <a:gd name="T19" fmla="*/ 8 h 109"/>
                <a:gd name="T20" fmla="*/ 1 w 108"/>
                <a:gd name="T21" fmla="*/ 6 h 109"/>
                <a:gd name="T22" fmla="*/ 6 w 108"/>
                <a:gd name="T23" fmla="*/ 2 h 109"/>
                <a:gd name="T24" fmla="*/ 9 w 108"/>
                <a:gd name="T25" fmla="*/ 1 h 109"/>
                <a:gd name="T26" fmla="*/ 11 w 108"/>
                <a:gd name="T27" fmla="*/ 0 h 109"/>
                <a:gd name="T28" fmla="*/ 13 w 108"/>
                <a:gd name="T29" fmla="*/ 1 h 109"/>
                <a:gd name="T30" fmla="*/ 16 w 108"/>
                <a:gd name="T31" fmla="*/ 4 h 109"/>
                <a:gd name="T32" fmla="*/ 17 w 108"/>
                <a:gd name="T33" fmla="*/ 5 h 10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109"/>
                <a:gd name="T53" fmla="*/ 108 w 108"/>
                <a:gd name="T54" fmla="*/ 109 h 10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109">
                  <a:moveTo>
                    <a:pt x="107" y="43"/>
                  </a:moveTo>
                  <a:lnTo>
                    <a:pt x="108" y="41"/>
                  </a:lnTo>
                  <a:lnTo>
                    <a:pt x="108" y="48"/>
                  </a:lnTo>
                  <a:lnTo>
                    <a:pt x="87" y="82"/>
                  </a:lnTo>
                  <a:lnTo>
                    <a:pt x="63" y="92"/>
                  </a:lnTo>
                  <a:lnTo>
                    <a:pt x="55" y="105"/>
                  </a:lnTo>
                  <a:lnTo>
                    <a:pt x="48" y="108"/>
                  </a:lnTo>
                  <a:lnTo>
                    <a:pt x="38" y="109"/>
                  </a:lnTo>
                  <a:lnTo>
                    <a:pt x="11" y="83"/>
                  </a:lnTo>
                  <a:lnTo>
                    <a:pt x="0" y="62"/>
                  </a:lnTo>
                  <a:lnTo>
                    <a:pt x="5" y="51"/>
                  </a:lnTo>
                  <a:lnTo>
                    <a:pt x="36" y="13"/>
                  </a:lnTo>
                  <a:lnTo>
                    <a:pt x="59" y="2"/>
                  </a:lnTo>
                  <a:lnTo>
                    <a:pt x="72" y="0"/>
                  </a:lnTo>
                  <a:lnTo>
                    <a:pt x="81" y="6"/>
                  </a:lnTo>
                  <a:lnTo>
                    <a:pt x="104" y="35"/>
                  </a:lnTo>
                  <a:lnTo>
                    <a:pt x="107" y="4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5" name="Freeform 234"/>
            <p:cNvSpPr>
              <a:spLocks/>
            </p:cNvSpPr>
            <p:nvPr/>
          </p:nvSpPr>
          <p:spPr bwMode="auto">
            <a:xfrm>
              <a:off x="5237634" y="2983883"/>
              <a:ext cx="48744" cy="98335"/>
            </a:xfrm>
            <a:custGeom>
              <a:avLst/>
              <a:gdLst>
                <a:gd name="T0" fmla="*/ 2 w 40"/>
                <a:gd name="T1" fmla="*/ 0 h 99"/>
                <a:gd name="T2" fmla="*/ 4 w 40"/>
                <a:gd name="T3" fmla="*/ 2 h 99"/>
                <a:gd name="T4" fmla="*/ 4 w 40"/>
                <a:gd name="T5" fmla="*/ 3 h 99"/>
                <a:gd name="T6" fmla="*/ 4 w 40"/>
                <a:gd name="T7" fmla="*/ 4 h 99"/>
                <a:gd name="T8" fmla="*/ 4 w 40"/>
                <a:gd name="T9" fmla="*/ 5 h 99"/>
                <a:gd name="T10" fmla="*/ 4 w 40"/>
                <a:gd name="T11" fmla="*/ 7 h 99"/>
                <a:gd name="T12" fmla="*/ 7 w 40"/>
                <a:gd name="T13" fmla="*/ 10 h 99"/>
                <a:gd name="T14" fmla="*/ 7 w 40"/>
                <a:gd name="T15" fmla="*/ 12 h 99"/>
                <a:gd name="T16" fmla="*/ 7 w 40"/>
                <a:gd name="T17" fmla="*/ 12 h 99"/>
                <a:gd name="T18" fmla="*/ 6 w 40"/>
                <a:gd name="T19" fmla="*/ 10 h 99"/>
                <a:gd name="T20" fmla="*/ 2 w 40"/>
                <a:gd name="T21" fmla="*/ 7 h 99"/>
                <a:gd name="T22" fmla="*/ 0 w 40"/>
                <a:gd name="T23" fmla="*/ 3 h 99"/>
                <a:gd name="T24" fmla="*/ 1 w 40"/>
                <a:gd name="T25" fmla="*/ 1 h 99"/>
                <a:gd name="T26" fmla="*/ 2 w 40"/>
                <a:gd name="T27" fmla="*/ 0 h 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9"/>
                <a:gd name="T44" fmla="*/ 40 w 40"/>
                <a:gd name="T45" fmla="*/ 99 h 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9">
                  <a:moveTo>
                    <a:pt x="10" y="0"/>
                  </a:moveTo>
                  <a:lnTo>
                    <a:pt x="20" y="16"/>
                  </a:lnTo>
                  <a:lnTo>
                    <a:pt x="20" y="27"/>
                  </a:lnTo>
                  <a:lnTo>
                    <a:pt x="23" y="35"/>
                  </a:lnTo>
                  <a:lnTo>
                    <a:pt x="19" y="41"/>
                  </a:lnTo>
                  <a:lnTo>
                    <a:pt x="23" y="65"/>
                  </a:lnTo>
                  <a:lnTo>
                    <a:pt x="38" y="84"/>
                  </a:lnTo>
                  <a:lnTo>
                    <a:pt x="40" y="99"/>
                  </a:lnTo>
                  <a:lnTo>
                    <a:pt x="36" y="98"/>
                  </a:lnTo>
                  <a:lnTo>
                    <a:pt x="31" y="82"/>
                  </a:lnTo>
                  <a:lnTo>
                    <a:pt x="10" y="65"/>
                  </a:lnTo>
                  <a:lnTo>
                    <a:pt x="0" y="28"/>
                  </a:lnTo>
                  <a:lnTo>
                    <a:pt x="3" y="7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6" name="Freeform 235"/>
            <p:cNvSpPr>
              <a:spLocks/>
            </p:cNvSpPr>
            <p:nvPr/>
          </p:nvSpPr>
          <p:spPr bwMode="auto">
            <a:xfrm>
              <a:off x="5237634" y="2983883"/>
              <a:ext cx="48744" cy="98335"/>
            </a:xfrm>
            <a:custGeom>
              <a:avLst/>
              <a:gdLst>
                <a:gd name="T0" fmla="*/ 2 w 40"/>
                <a:gd name="T1" fmla="*/ 0 h 99"/>
                <a:gd name="T2" fmla="*/ 4 w 40"/>
                <a:gd name="T3" fmla="*/ 2 h 99"/>
                <a:gd name="T4" fmla="*/ 4 w 40"/>
                <a:gd name="T5" fmla="*/ 3 h 99"/>
                <a:gd name="T6" fmla="*/ 4 w 40"/>
                <a:gd name="T7" fmla="*/ 4 h 99"/>
                <a:gd name="T8" fmla="*/ 4 w 40"/>
                <a:gd name="T9" fmla="*/ 5 h 99"/>
                <a:gd name="T10" fmla="*/ 4 w 40"/>
                <a:gd name="T11" fmla="*/ 7 h 99"/>
                <a:gd name="T12" fmla="*/ 7 w 40"/>
                <a:gd name="T13" fmla="*/ 10 h 99"/>
                <a:gd name="T14" fmla="*/ 7 w 40"/>
                <a:gd name="T15" fmla="*/ 12 h 99"/>
                <a:gd name="T16" fmla="*/ 7 w 40"/>
                <a:gd name="T17" fmla="*/ 12 h 99"/>
                <a:gd name="T18" fmla="*/ 6 w 40"/>
                <a:gd name="T19" fmla="*/ 10 h 99"/>
                <a:gd name="T20" fmla="*/ 2 w 40"/>
                <a:gd name="T21" fmla="*/ 7 h 99"/>
                <a:gd name="T22" fmla="*/ 0 w 40"/>
                <a:gd name="T23" fmla="*/ 3 h 99"/>
                <a:gd name="T24" fmla="*/ 1 w 40"/>
                <a:gd name="T25" fmla="*/ 1 h 99"/>
                <a:gd name="T26" fmla="*/ 2 w 40"/>
                <a:gd name="T27" fmla="*/ 0 h 9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0"/>
                <a:gd name="T43" fmla="*/ 0 h 99"/>
                <a:gd name="T44" fmla="*/ 40 w 40"/>
                <a:gd name="T45" fmla="*/ 99 h 9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0" h="99">
                  <a:moveTo>
                    <a:pt x="10" y="0"/>
                  </a:moveTo>
                  <a:lnTo>
                    <a:pt x="20" y="16"/>
                  </a:lnTo>
                  <a:lnTo>
                    <a:pt x="20" y="27"/>
                  </a:lnTo>
                  <a:lnTo>
                    <a:pt x="23" y="35"/>
                  </a:lnTo>
                  <a:lnTo>
                    <a:pt x="19" y="41"/>
                  </a:lnTo>
                  <a:lnTo>
                    <a:pt x="23" y="65"/>
                  </a:lnTo>
                  <a:lnTo>
                    <a:pt x="38" y="84"/>
                  </a:lnTo>
                  <a:lnTo>
                    <a:pt x="40" y="99"/>
                  </a:lnTo>
                  <a:lnTo>
                    <a:pt x="36" y="98"/>
                  </a:lnTo>
                  <a:lnTo>
                    <a:pt x="31" y="82"/>
                  </a:lnTo>
                  <a:lnTo>
                    <a:pt x="10" y="65"/>
                  </a:lnTo>
                  <a:lnTo>
                    <a:pt x="0" y="28"/>
                  </a:lnTo>
                  <a:lnTo>
                    <a:pt x="3" y="7"/>
                  </a:lnTo>
                  <a:lnTo>
                    <a:pt x="10" y="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7" name="Freeform 236"/>
            <p:cNvSpPr>
              <a:spLocks/>
            </p:cNvSpPr>
            <p:nvPr/>
          </p:nvSpPr>
          <p:spPr bwMode="auto">
            <a:xfrm>
              <a:off x="3980436" y="2529319"/>
              <a:ext cx="117799" cy="83492"/>
            </a:xfrm>
            <a:custGeom>
              <a:avLst/>
              <a:gdLst>
                <a:gd name="T0" fmla="*/ 0 w 96"/>
                <a:gd name="T1" fmla="*/ 2 h 87"/>
                <a:gd name="T2" fmla="*/ 1 w 96"/>
                <a:gd name="T3" fmla="*/ 1 h 87"/>
                <a:gd name="T4" fmla="*/ 1 w 96"/>
                <a:gd name="T5" fmla="*/ 1 h 87"/>
                <a:gd name="T6" fmla="*/ 2 w 96"/>
                <a:gd name="T7" fmla="*/ 1 h 87"/>
                <a:gd name="T8" fmla="*/ 3 w 96"/>
                <a:gd name="T9" fmla="*/ 0 h 87"/>
                <a:gd name="T10" fmla="*/ 5 w 96"/>
                <a:gd name="T11" fmla="*/ 1 h 87"/>
                <a:gd name="T12" fmla="*/ 6 w 96"/>
                <a:gd name="T13" fmla="*/ 1 h 87"/>
                <a:gd name="T14" fmla="*/ 7 w 96"/>
                <a:gd name="T15" fmla="*/ 2 h 87"/>
                <a:gd name="T16" fmla="*/ 8 w 96"/>
                <a:gd name="T17" fmla="*/ 2 h 87"/>
                <a:gd name="T18" fmla="*/ 9 w 96"/>
                <a:gd name="T19" fmla="*/ 4 h 87"/>
                <a:gd name="T20" fmla="*/ 11 w 96"/>
                <a:gd name="T21" fmla="*/ 4 h 87"/>
                <a:gd name="T22" fmla="*/ 13 w 96"/>
                <a:gd name="T23" fmla="*/ 4 h 87"/>
                <a:gd name="T24" fmla="*/ 15 w 96"/>
                <a:gd name="T25" fmla="*/ 4 h 87"/>
                <a:gd name="T26" fmla="*/ 16 w 96"/>
                <a:gd name="T27" fmla="*/ 4 h 87"/>
                <a:gd name="T28" fmla="*/ 18 w 96"/>
                <a:gd name="T29" fmla="*/ 6 h 87"/>
                <a:gd name="T30" fmla="*/ 17 w 96"/>
                <a:gd name="T31" fmla="*/ 6 h 87"/>
                <a:gd name="T32" fmla="*/ 16 w 96"/>
                <a:gd name="T33" fmla="*/ 6 h 87"/>
                <a:gd name="T34" fmla="*/ 15 w 96"/>
                <a:gd name="T35" fmla="*/ 7 h 87"/>
                <a:gd name="T36" fmla="*/ 11 w 96"/>
                <a:gd name="T37" fmla="*/ 8 h 87"/>
                <a:gd name="T38" fmla="*/ 9 w 96"/>
                <a:gd name="T39" fmla="*/ 9 h 87"/>
                <a:gd name="T40" fmla="*/ 9 w 96"/>
                <a:gd name="T41" fmla="*/ 9 h 87"/>
                <a:gd name="T42" fmla="*/ 7 w 96"/>
                <a:gd name="T43" fmla="*/ 9 h 87"/>
                <a:gd name="T44" fmla="*/ 6 w 96"/>
                <a:gd name="T45" fmla="*/ 6 h 87"/>
                <a:gd name="T46" fmla="*/ 5 w 96"/>
                <a:gd name="T47" fmla="*/ 6 h 87"/>
                <a:gd name="T48" fmla="*/ 3 w 96"/>
                <a:gd name="T49" fmla="*/ 5 h 87"/>
                <a:gd name="T50" fmla="*/ 1 w 96"/>
                <a:gd name="T51" fmla="*/ 3 h 87"/>
                <a:gd name="T52" fmla="*/ 1 w 96"/>
                <a:gd name="T53" fmla="*/ 2 h 87"/>
                <a:gd name="T54" fmla="*/ 0 w 96"/>
                <a:gd name="T55" fmla="*/ 2 h 87"/>
                <a:gd name="T56" fmla="*/ 0 w 96"/>
                <a:gd name="T57" fmla="*/ 2 h 8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87"/>
                <a:gd name="T89" fmla="*/ 96 w 96"/>
                <a:gd name="T90" fmla="*/ 87 h 8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87">
                  <a:moveTo>
                    <a:pt x="0" y="13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29" y="4"/>
                  </a:lnTo>
                  <a:lnTo>
                    <a:pt x="34" y="9"/>
                  </a:lnTo>
                  <a:lnTo>
                    <a:pt x="39" y="13"/>
                  </a:lnTo>
                  <a:lnTo>
                    <a:pt x="44" y="19"/>
                  </a:lnTo>
                  <a:lnTo>
                    <a:pt x="47" y="37"/>
                  </a:lnTo>
                  <a:lnTo>
                    <a:pt x="61" y="39"/>
                  </a:lnTo>
                  <a:lnTo>
                    <a:pt x="72" y="38"/>
                  </a:lnTo>
                  <a:lnTo>
                    <a:pt x="83" y="42"/>
                  </a:lnTo>
                  <a:lnTo>
                    <a:pt x="89" y="40"/>
                  </a:lnTo>
                  <a:lnTo>
                    <a:pt x="96" y="53"/>
                  </a:lnTo>
                  <a:lnTo>
                    <a:pt x="93" y="57"/>
                  </a:lnTo>
                  <a:lnTo>
                    <a:pt x="91" y="63"/>
                  </a:lnTo>
                  <a:lnTo>
                    <a:pt x="84" y="70"/>
                  </a:lnTo>
                  <a:lnTo>
                    <a:pt x="58" y="77"/>
                  </a:lnTo>
                  <a:lnTo>
                    <a:pt x="51" y="87"/>
                  </a:lnTo>
                  <a:lnTo>
                    <a:pt x="47" y="87"/>
                  </a:lnTo>
                  <a:lnTo>
                    <a:pt x="39" y="81"/>
                  </a:lnTo>
                  <a:lnTo>
                    <a:pt x="33" y="62"/>
                  </a:lnTo>
                  <a:lnTo>
                    <a:pt x="27" y="56"/>
                  </a:lnTo>
                  <a:lnTo>
                    <a:pt x="18" y="51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7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8" name="Freeform 237"/>
            <p:cNvSpPr>
              <a:spLocks/>
            </p:cNvSpPr>
            <p:nvPr/>
          </p:nvSpPr>
          <p:spPr bwMode="auto">
            <a:xfrm>
              <a:off x="3980436" y="2529319"/>
              <a:ext cx="117799" cy="83492"/>
            </a:xfrm>
            <a:custGeom>
              <a:avLst/>
              <a:gdLst>
                <a:gd name="T0" fmla="*/ 0 w 96"/>
                <a:gd name="T1" fmla="*/ 2 h 87"/>
                <a:gd name="T2" fmla="*/ 1 w 96"/>
                <a:gd name="T3" fmla="*/ 1 h 87"/>
                <a:gd name="T4" fmla="*/ 1 w 96"/>
                <a:gd name="T5" fmla="*/ 1 h 87"/>
                <a:gd name="T6" fmla="*/ 2 w 96"/>
                <a:gd name="T7" fmla="*/ 1 h 87"/>
                <a:gd name="T8" fmla="*/ 3 w 96"/>
                <a:gd name="T9" fmla="*/ 0 h 87"/>
                <a:gd name="T10" fmla="*/ 5 w 96"/>
                <a:gd name="T11" fmla="*/ 1 h 87"/>
                <a:gd name="T12" fmla="*/ 6 w 96"/>
                <a:gd name="T13" fmla="*/ 1 h 87"/>
                <a:gd name="T14" fmla="*/ 7 w 96"/>
                <a:gd name="T15" fmla="*/ 2 h 87"/>
                <a:gd name="T16" fmla="*/ 8 w 96"/>
                <a:gd name="T17" fmla="*/ 2 h 87"/>
                <a:gd name="T18" fmla="*/ 9 w 96"/>
                <a:gd name="T19" fmla="*/ 4 h 87"/>
                <a:gd name="T20" fmla="*/ 11 w 96"/>
                <a:gd name="T21" fmla="*/ 4 h 87"/>
                <a:gd name="T22" fmla="*/ 13 w 96"/>
                <a:gd name="T23" fmla="*/ 4 h 87"/>
                <a:gd name="T24" fmla="*/ 15 w 96"/>
                <a:gd name="T25" fmla="*/ 4 h 87"/>
                <a:gd name="T26" fmla="*/ 16 w 96"/>
                <a:gd name="T27" fmla="*/ 4 h 87"/>
                <a:gd name="T28" fmla="*/ 18 w 96"/>
                <a:gd name="T29" fmla="*/ 6 h 87"/>
                <a:gd name="T30" fmla="*/ 17 w 96"/>
                <a:gd name="T31" fmla="*/ 6 h 87"/>
                <a:gd name="T32" fmla="*/ 16 w 96"/>
                <a:gd name="T33" fmla="*/ 6 h 87"/>
                <a:gd name="T34" fmla="*/ 15 w 96"/>
                <a:gd name="T35" fmla="*/ 7 h 87"/>
                <a:gd name="T36" fmla="*/ 11 w 96"/>
                <a:gd name="T37" fmla="*/ 8 h 87"/>
                <a:gd name="T38" fmla="*/ 9 w 96"/>
                <a:gd name="T39" fmla="*/ 9 h 87"/>
                <a:gd name="T40" fmla="*/ 9 w 96"/>
                <a:gd name="T41" fmla="*/ 9 h 87"/>
                <a:gd name="T42" fmla="*/ 7 w 96"/>
                <a:gd name="T43" fmla="*/ 9 h 87"/>
                <a:gd name="T44" fmla="*/ 6 w 96"/>
                <a:gd name="T45" fmla="*/ 6 h 87"/>
                <a:gd name="T46" fmla="*/ 5 w 96"/>
                <a:gd name="T47" fmla="*/ 6 h 87"/>
                <a:gd name="T48" fmla="*/ 3 w 96"/>
                <a:gd name="T49" fmla="*/ 5 h 87"/>
                <a:gd name="T50" fmla="*/ 1 w 96"/>
                <a:gd name="T51" fmla="*/ 3 h 87"/>
                <a:gd name="T52" fmla="*/ 1 w 96"/>
                <a:gd name="T53" fmla="*/ 2 h 87"/>
                <a:gd name="T54" fmla="*/ 0 w 96"/>
                <a:gd name="T55" fmla="*/ 2 h 87"/>
                <a:gd name="T56" fmla="*/ 0 w 96"/>
                <a:gd name="T57" fmla="*/ 2 h 8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6"/>
                <a:gd name="T88" fmla="*/ 0 h 87"/>
                <a:gd name="T89" fmla="*/ 96 w 96"/>
                <a:gd name="T90" fmla="*/ 87 h 8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6" h="87">
                  <a:moveTo>
                    <a:pt x="0" y="13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12" y="2"/>
                  </a:lnTo>
                  <a:lnTo>
                    <a:pt x="16" y="0"/>
                  </a:lnTo>
                  <a:lnTo>
                    <a:pt x="29" y="4"/>
                  </a:lnTo>
                  <a:lnTo>
                    <a:pt x="34" y="9"/>
                  </a:lnTo>
                  <a:lnTo>
                    <a:pt x="39" y="13"/>
                  </a:lnTo>
                  <a:lnTo>
                    <a:pt x="44" y="19"/>
                  </a:lnTo>
                  <a:lnTo>
                    <a:pt x="47" y="37"/>
                  </a:lnTo>
                  <a:lnTo>
                    <a:pt x="61" y="39"/>
                  </a:lnTo>
                  <a:lnTo>
                    <a:pt x="72" y="38"/>
                  </a:lnTo>
                  <a:lnTo>
                    <a:pt x="83" y="42"/>
                  </a:lnTo>
                  <a:lnTo>
                    <a:pt x="89" y="40"/>
                  </a:lnTo>
                  <a:lnTo>
                    <a:pt x="96" y="53"/>
                  </a:lnTo>
                  <a:lnTo>
                    <a:pt x="93" y="57"/>
                  </a:lnTo>
                  <a:lnTo>
                    <a:pt x="91" y="63"/>
                  </a:lnTo>
                  <a:lnTo>
                    <a:pt x="84" y="70"/>
                  </a:lnTo>
                  <a:lnTo>
                    <a:pt x="58" y="77"/>
                  </a:lnTo>
                  <a:lnTo>
                    <a:pt x="51" y="87"/>
                  </a:lnTo>
                  <a:lnTo>
                    <a:pt x="47" y="87"/>
                  </a:lnTo>
                  <a:lnTo>
                    <a:pt x="39" y="81"/>
                  </a:lnTo>
                  <a:lnTo>
                    <a:pt x="33" y="62"/>
                  </a:lnTo>
                  <a:lnTo>
                    <a:pt x="27" y="56"/>
                  </a:lnTo>
                  <a:lnTo>
                    <a:pt x="18" y="51"/>
                  </a:lnTo>
                  <a:lnTo>
                    <a:pt x="6" y="26"/>
                  </a:lnTo>
                  <a:lnTo>
                    <a:pt x="2" y="22"/>
                  </a:lnTo>
                  <a:lnTo>
                    <a:pt x="0" y="17"/>
                  </a:lnTo>
                  <a:lnTo>
                    <a:pt x="0" y="13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29" name="Freeform 238"/>
            <p:cNvSpPr>
              <a:spLocks/>
            </p:cNvSpPr>
            <p:nvPr/>
          </p:nvSpPr>
          <p:spPr bwMode="auto">
            <a:xfrm>
              <a:off x="5127961" y="3625838"/>
              <a:ext cx="73117" cy="226354"/>
            </a:xfrm>
            <a:custGeom>
              <a:avLst/>
              <a:gdLst>
                <a:gd name="T0" fmla="*/ 8 w 61"/>
                <a:gd name="T1" fmla="*/ 26 h 226"/>
                <a:gd name="T2" fmla="*/ 8 w 61"/>
                <a:gd name="T3" fmla="*/ 26 h 226"/>
                <a:gd name="T4" fmla="*/ 7 w 61"/>
                <a:gd name="T5" fmla="*/ 26 h 226"/>
                <a:gd name="T6" fmla="*/ 6 w 61"/>
                <a:gd name="T7" fmla="*/ 26 h 226"/>
                <a:gd name="T8" fmla="*/ 6 w 61"/>
                <a:gd name="T9" fmla="*/ 27 h 226"/>
                <a:gd name="T10" fmla="*/ 6 w 61"/>
                <a:gd name="T11" fmla="*/ 27 h 226"/>
                <a:gd name="T12" fmla="*/ 5 w 61"/>
                <a:gd name="T13" fmla="*/ 26 h 226"/>
                <a:gd name="T14" fmla="*/ 5 w 61"/>
                <a:gd name="T15" fmla="*/ 26 h 226"/>
                <a:gd name="T16" fmla="*/ 5 w 61"/>
                <a:gd name="T17" fmla="*/ 25 h 226"/>
                <a:gd name="T18" fmla="*/ 5 w 61"/>
                <a:gd name="T19" fmla="*/ 24 h 226"/>
                <a:gd name="T20" fmla="*/ 5 w 61"/>
                <a:gd name="T21" fmla="*/ 24 h 226"/>
                <a:gd name="T22" fmla="*/ 4 w 61"/>
                <a:gd name="T23" fmla="*/ 23 h 226"/>
                <a:gd name="T24" fmla="*/ 3 w 61"/>
                <a:gd name="T25" fmla="*/ 21 h 226"/>
                <a:gd name="T26" fmla="*/ 3 w 61"/>
                <a:gd name="T27" fmla="*/ 21 h 226"/>
                <a:gd name="T28" fmla="*/ 1 w 61"/>
                <a:gd name="T29" fmla="*/ 16 h 226"/>
                <a:gd name="T30" fmla="*/ 1 w 61"/>
                <a:gd name="T31" fmla="*/ 15 h 226"/>
                <a:gd name="T32" fmla="*/ 1 w 61"/>
                <a:gd name="T33" fmla="*/ 15 h 226"/>
                <a:gd name="T34" fmla="*/ 2 w 61"/>
                <a:gd name="T35" fmla="*/ 13 h 226"/>
                <a:gd name="T36" fmla="*/ 3 w 61"/>
                <a:gd name="T37" fmla="*/ 12 h 226"/>
                <a:gd name="T38" fmla="*/ 2 w 61"/>
                <a:gd name="T39" fmla="*/ 6 h 226"/>
                <a:gd name="T40" fmla="*/ 3 w 61"/>
                <a:gd name="T41" fmla="*/ 5 h 226"/>
                <a:gd name="T42" fmla="*/ 3 w 61"/>
                <a:gd name="T43" fmla="*/ 5 h 226"/>
                <a:gd name="T44" fmla="*/ 2 w 61"/>
                <a:gd name="T45" fmla="*/ 4 h 226"/>
                <a:gd name="T46" fmla="*/ 1 w 61"/>
                <a:gd name="T47" fmla="*/ 4 h 226"/>
                <a:gd name="T48" fmla="*/ 1 w 61"/>
                <a:gd name="T49" fmla="*/ 3 h 226"/>
                <a:gd name="T50" fmla="*/ 0 w 61"/>
                <a:gd name="T51" fmla="*/ 2 h 226"/>
                <a:gd name="T52" fmla="*/ 1 w 61"/>
                <a:gd name="T53" fmla="*/ 1 h 226"/>
                <a:gd name="T54" fmla="*/ 1 w 61"/>
                <a:gd name="T55" fmla="*/ 0 h 226"/>
                <a:gd name="T56" fmla="*/ 3 w 61"/>
                <a:gd name="T57" fmla="*/ 1 h 226"/>
                <a:gd name="T58" fmla="*/ 4 w 61"/>
                <a:gd name="T59" fmla="*/ 2 h 226"/>
                <a:gd name="T60" fmla="*/ 6 w 61"/>
                <a:gd name="T61" fmla="*/ 6 h 226"/>
                <a:gd name="T62" fmla="*/ 6 w 61"/>
                <a:gd name="T63" fmla="*/ 9 h 226"/>
                <a:gd name="T64" fmla="*/ 6 w 61"/>
                <a:gd name="T65" fmla="*/ 9 h 226"/>
                <a:gd name="T66" fmla="*/ 8 w 61"/>
                <a:gd name="T67" fmla="*/ 10 h 226"/>
                <a:gd name="T68" fmla="*/ 8 w 61"/>
                <a:gd name="T69" fmla="*/ 11 h 226"/>
                <a:gd name="T70" fmla="*/ 8 w 61"/>
                <a:gd name="T71" fmla="*/ 11 h 226"/>
                <a:gd name="T72" fmla="*/ 6 w 61"/>
                <a:gd name="T73" fmla="*/ 16 h 226"/>
                <a:gd name="T74" fmla="*/ 6 w 61"/>
                <a:gd name="T75" fmla="*/ 17 h 226"/>
                <a:gd name="T76" fmla="*/ 6 w 61"/>
                <a:gd name="T77" fmla="*/ 18 h 226"/>
                <a:gd name="T78" fmla="*/ 7 w 61"/>
                <a:gd name="T79" fmla="*/ 23 h 226"/>
                <a:gd name="T80" fmla="*/ 8 w 61"/>
                <a:gd name="T81" fmla="*/ 23 h 226"/>
                <a:gd name="T82" fmla="*/ 7 w 61"/>
                <a:gd name="T83" fmla="*/ 23 h 226"/>
                <a:gd name="T84" fmla="*/ 7 w 61"/>
                <a:gd name="T85" fmla="*/ 23 h 226"/>
                <a:gd name="T86" fmla="*/ 8 w 61"/>
                <a:gd name="T87" fmla="*/ 24 h 226"/>
                <a:gd name="T88" fmla="*/ 9 w 61"/>
                <a:gd name="T89" fmla="*/ 24 h 226"/>
                <a:gd name="T90" fmla="*/ 9 w 61"/>
                <a:gd name="T91" fmla="*/ 24 h 226"/>
                <a:gd name="T92" fmla="*/ 11 w 61"/>
                <a:gd name="T93" fmla="*/ 27 h 226"/>
                <a:gd name="T94" fmla="*/ 11 w 61"/>
                <a:gd name="T95" fmla="*/ 28 h 226"/>
                <a:gd name="T96" fmla="*/ 10 w 61"/>
                <a:gd name="T97" fmla="*/ 28 h 226"/>
                <a:gd name="T98" fmla="*/ 10 w 61"/>
                <a:gd name="T99" fmla="*/ 28 h 226"/>
                <a:gd name="T100" fmla="*/ 9 w 61"/>
                <a:gd name="T101" fmla="*/ 27 h 226"/>
                <a:gd name="T102" fmla="*/ 8 w 61"/>
                <a:gd name="T103" fmla="*/ 26 h 226"/>
                <a:gd name="T104" fmla="*/ 8 w 61"/>
                <a:gd name="T105" fmla="*/ 26 h 22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1"/>
                <a:gd name="T160" fmla="*/ 0 h 226"/>
                <a:gd name="T161" fmla="*/ 61 w 61"/>
                <a:gd name="T162" fmla="*/ 226 h 22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1" h="226">
                  <a:moveTo>
                    <a:pt x="46" y="210"/>
                  </a:moveTo>
                  <a:lnTo>
                    <a:pt x="46" y="210"/>
                  </a:lnTo>
                  <a:lnTo>
                    <a:pt x="44" y="210"/>
                  </a:lnTo>
                  <a:lnTo>
                    <a:pt x="40" y="217"/>
                  </a:lnTo>
                  <a:lnTo>
                    <a:pt x="38" y="218"/>
                  </a:lnTo>
                  <a:lnTo>
                    <a:pt x="34" y="218"/>
                  </a:lnTo>
                  <a:lnTo>
                    <a:pt x="32" y="217"/>
                  </a:lnTo>
                  <a:lnTo>
                    <a:pt x="30" y="213"/>
                  </a:lnTo>
                  <a:lnTo>
                    <a:pt x="29" y="205"/>
                  </a:lnTo>
                  <a:lnTo>
                    <a:pt x="31" y="199"/>
                  </a:lnTo>
                  <a:lnTo>
                    <a:pt x="31" y="195"/>
                  </a:lnTo>
                  <a:lnTo>
                    <a:pt x="24" y="187"/>
                  </a:lnTo>
                  <a:lnTo>
                    <a:pt x="20" y="166"/>
                  </a:lnTo>
                  <a:lnTo>
                    <a:pt x="19" y="166"/>
                  </a:lnTo>
                  <a:lnTo>
                    <a:pt x="4" y="127"/>
                  </a:lnTo>
                  <a:lnTo>
                    <a:pt x="4" y="124"/>
                  </a:lnTo>
                  <a:lnTo>
                    <a:pt x="5" y="120"/>
                  </a:lnTo>
                  <a:lnTo>
                    <a:pt x="14" y="109"/>
                  </a:lnTo>
                  <a:lnTo>
                    <a:pt x="17" y="98"/>
                  </a:lnTo>
                  <a:lnTo>
                    <a:pt x="14" y="50"/>
                  </a:lnTo>
                  <a:lnTo>
                    <a:pt x="16" y="44"/>
                  </a:lnTo>
                  <a:lnTo>
                    <a:pt x="16" y="39"/>
                  </a:lnTo>
                  <a:lnTo>
                    <a:pt x="13" y="33"/>
                  </a:lnTo>
                  <a:lnTo>
                    <a:pt x="8" y="31"/>
                  </a:lnTo>
                  <a:lnTo>
                    <a:pt x="5" y="29"/>
                  </a:lnTo>
                  <a:lnTo>
                    <a:pt x="0" y="18"/>
                  </a:lnTo>
                  <a:lnTo>
                    <a:pt x="1" y="6"/>
                  </a:lnTo>
                  <a:lnTo>
                    <a:pt x="5" y="0"/>
                  </a:lnTo>
                  <a:lnTo>
                    <a:pt x="16" y="2"/>
                  </a:lnTo>
                  <a:lnTo>
                    <a:pt x="25" y="12"/>
                  </a:lnTo>
                  <a:lnTo>
                    <a:pt x="37" y="55"/>
                  </a:lnTo>
                  <a:lnTo>
                    <a:pt x="36" y="71"/>
                  </a:lnTo>
                  <a:lnTo>
                    <a:pt x="37" y="73"/>
                  </a:lnTo>
                  <a:lnTo>
                    <a:pt x="46" y="82"/>
                  </a:lnTo>
                  <a:lnTo>
                    <a:pt x="50" y="88"/>
                  </a:lnTo>
                  <a:lnTo>
                    <a:pt x="50" y="92"/>
                  </a:lnTo>
                  <a:lnTo>
                    <a:pt x="37" y="134"/>
                  </a:lnTo>
                  <a:lnTo>
                    <a:pt x="38" y="140"/>
                  </a:lnTo>
                  <a:lnTo>
                    <a:pt x="40" y="146"/>
                  </a:lnTo>
                  <a:lnTo>
                    <a:pt x="44" y="184"/>
                  </a:lnTo>
                  <a:lnTo>
                    <a:pt x="46" y="183"/>
                  </a:lnTo>
                  <a:lnTo>
                    <a:pt x="44" y="184"/>
                  </a:lnTo>
                  <a:lnTo>
                    <a:pt x="44" y="190"/>
                  </a:lnTo>
                  <a:lnTo>
                    <a:pt x="46" y="195"/>
                  </a:lnTo>
                  <a:lnTo>
                    <a:pt x="51" y="198"/>
                  </a:lnTo>
                  <a:lnTo>
                    <a:pt x="53" y="200"/>
                  </a:lnTo>
                  <a:lnTo>
                    <a:pt x="61" y="220"/>
                  </a:lnTo>
                  <a:lnTo>
                    <a:pt x="61" y="225"/>
                  </a:lnTo>
                  <a:lnTo>
                    <a:pt x="60" y="226"/>
                  </a:lnTo>
                  <a:lnTo>
                    <a:pt x="58" y="225"/>
                  </a:lnTo>
                  <a:lnTo>
                    <a:pt x="53" y="218"/>
                  </a:lnTo>
                  <a:lnTo>
                    <a:pt x="49" y="216"/>
                  </a:lnTo>
                  <a:lnTo>
                    <a:pt x="46" y="210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0" name="Freeform 239"/>
            <p:cNvSpPr>
              <a:spLocks/>
            </p:cNvSpPr>
            <p:nvPr/>
          </p:nvSpPr>
          <p:spPr bwMode="auto">
            <a:xfrm>
              <a:off x="5127961" y="3625838"/>
              <a:ext cx="73117" cy="226354"/>
            </a:xfrm>
            <a:custGeom>
              <a:avLst/>
              <a:gdLst>
                <a:gd name="T0" fmla="*/ 8 w 61"/>
                <a:gd name="T1" fmla="*/ 26 h 226"/>
                <a:gd name="T2" fmla="*/ 8 w 61"/>
                <a:gd name="T3" fmla="*/ 26 h 226"/>
                <a:gd name="T4" fmla="*/ 7 w 61"/>
                <a:gd name="T5" fmla="*/ 26 h 226"/>
                <a:gd name="T6" fmla="*/ 6 w 61"/>
                <a:gd name="T7" fmla="*/ 26 h 226"/>
                <a:gd name="T8" fmla="*/ 6 w 61"/>
                <a:gd name="T9" fmla="*/ 27 h 226"/>
                <a:gd name="T10" fmla="*/ 6 w 61"/>
                <a:gd name="T11" fmla="*/ 27 h 226"/>
                <a:gd name="T12" fmla="*/ 5 w 61"/>
                <a:gd name="T13" fmla="*/ 26 h 226"/>
                <a:gd name="T14" fmla="*/ 5 w 61"/>
                <a:gd name="T15" fmla="*/ 26 h 226"/>
                <a:gd name="T16" fmla="*/ 5 w 61"/>
                <a:gd name="T17" fmla="*/ 25 h 226"/>
                <a:gd name="T18" fmla="*/ 5 w 61"/>
                <a:gd name="T19" fmla="*/ 24 h 226"/>
                <a:gd name="T20" fmla="*/ 5 w 61"/>
                <a:gd name="T21" fmla="*/ 24 h 226"/>
                <a:gd name="T22" fmla="*/ 4 w 61"/>
                <a:gd name="T23" fmla="*/ 23 h 226"/>
                <a:gd name="T24" fmla="*/ 3 w 61"/>
                <a:gd name="T25" fmla="*/ 21 h 226"/>
                <a:gd name="T26" fmla="*/ 3 w 61"/>
                <a:gd name="T27" fmla="*/ 21 h 226"/>
                <a:gd name="T28" fmla="*/ 1 w 61"/>
                <a:gd name="T29" fmla="*/ 16 h 226"/>
                <a:gd name="T30" fmla="*/ 1 w 61"/>
                <a:gd name="T31" fmla="*/ 15 h 226"/>
                <a:gd name="T32" fmla="*/ 1 w 61"/>
                <a:gd name="T33" fmla="*/ 15 h 226"/>
                <a:gd name="T34" fmla="*/ 2 w 61"/>
                <a:gd name="T35" fmla="*/ 13 h 226"/>
                <a:gd name="T36" fmla="*/ 3 w 61"/>
                <a:gd name="T37" fmla="*/ 12 h 226"/>
                <a:gd name="T38" fmla="*/ 2 w 61"/>
                <a:gd name="T39" fmla="*/ 6 h 226"/>
                <a:gd name="T40" fmla="*/ 3 w 61"/>
                <a:gd name="T41" fmla="*/ 5 h 226"/>
                <a:gd name="T42" fmla="*/ 3 w 61"/>
                <a:gd name="T43" fmla="*/ 5 h 226"/>
                <a:gd name="T44" fmla="*/ 2 w 61"/>
                <a:gd name="T45" fmla="*/ 4 h 226"/>
                <a:gd name="T46" fmla="*/ 1 w 61"/>
                <a:gd name="T47" fmla="*/ 4 h 226"/>
                <a:gd name="T48" fmla="*/ 1 w 61"/>
                <a:gd name="T49" fmla="*/ 3 h 226"/>
                <a:gd name="T50" fmla="*/ 0 w 61"/>
                <a:gd name="T51" fmla="*/ 2 h 226"/>
                <a:gd name="T52" fmla="*/ 1 w 61"/>
                <a:gd name="T53" fmla="*/ 1 h 226"/>
                <a:gd name="T54" fmla="*/ 1 w 61"/>
                <a:gd name="T55" fmla="*/ 0 h 226"/>
                <a:gd name="T56" fmla="*/ 3 w 61"/>
                <a:gd name="T57" fmla="*/ 1 h 226"/>
                <a:gd name="T58" fmla="*/ 4 w 61"/>
                <a:gd name="T59" fmla="*/ 2 h 226"/>
                <a:gd name="T60" fmla="*/ 6 w 61"/>
                <a:gd name="T61" fmla="*/ 6 h 226"/>
                <a:gd name="T62" fmla="*/ 6 w 61"/>
                <a:gd name="T63" fmla="*/ 9 h 226"/>
                <a:gd name="T64" fmla="*/ 6 w 61"/>
                <a:gd name="T65" fmla="*/ 9 h 226"/>
                <a:gd name="T66" fmla="*/ 8 w 61"/>
                <a:gd name="T67" fmla="*/ 10 h 226"/>
                <a:gd name="T68" fmla="*/ 8 w 61"/>
                <a:gd name="T69" fmla="*/ 11 h 226"/>
                <a:gd name="T70" fmla="*/ 8 w 61"/>
                <a:gd name="T71" fmla="*/ 11 h 226"/>
                <a:gd name="T72" fmla="*/ 6 w 61"/>
                <a:gd name="T73" fmla="*/ 16 h 226"/>
                <a:gd name="T74" fmla="*/ 6 w 61"/>
                <a:gd name="T75" fmla="*/ 17 h 226"/>
                <a:gd name="T76" fmla="*/ 6 w 61"/>
                <a:gd name="T77" fmla="*/ 18 h 226"/>
                <a:gd name="T78" fmla="*/ 7 w 61"/>
                <a:gd name="T79" fmla="*/ 23 h 226"/>
                <a:gd name="T80" fmla="*/ 8 w 61"/>
                <a:gd name="T81" fmla="*/ 23 h 226"/>
                <a:gd name="T82" fmla="*/ 7 w 61"/>
                <a:gd name="T83" fmla="*/ 23 h 226"/>
                <a:gd name="T84" fmla="*/ 7 w 61"/>
                <a:gd name="T85" fmla="*/ 23 h 226"/>
                <a:gd name="T86" fmla="*/ 8 w 61"/>
                <a:gd name="T87" fmla="*/ 24 h 226"/>
                <a:gd name="T88" fmla="*/ 9 w 61"/>
                <a:gd name="T89" fmla="*/ 24 h 226"/>
                <a:gd name="T90" fmla="*/ 9 w 61"/>
                <a:gd name="T91" fmla="*/ 24 h 226"/>
                <a:gd name="T92" fmla="*/ 11 w 61"/>
                <a:gd name="T93" fmla="*/ 27 h 226"/>
                <a:gd name="T94" fmla="*/ 11 w 61"/>
                <a:gd name="T95" fmla="*/ 28 h 226"/>
                <a:gd name="T96" fmla="*/ 10 w 61"/>
                <a:gd name="T97" fmla="*/ 28 h 226"/>
                <a:gd name="T98" fmla="*/ 10 w 61"/>
                <a:gd name="T99" fmla="*/ 28 h 226"/>
                <a:gd name="T100" fmla="*/ 9 w 61"/>
                <a:gd name="T101" fmla="*/ 27 h 226"/>
                <a:gd name="T102" fmla="*/ 8 w 61"/>
                <a:gd name="T103" fmla="*/ 26 h 226"/>
                <a:gd name="T104" fmla="*/ 8 w 61"/>
                <a:gd name="T105" fmla="*/ 26 h 22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1"/>
                <a:gd name="T160" fmla="*/ 0 h 226"/>
                <a:gd name="T161" fmla="*/ 61 w 61"/>
                <a:gd name="T162" fmla="*/ 226 h 22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1" h="226">
                  <a:moveTo>
                    <a:pt x="46" y="210"/>
                  </a:moveTo>
                  <a:lnTo>
                    <a:pt x="46" y="210"/>
                  </a:lnTo>
                  <a:lnTo>
                    <a:pt x="44" y="210"/>
                  </a:lnTo>
                  <a:lnTo>
                    <a:pt x="40" y="217"/>
                  </a:lnTo>
                  <a:lnTo>
                    <a:pt x="38" y="218"/>
                  </a:lnTo>
                  <a:lnTo>
                    <a:pt x="34" y="218"/>
                  </a:lnTo>
                  <a:lnTo>
                    <a:pt x="32" y="217"/>
                  </a:lnTo>
                  <a:lnTo>
                    <a:pt x="30" y="213"/>
                  </a:lnTo>
                  <a:lnTo>
                    <a:pt x="29" y="205"/>
                  </a:lnTo>
                  <a:lnTo>
                    <a:pt x="31" y="199"/>
                  </a:lnTo>
                  <a:lnTo>
                    <a:pt x="31" y="195"/>
                  </a:lnTo>
                  <a:lnTo>
                    <a:pt x="24" y="187"/>
                  </a:lnTo>
                  <a:lnTo>
                    <a:pt x="20" y="166"/>
                  </a:lnTo>
                  <a:lnTo>
                    <a:pt x="19" y="166"/>
                  </a:lnTo>
                  <a:lnTo>
                    <a:pt x="4" y="127"/>
                  </a:lnTo>
                  <a:lnTo>
                    <a:pt x="4" y="124"/>
                  </a:lnTo>
                  <a:lnTo>
                    <a:pt x="5" y="120"/>
                  </a:lnTo>
                  <a:lnTo>
                    <a:pt x="14" y="109"/>
                  </a:lnTo>
                  <a:lnTo>
                    <a:pt x="17" y="98"/>
                  </a:lnTo>
                  <a:lnTo>
                    <a:pt x="14" y="50"/>
                  </a:lnTo>
                  <a:lnTo>
                    <a:pt x="16" y="44"/>
                  </a:lnTo>
                  <a:lnTo>
                    <a:pt x="16" y="39"/>
                  </a:lnTo>
                  <a:lnTo>
                    <a:pt x="13" y="33"/>
                  </a:lnTo>
                  <a:lnTo>
                    <a:pt x="8" y="31"/>
                  </a:lnTo>
                  <a:lnTo>
                    <a:pt x="5" y="29"/>
                  </a:lnTo>
                  <a:lnTo>
                    <a:pt x="0" y="18"/>
                  </a:lnTo>
                  <a:lnTo>
                    <a:pt x="1" y="6"/>
                  </a:lnTo>
                  <a:lnTo>
                    <a:pt x="5" y="0"/>
                  </a:lnTo>
                  <a:lnTo>
                    <a:pt x="16" y="2"/>
                  </a:lnTo>
                  <a:lnTo>
                    <a:pt x="25" y="12"/>
                  </a:lnTo>
                  <a:lnTo>
                    <a:pt x="37" y="55"/>
                  </a:lnTo>
                  <a:lnTo>
                    <a:pt x="36" y="71"/>
                  </a:lnTo>
                  <a:lnTo>
                    <a:pt x="37" y="73"/>
                  </a:lnTo>
                  <a:lnTo>
                    <a:pt x="46" y="82"/>
                  </a:lnTo>
                  <a:lnTo>
                    <a:pt x="50" y="88"/>
                  </a:lnTo>
                  <a:lnTo>
                    <a:pt x="50" y="92"/>
                  </a:lnTo>
                  <a:lnTo>
                    <a:pt x="37" y="134"/>
                  </a:lnTo>
                  <a:lnTo>
                    <a:pt x="38" y="140"/>
                  </a:lnTo>
                  <a:lnTo>
                    <a:pt x="40" y="146"/>
                  </a:lnTo>
                  <a:lnTo>
                    <a:pt x="44" y="184"/>
                  </a:lnTo>
                  <a:lnTo>
                    <a:pt x="46" y="183"/>
                  </a:lnTo>
                  <a:lnTo>
                    <a:pt x="44" y="184"/>
                  </a:lnTo>
                  <a:lnTo>
                    <a:pt x="44" y="190"/>
                  </a:lnTo>
                  <a:lnTo>
                    <a:pt x="46" y="195"/>
                  </a:lnTo>
                  <a:lnTo>
                    <a:pt x="51" y="198"/>
                  </a:lnTo>
                  <a:lnTo>
                    <a:pt x="53" y="200"/>
                  </a:lnTo>
                  <a:lnTo>
                    <a:pt x="61" y="220"/>
                  </a:lnTo>
                  <a:lnTo>
                    <a:pt x="61" y="225"/>
                  </a:lnTo>
                  <a:lnTo>
                    <a:pt x="60" y="226"/>
                  </a:lnTo>
                  <a:lnTo>
                    <a:pt x="58" y="225"/>
                  </a:lnTo>
                  <a:lnTo>
                    <a:pt x="53" y="218"/>
                  </a:lnTo>
                  <a:lnTo>
                    <a:pt x="49" y="216"/>
                  </a:lnTo>
                  <a:lnTo>
                    <a:pt x="46" y="210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1" name="Freeform 240"/>
            <p:cNvSpPr>
              <a:spLocks/>
            </p:cNvSpPr>
            <p:nvPr/>
          </p:nvSpPr>
          <p:spPr bwMode="auto">
            <a:xfrm>
              <a:off x="4867990" y="3340112"/>
              <a:ext cx="109675" cy="248618"/>
            </a:xfrm>
            <a:custGeom>
              <a:avLst/>
              <a:gdLst>
                <a:gd name="T0" fmla="*/ 9 w 92"/>
                <a:gd name="T1" fmla="*/ 24 h 248"/>
                <a:gd name="T2" fmla="*/ 8 w 92"/>
                <a:gd name="T3" fmla="*/ 23 h 248"/>
                <a:gd name="T4" fmla="*/ 6 w 92"/>
                <a:gd name="T5" fmla="*/ 22 h 248"/>
                <a:gd name="T6" fmla="*/ 4 w 92"/>
                <a:gd name="T7" fmla="*/ 20 h 248"/>
                <a:gd name="T8" fmla="*/ 3 w 92"/>
                <a:gd name="T9" fmla="*/ 18 h 248"/>
                <a:gd name="T10" fmla="*/ 2 w 92"/>
                <a:gd name="T11" fmla="*/ 17 h 248"/>
                <a:gd name="T12" fmla="*/ 1 w 92"/>
                <a:gd name="T13" fmla="*/ 16 h 248"/>
                <a:gd name="T14" fmla="*/ 2 w 92"/>
                <a:gd name="T15" fmla="*/ 13 h 248"/>
                <a:gd name="T16" fmla="*/ 0 w 92"/>
                <a:gd name="T17" fmla="*/ 10 h 248"/>
                <a:gd name="T18" fmla="*/ 1 w 92"/>
                <a:gd name="T19" fmla="*/ 6 h 248"/>
                <a:gd name="T20" fmla="*/ 1 w 92"/>
                <a:gd name="T21" fmla="*/ 5 h 248"/>
                <a:gd name="T22" fmla="*/ 1 w 92"/>
                <a:gd name="T23" fmla="*/ 5 h 248"/>
                <a:gd name="T24" fmla="*/ 2 w 92"/>
                <a:gd name="T25" fmla="*/ 0 h 248"/>
                <a:gd name="T26" fmla="*/ 2 w 92"/>
                <a:gd name="T27" fmla="*/ 1 h 248"/>
                <a:gd name="T28" fmla="*/ 3 w 92"/>
                <a:gd name="T29" fmla="*/ 4 h 248"/>
                <a:gd name="T30" fmla="*/ 4 w 92"/>
                <a:gd name="T31" fmla="*/ 6 h 248"/>
                <a:gd name="T32" fmla="*/ 4 w 92"/>
                <a:gd name="T33" fmla="*/ 9 h 248"/>
                <a:gd name="T34" fmla="*/ 5 w 92"/>
                <a:gd name="T35" fmla="*/ 10 h 248"/>
                <a:gd name="T36" fmla="*/ 5 w 92"/>
                <a:gd name="T37" fmla="*/ 10 h 248"/>
                <a:gd name="T38" fmla="*/ 6 w 92"/>
                <a:gd name="T39" fmla="*/ 15 h 248"/>
                <a:gd name="T40" fmla="*/ 6 w 92"/>
                <a:gd name="T41" fmla="*/ 15 h 248"/>
                <a:gd name="T42" fmla="*/ 5 w 92"/>
                <a:gd name="T43" fmla="*/ 16 h 248"/>
                <a:gd name="T44" fmla="*/ 5 w 92"/>
                <a:gd name="T45" fmla="*/ 17 h 248"/>
                <a:gd name="T46" fmla="*/ 8 w 92"/>
                <a:gd name="T47" fmla="*/ 18 h 248"/>
                <a:gd name="T48" fmla="*/ 11 w 92"/>
                <a:gd name="T49" fmla="*/ 21 h 248"/>
                <a:gd name="T50" fmla="*/ 11 w 92"/>
                <a:gd name="T51" fmla="*/ 23 h 248"/>
                <a:gd name="T52" fmla="*/ 15 w 92"/>
                <a:gd name="T53" fmla="*/ 30 h 248"/>
                <a:gd name="T54" fmla="*/ 14 w 92"/>
                <a:gd name="T55" fmla="*/ 31 h 248"/>
                <a:gd name="T56" fmla="*/ 12 w 92"/>
                <a:gd name="T57" fmla="*/ 30 h 248"/>
                <a:gd name="T58" fmla="*/ 11 w 92"/>
                <a:gd name="T59" fmla="*/ 30 h 248"/>
                <a:gd name="T60" fmla="*/ 11 w 92"/>
                <a:gd name="T61" fmla="*/ 30 h 248"/>
                <a:gd name="T62" fmla="*/ 11 w 92"/>
                <a:gd name="T63" fmla="*/ 29 h 248"/>
                <a:gd name="T64" fmla="*/ 11 w 92"/>
                <a:gd name="T65" fmla="*/ 28 h 248"/>
                <a:gd name="T66" fmla="*/ 9 w 92"/>
                <a:gd name="T67" fmla="*/ 24 h 24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2"/>
                <a:gd name="T103" fmla="*/ 0 h 248"/>
                <a:gd name="T104" fmla="*/ 92 w 92"/>
                <a:gd name="T105" fmla="*/ 248 h 24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2" h="248">
                  <a:moveTo>
                    <a:pt x="58" y="191"/>
                  </a:moveTo>
                  <a:lnTo>
                    <a:pt x="50" y="181"/>
                  </a:lnTo>
                  <a:lnTo>
                    <a:pt x="40" y="177"/>
                  </a:lnTo>
                  <a:lnTo>
                    <a:pt x="22" y="159"/>
                  </a:lnTo>
                  <a:lnTo>
                    <a:pt x="17" y="146"/>
                  </a:lnTo>
                  <a:lnTo>
                    <a:pt x="12" y="140"/>
                  </a:lnTo>
                  <a:lnTo>
                    <a:pt x="9" y="126"/>
                  </a:lnTo>
                  <a:lnTo>
                    <a:pt x="12" y="106"/>
                  </a:lnTo>
                  <a:lnTo>
                    <a:pt x="0" y="79"/>
                  </a:lnTo>
                  <a:lnTo>
                    <a:pt x="7" y="47"/>
                  </a:lnTo>
                  <a:lnTo>
                    <a:pt x="6" y="39"/>
                  </a:lnTo>
                  <a:lnTo>
                    <a:pt x="1" y="41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7" y="35"/>
                  </a:lnTo>
                  <a:lnTo>
                    <a:pt x="26" y="47"/>
                  </a:lnTo>
                  <a:lnTo>
                    <a:pt x="26" y="76"/>
                  </a:lnTo>
                  <a:lnTo>
                    <a:pt x="29" y="79"/>
                  </a:lnTo>
                  <a:lnTo>
                    <a:pt x="32" y="83"/>
                  </a:lnTo>
                  <a:lnTo>
                    <a:pt x="38" y="117"/>
                  </a:lnTo>
                  <a:lnTo>
                    <a:pt x="36" y="122"/>
                  </a:lnTo>
                  <a:lnTo>
                    <a:pt x="30" y="127"/>
                  </a:lnTo>
                  <a:lnTo>
                    <a:pt x="33" y="139"/>
                  </a:lnTo>
                  <a:lnTo>
                    <a:pt x="51" y="148"/>
                  </a:lnTo>
                  <a:lnTo>
                    <a:pt x="66" y="165"/>
                  </a:lnTo>
                  <a:lnTo>
                    <a:pt x="66" y="183"/>
                  </a:lnTo>
                  <a:lnTo>
                    <a:pt x="92" y="238"/>
                  </a:lnTo>
                  <a:lnTo>
                    <a:pt x="85" y="248"/>
                  </a:lnTo>
                  <a:lnTo>
                    <a:pt x="77" y="241"/>
                  </a:lnTo>
                  <a:lnTo>
                    <a:pt x="71" y="240"/>
                  </a:lnTo>
                  <a:lnTo>
                    <a:pt x="68" y="238"/>
                  </a:lnTo>
                  <a:lnTo>
                    <a:pt x="66" y="231"/>
                  </a:lnTo>
                  <a:lnTo>
                    <a:pt x="68" y="226"/>
                  </a:lnTo>
                  <a:lnTo>
                    <a:pt x="58" y="19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2" name="Freeform 241"/>
            <p:cNvSpPr>
              <a:spLocks/>
            </p:cNvSpPr>
            <p:nvPr/>
          </p:nvSpPr>
          <p:spPr bwMode="auto">
            <a:xfrm>
              <a:off x="4867990" y="3340112"/>
              <a:ext cx="109675" cy="248618"/>
            </a:xfrm>
            <a:custGeom>
              <a:avLst/>
              <a:gdLst>
                <a:gd name="T0" fmla="*/ 9 w 92"/>
                <a:gd name="T1" fmla="*/ 24 h 248"/>
                <a:gd name="T2" fmla="*/ 8 w 92"/>
                <a:gd name="T3" fmla="*/ 23 h 248"/>
                <a:gd name="T4" fmla="*/ 6 w 92"/>
                <a:gd name="T5" fmla="*/ 22 h 248"/>
                <a:gd name="T6" fmla="*/ 4 w 92"/>
                <a:gd name="T7" fmla="*/ 20 h 248"/>
                <a:gd name="T8" fmla="*/ 3 w 92"/>
                <a:gd name="T9" fmla="*/ 18 h 248"/>
                <a:gd name="T10" fmla="*/ 2 w 92"/>
                <a:gd name="T11" fmla="*/ 17 h 248"/>
                <a:gd name="T12" fmla="*/ 1 w 92"/>
                <a:gd name="T13" fmla="*/ 16 h 248"/>
                <a:gd name="T14" fmla="*/ 2 w 92"/>
                <a:gd name="T15" fmla="*/ 13 h 248"/>
                <a:gd name="T16" fmla="*/ 0 w 92"/>
                <a:gd name="T17" fmla="*/ 10 h 248"/>
                <a:gd name="T18" fmla="*/ 1 w 92"/>
                <a:gd name="T19" fmla="*/ 6 h 248"/>
                <a:gd name="T20" fmla="*/ 1 w 92"/>
                <a:gd name="T21" fmla="*/ 5 h 248"/>
                <a:gd name="T22" fmla="*/ 1 w 92"/>
                <a:gd name="T23" fmla="*/ 5 h 248"/>
                <a:gd name="T24" fmla="*/ 2 w 92"/>
                <a:gd name="T25" fmla="*/ 0 h 248"/>
                <a:gd name="T26" fmla="*/ 2 w 92"/>
                <a:gd name="T27" fmla="*/ 1 h 248"/>
                <a:gd name="T28" fmla="*/ 3 w 92"/>
                <a:gd name="T29" fmla="*/ 4 h 248"/>
                <a:gd name="T30" fmla="*/ 4 w 92"/>
                <a:gd name="T31" fmla="*/ 6 h 248"/>
                <a:gd name="T32" fmla="*/ 4 w 92"/>
                <a:gd name="T33" fmla="*/ 9 h 248"/>
                <a:gd name="T34" fmla="*/ 5 w 92"/>
                <a:gd name="T35" fmla="*/ 10 h 248"/>
                <a:gd name="T36" fmla="*/ 5 w 92"/>
                <a:gd name="T37" fmla="*/ 10 h 248"/>
                <a:gd name="T38" fmla="*/ 6 w 92"/>
                <a:gd name="T39" fmla="*/ 15 h 248"/>
                <a:gd name="T40" fmla="*/ 6 w 92"/>
                <a:gd name="T41" fmla="*/ 15 h 248"/>
                <a:gd name="T42" fmla="*/ 5 w 92"/>
                <a:gd name="T43" fmla="*/ 16 h 248"/>
                <a:gd name="T44" fmla="*/ 5 w 92"/>
                <a:gd name="T45" fmla="*/ 17 h 248"/>
                <a:gd name="T46" fmla="*/ 8 w 92"/>
                <a:gd name="T47" fmla="*/ 18 h 248"/>
                <a:gd name="T48" fmla="*/ 11 w 92"/>
                <a:gd name="T49" fmla="*/ 21 h 248"/>
                <a:gd name="T50" fmla="*/ 11 w 92"/>
                <a:gd name="T51" fmla="*/ 23 h 248"/>
                <a:gd name="T52" fmla="*/ 15 w 92"/>
                <a:gd name="T53" fmla="*/ 30 h 248"/>
                <a:gd name="T54" fmla="*/ 14 w 92"/>
                <a:gd name="T55" fmla="*/ 31 h 248"/>
                <a:gd name="T56" fmla="*/ 12 w 92"/>
                <a:gd name="T57" fmla="*/ 30 h 248"/>
                <a:gd name="T58" fmla="*/ 11 w 92"/>
                <a:gd name="T59" fmla="*/ 30 h 248"/>
                <a:gd name="T60" fmla="*/ 11 w 92"/>
                <a:gd name="T61" fmla="*/ 30 h 248"/>
                <a:gd name="T62" fmla="*/ 11 w 92"/>
                <a:gd name="T63" fmla="*/ 29 h 248"/>
                <a:gd name="T64" fmla="*/ 11 w 92"/>
                <a:gd name="T65" fmla="*/ 28 h 248"/>
                <a:gd name="T66" fmla="*/ 9 w 92"/>
                <a:gd name="T67" fmla="*/ 24 h 24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2"/>
                <a:gd name="T103" fmla="*/ 0 h 248"/>
                <a:gd name="T104" fmla="*/ 92 w 92"/>
                <a:gd name="T105" fmla="*/ 248 h 24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2" h="248">
                  <a:moveTo>
                    <a:pt x="58" y="191"/>
                  </a:moveTo>
                  <a:lnTo>
                    <a:pt x="50" y="181"/>
                  </a:lnTo>
                  <a:lnTo>
                    <a:pt x="40" y="177"/>
                  </a:lnTo>
                  <a:lnTo>
                    <a:pt x="22" y="159"/>
                  </a:lnTo>
                  <a:lnTo>
                    <a:pt x="17" y="146"/>
                  </a:lnTo>
                  <a:lnTo>
                    <a:pt x="12" y="140"/>
                  </a:lnTo>
                  <a:lnTo>
                    <a:pt x="9" y="126"/>
                  </a:lnTo>
                  <a:lnTo>
                    <a:pt x="12" y="106"/>
                  </a:lnTo>
                  <a:lnTo>
                    <a:pt x="0" y="79"/>
                  </a:lnTo>
                  <a:lnTo>
                    <a:pt x="7" y="47"/>
                  </a:lnTo>
                  <a:lnTo>
                    <a:pt x="6" y="39"/>
                  </a:lnTo>
                  <a:lnTo>
                    <a:pt x="1" y="41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7" y="35"/>
                  </a:lnTo>
                  <a:lnTo>
                    <a:pt x="26" y="47"/>
                  </a:lnTo>
                  <a:lnTo>
                    <a:pt x="26" y="76"/>
                  </a:lnTo>
                  <a:lnTo>
                    <a:pt x="29" y="79"/>
                  </a:lnTo>
                  <a:lnTo>
                    <a:pt x="32" y="83"/>
                  </a:lnTo>
                  <a:lnTo>
                    <a:pt x="38" y="117"/>
                  </a:lnTo>
                  <a:lnTo>
                    <a:pt x="36" y="122"/>
                  </a:lnTo>
                  <a:lnTo>
                    <a:pt x="30" y="127"/>
                  </a:lnTo>
                  <a:lnTo>
                    <a:pt x="33" y="139"/>
                  </a:lnTo>
                  <a:lnTo>
                    <a:pt x="51" y="148"/>
                  </a:lnTo>
                  <a:lnTo>
                    <a:pt x="66" y="165"/>
                  </a:lnTo>
                  <a:lnTo>
                    <a:pt x="66" y="183"/>
                  </a:lnTo>
                  <a:lnTo>
                    <a:pt x="92" y="238"/>
                  </a:lnTo>
                  <a:lnTo>
                    <a:pt x="85" y="248"/>
                  </a:lnTo>
                  <a:lnTo>
                    <a:pt x="77" y="241"/>
                  </a:lnTo>
                  <a:lnTo>
                    <a:pt x="71" y="240"/>
                  </a:lnTo>
                  <a:lnTo>
                    <a:pt x="68" y="238"/>
                  </a:lnTo>
                  <a:lnTo>
                    <a:pt x="66" y="231"/>
                  </a:lnTo>
                  <a:lnTo>
                    <a:pt x="68" y="226"/>
                  </a:lnTo>
                  <a:lnTo>
                    <a:pt x="58" y="19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3" name="Freeform 242"/>
            <p:cNvSpPr>
              <a:spLocks/>
            </p:cNvSpPr>
            <p:nvPr/>
          </p:nvSpPr>
          <p:spPr bwMode="auto">
            <a:xfrm>
              <a:off x="5012192" y="3173129"/>
              <a:ext cx="168574" cy="148430"/>
            </a:xfrm>
            <a:custGeom>
              <a:avLst/>
              <a:gdLst>
                <a:gd name="T0" fmla="*/ 1 w 141"/>
                <a:gd name="T1" fmla="*/ 3 h 149"/>
                <a:gd name="T2" fmla="*/ 5 w 141"/>
                <a:gd name="T3" fmla="*/ 2 h 149"/>
                <a:gd name="T4" fmla="*/ 6 w 141"/>
                <a:gd name="T5" fmla="*/ 2 h 149"/>
                <a:gd name="T6" fmla="*/ 8 w 141"/>
                <a:gd name="T7" fmla="*/ 1 h 149"/>
                <a:gd name="T8" fmla="*/ 10 w 141"/>
                <a:gd name="T9" fmla="*/ 2 h 149"/>
                <a:gd name="T10" fmla="*/ 15 w 141"/>
                <a:gd name="T11" fmla="*/ 1 h 149"/>
                <a:gd name="T12" fmla="*/ 16 w 141"/>
                <a:gd name="T13" fmla="*/ 1 h 149"/>
                <a:gd name="T14" fmla="*/ 17 w 141"/>
                <a:gd name="T15" fmla="*/ 2 h 149"/>
                <a:gd name="T16" fmla="*/ 19 w 141"/>
                <a:gd name="T17" fmla="*/ 4 h 149"/>
                <a:gd name="T18" fmla="*/ 20 w 141"/>
                <a:gd name="T19" fmla="*/ 3 h 149"/>
                <a:gd name="T20" fmla="*/ 23 w 141"/>
                <a:gd name="T21" fmla="*/ 4 h 149"/>
                <a:gd name="T22" fmla="*/ 20 w 141"/>
                <a:gd name="T23" fmla="*/ 5 h 149"/>
                <a:gd name="T24" fmla="*/ 18 w 141"/>
                <a:gd name="T25" fmla="*/ 6 h 149"/>
                <a:gd name="T26" fmla="*/ 17 w 141"/>
                <a:gd name="T27" fmla="*/ 8 h 149"/>
                <a:gd name="T28" fmla="*/ 17 w 141"/>
                <a:gd name="T29" fmla="*/ 9 h 149"/>
                <a:gd name="T30" fmla="*/ 16 w 141"/>
                <a:gd name="T31" fmla="*/ 9 h 149"/>
                <a:gd name="T32" fmla="*/ 15 w 141"/>
                <a:gd name="T33" fmla="*/ 10 h 149"/>
                <a:gd name="T34" fmla="*/ 15 w 141"/>
                <a:gd name="T35" fmla="*/ 11 h 149"/>
                <a:gd name="T36" fmla="*/ 14 w 141"/>
                <a:gd name="T37" fmla="*/ 11 h 149"/>
                <a:gd name="T38" fmla="*/ 14 w 141"/>
                <a:gd name="T39" fmla="*/ 12 h 149"/>
                <a:gd name="T40" fmla="*/ 12 w 141"/>
                <a:gd name="T41" fmla="*/ 13 h 149"/>
                <a:gd name="T42" fmla="*/ 15 w 141"/>
                <a:gd name="T43" fmla="*/ 13 h 149"/>
                <a:gd name="T44" fmla="*/ 15 w 141"/>
                <a:gd name="T45" fmla="*/ 14 h 149"/>
                <a:gd name="T46" fmla="*/ 13 w 141"/>
                <a:gd name="T47" fmla="*/ 15 h 149"/>
                <a:gd name="T48" fmla="*/ 10 w 141"/>
                <a:gd name="T49" fmla="*/ 16 h 149"/>
                <a:gd name="T50" fmla="*/ 9 w 141"/>
                <a:gd name="T51" fmla="*/ 17 h 149"/>
                <a:gd name="T52" fmla="*/ 8 w 141"/>
                <a:gd name="T53" fmla="*/ 16 h 149"/>
                <a:gd name="T54" fmla="*/ 7 w 141"/>
                <a:gd name="T55" fmla="*/ 16 h 149"/>
                <a:gd name="T56" fmla="*/ 4 w 141"/>
                <a:gd name="T57" fmla="*/ 15 h 149"/>
                <a:gd name="T58" fmla="*/ 3 w 141"/>
                <a:gd name="T59" fmla="*/ 16 h 149"/>
                <a:gd name="T60" fmla="*/ 1 w 141"/>
                <a:gd name="T61" fmla="*/ 17 h 149"/>
                <a:gd name="T62" fmla="*/ 1 w 141"/>
                <a:gd name="T63" fmla="*/ 15 h 149"/>
                <a:gd name="T64" fmla="*/ 1 w 141"/>
                <a:gd name="T65" fmla="*/ 7 h 149"/>
                <a:gd name="T66" fmla="*/ 2 w 141"/>
                <a:gd name="T67" fmla="*/ 4 h 1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1"/>
                <a:gd name="T103" fmla="*/ 0 h 149"/>
                <a:gd name="T104" fmla="*/ 141 w 141"/>
                <a:gd name="T105" fmla="*/ 149 h 1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1" h="149">
                  <a:moveTo>
                    <a:pt x="8" y="27"/>
                  </a:moveTo>
                  <a:lnTo>
                    <a:pt x="9" y="23"/>
                  </a:lnTo>
                  <a:lnTo>
                    <a:pt x="26" y="18"/>
                  </a:lnTo>
                  <a:lnTo>
                    <a:pt x="30" y="12"/>
                  </a:lnTo>
                  <a:lnTo>
                    <a:pt x="35" y="14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4" y="11"/>
                  </a:lnTo>
                  <a:lnTo>
                    <a:pt x="61" y="14"/>
                  </a:lnTo>
                  <a:lnTo>
                    <a:pt x="70" y="0"/>
                  </a:lnTo>
                  <a:lnTo>
                    <a:pt x="88" y="7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04" y="5"/>
                  </a:lnTo>
                  <a:lnTo>
                    <a:pt x="103" y="18"/>
                  </a:lnTo>
                  <a:lnTo>
                    <a:pt x="109" y="25"/>
                  </a:lnTo>
                  <a:lnTo>
                    <a:pt x="112" y="32"/>
                  </a:lnTo>
                  <a:lnTo>
                    <a:pt x="117" y="31"/>
                  </a:lnTo>
                  <a:lnTo>
                    <a:pt x="123" y="28"/>
                  </a:lnTo>
                  <a:lnTo>
                    <a:pt x="141" y="28"/>
                  </a:lnTo>
                  <a:lnTo>
                    <a:pt x="141" y="31"/>
                  </a:lnTo>
                  <a:lnTo>
                    <a:pt x="130" y="35"/>
                  </a:lnTo>
                  <a:lnTo>
                    <a:pt x="123" y="41"/>
                  </a:lnTo>
                  <a:lnTo>
                    <a:pt x="114" y="41"/>
                  </a:lnTo>
                  <a:lnTo>
                    <a:pt x="107" y="52"/>
                  </a:lnTo>
                  <a:lnTo>
                    <a:pt x="115" y="59"/>
                  </a:lnTo>
                  <a:lnTo>
                    <a:pt x="105" y="63"/>
                  </a:lnTo>
                  <a:lnTo>
                    <a:pt x="103" y="68"/>
                  </a:lnTo>
                  <a:lnTo>
                    <a:pt x="105" y="74"/>
                  </a:lnTo>
                  <a:lnTo>
                    <a:pt x="104" y="77"/>
                  </a:lnTo>
                  <a:lnTo>
                    <a:pt x="100" y="76"/>
                  </a:lnTo>
                  <a:lnTo>
                    <a:pt x="98" y="83"/>
                  </a:lnTo>
                  <a:lnTo>
                    <a:pt x="94" y="84"/>
                  </a:lnTo>
                  <a:lnTo>
                    <a:pt x="93" y="88"/>
                  </a:lnTo>
                  <a:lnTo>
                    <a:pt x="89" y="94"/>
                  </a:lnTo>
                  <a:lnTo>
                    <a:pt x="88" y="97"/>
                  </a:lnTo>
                  <a:lnTo>
                    <a:pt x="83" y="97"/>
                  </a:lnTo>
                  <a:lnTo>
                    <a:pt x="80" y="99"/>
                  </a:lnTo>
                  <a:lnTo>
                    <a:pt x="83" y="102"/>
                  </a:lnTo>
                  <a:lnTo>
                    <a:pt x="74" y="108"/>
                  </a:lnTo>
                  <a:lnTo>
                    <a:pt x="72" y="111"/>
                  </a:lnTo>
                  <a:lnTo>
                    <a:pt x="80" y="114"/>
                  </a:lnTo>
                  <a:lnTo>
                    <a:pt x="92" y="113"/>
                  </a:lnTo>
                  <a:lnTo>
                    <a:pt x="94" y="117"/>
                  </a:lnTo>
                  <a:lnTo>
                    <a:pt x="93" y="119"/>
                  </a:lnTo>
                  <a:lnTo>
                    <a:pt x="85" y="125"/>
                  </a:lnTo>
                  <a:lnTo>
                    <a:pt x="78" y="128"/>
                  </a:lnTo>
                  <a:lnTo>
                    <a:pt x="63" y="128"/>
                  </a:lnTo>
                  <a:lnTo>
                    <a:pt x="60" y="129"/>
                  </a:lnTo>
                  <a:lnTo>
                    <a:pt x="58" y="138"/>
                  </a:lnTo>
                  <a:lnTo>
                    <a:pt x="58" y="144"/>
                  </a:lnTo>
                  <a:lnTo>
                    <a:pt x="53" y="149"/>
                  </a:lnTo>
                  <a:lnTo>
                    <a:pt x="51" y="131"/>
                  </a:lnTo>
                  <a:lnTo>
                    <a:pt x="47" y="131"/>
                  </a:lnTo>
                  <a:lnTo>
                    <a:pt x="42" y="134"/>
                  </a:lnTo>
                  <a:lnTo>
                    <a:pt x="25" y="119"/>
                  </a:lnTo>
                  <a:lnTo>
                    <a:pt x="21" y="124"/>
                  </a:lnTo>
                  <a:lnTo>
                    <a:pt x="22" y="131"/>
                  </a:lnTo>
                  <a:lnTo>
                    <a:pt x="17" y="132"/>
                  </a:lnTo>
                  <a:lnTo>
                    <a:pt x="14" y="139"/>
                  </a:lnTo>
                  <a:lnTo>
                    <a:pt x="7" y="142"/>
                  </a:lnTo>
                  <a:lnTo>
                    <a:pt x="3" y="134"/>
                  </a:lnTo>
                  <a:lnTo>
                    <a:pt x="3" y="128"/>
                  </a:lnTo>
                  <a:lnTo>
                    <a:pt x="0" y="110"/>
                  </a:lnTo>
                  <a:lnTo>
                    <a:pt x="4" y="60"/>
                  </a:lnTo>
                  <a:lnTo>
                    <a:pt x="0" y="55"/>
                  </a:lnTo>
                  <a:lnTo>
                    <a:pt x="10" y="32"/>
                  </a:lnTo>
                  <a:lnTo>
                    <a:pt x="8" y="27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4" name="Freeform 243"/>
            <p:cNvSpPr>
              <a:spLocks/>
            </p:cNvSpPr>
            <p:nvPr/>
          </p:nvSpPr>
          <p:spPr bwMode="auto">
            <a:xfrm>
              <a:off x="5012192" y="3173129"/>
              <a:ext cx="168574" cy="148430"/>
            </a:xfrm>
            <a:custGeom>
              <a:avLst/>
              <a:gdLst>
                <a:gd name="T0" fmla="*/ 1 w 141"/>
                <a:gd name="T1" fmla="*/ 3 h 149"/>
                <a:gd name="T2" fmla="*/ 5 w 141"/>
                <a:gd name="T3" fmla="*/ 2 h 149"/>
                <a:gd name="T4" fmla="*/ 6 w 141"/>
                <a:gd name="T5" fmla="*/ 2 h 149"/>
                <a:gd name="T6" fmla="*/ 8 w 141"/>
                <a:gd name="T7" fmla="*/ 1 h 149"/>
                <a:gd name="T8" fmla="*/ 10 w 141"/>
                <a:gd name="T9" fmla="*/ 2 h 149"/>
                <a:gd name="T10" fmla="*/ 15 w 141"/>
                <a:gd name="T11" fmla="*/ 1 h 149"/>
                <a:gd name="T12" fmla="*/ 16 w 141"/>
                <a:gd name="T13" fmla="*/ 1 h 149"/>
                <a:gd name="T14" fmla="*/ 17 w 141"/>
                <a:gd name="T15" fmla="*/ 2 h 149"/>
                <a:gd name="T16" fmla="*/ 19 w 141"/>
                <a:gd name="T17" fmla="*/ 4 h 149"/>
                <a:gd name="T18" fmla="*/ 20 w 141"/>
                <a:gd name="T19" fmla="*/ 3 h 149"/>
                <a:gd name="T20" fmla="*/ 23 w 141"/>
                <a:gd name="T21" fmla="*/ 4 h 149"/>
                <a:gd name="T22" fmla="*/ 20 w 141"/>
                <a:gd name="T23" fmla="*/ 5 h 149"/>
                <a:gd name="T24" fmla="*/ 18 w 141"/>
                <a:gd name="T25" fmla="*/ 6 h 149"/>
                <a:gd name="T26" fmla="*/ 17 w 141"/>
                <a:gd name="T27" fmla="*/ 8 h 149"/>
                <a:gd name="T28" fmla="*/ 17 w 141"/>
                <a:gd name="T29" fmla="*/ 9 h 149"/>
                <a:gd name="T30" fmla="*/ 16 w 141"/>
                <a:gd name="T31" fmla="*/ 9 h 149"/>
                <a:gd name="T32" fmla="*/ 15 w 141"/>
                <a:gd name="T33" fmla="*/ 10 h 149"/>
                <a:gd name="T34" fmla="*/ 15 w 141"/>
                <a:gd name="T35" fmla="*/ 11 h 149"/>
                <a:gd name="T36" fmla="*/ 14 w 141"/>
                <a:gd name="T37" fmla="*/ 11 h 149"/>
                <a:gd name="T38" fmla="*/ 14 w 141"/>
                <a:gd name="T39" fmla="*/ 12 h 149"/>
                <a:gd name="T40" fmla="*/ 12 w 141"/>
                <a:gd name="T41" fmla="*/ 13 h 149"/>
                <a:gd name="T42" fmla="*/ 15 w 141"/>
                <a:gd name="T43" fmla="*/ 13 h 149"/>
                <a:gd name="T44" fmla="*/ 15 w 141"/>
                <a:gd name="T45" fmla="*/ 14 h 149"/>
                <a:gd name="T46" fmla="*/ 13 w 141"/>
                <a:gd name="T47" fmla="*/ 15 h 149"/>
                <a:gd name="T48" fmla="*/ 10 w 141"/>
                <a:gd name="T49" fmla="*/ 16 h 149"/>
                <a:gd name="T50" fmla="*/ 9 w 141"/>
                <a:gd name="T51" fmla="*/ 17 h 149"/>
                <a:gd name="T52" fmla="*/ 8 w 141"/>
                <a:gd name="T53" fmla="*/ 16 h 149"/>
                <a:gd name="T54" fmla="*/ 7 w 141"/>
                <a:gd name="T55" fmla="*/ 16 h 149"/>
                <a:gd name="T56" fmla="*/ 4 w 141"/>
                <a:gd name="T57" fmla="*/ 15 h 149"/>
                <a:gd name="T58" fmla="*/ 3 w 141"/>
                <a:gd name="T59" fmla="*/ 16 h 149"/>
                <a:gd name="T60" fmla="*/ 1 w 141"/>
                <a:gd name="T61" fmla="*/ 17 h 149"/>
                <a:gd name="T62" fmla="*/ 1 w 141"/>
                <a:gd name="T63" fmla="*/ 15 h 149"/>
                <a:gd name="T64" fmla="*/ 1 w 141"/>
                <a:gd name="T65" fmla="*/ 7 h 149"/>
                <a:gd name="T66" fmla="*/ 2 w 141"/>
                <a:gd name="T67" fmla="*/ 4 h 1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1"/>
                <a:gd name="T103" fmla="*/ 0 h 149"/>
                <a:gd name="T104" fmla="*/ 141 w 141"/>
                <a:gd name="T105" fmla="*/ 149 h 1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1" h="149">
                  <a:moveTo>
                    <a:pt x="8" y="27"/>
                  </a:moveTo>
                  <a:lnTo>
                    <a:pt x="9" y="23"/>
                  </a:lnTo>
                  <a:lnTo>
                    <a:pt x="26" y="18"/>
                  </a:lnTo>
                  <a:lnTo>
                    <a:pt x="30" y="12"/>
                  </a:lnTo>
                  <a:lnTo>
                    <a:pt x="35" y="14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4" y="11"/>
                  </a:lnTo>
                  <a:lnTo>
                    <a:pt x="61" y="14"/>
                  </a:lnTo>
                  <a:lnTo>
                    <a:pt x="70" y="0"/>
                  </a:lnTo>
                  <a:lnTo>
                    <a:pt x="88" y="7"/>
                  </a:lnTo>
                  <a:lnTo>
                    <a:pt x="94" y="5"/>
                  </a:lnTo>
                  <a:lnTo>
                    <a:pt x="101" y="7"/>
                  </a:lnTo>
                  <a:lnTo>
                    <a:pt x="104" y="5"/>
                  </a:lnTo>
                  <a:lnTo>
                    <a:pt x="103" y="18"/>
                  </a:lnTo>
                  <a:lnTo>
                    <a:pt x="109" y="25"/>
                  </a:lnTo>
                  <a:lnTo>
                    <a:pt x="112" y="32"/>
                  </a:lnTo>
                  <a:lnTo>
                    <a:pt x="117" y="31"/>
                  </a:lnTo>
                  <a:lnTo>
                    <a:pt x="123" y="28"/>
                  </a:lnTo>
                  <a:lnTo>
                    <a:pt x="141" y="28"/>
                  </a:lnTo>
                  <a:lnTo>
                    <a:pt x="141" y="31"/>
                  </a:lnTo>
                  <a:lnTo>
                    <a:pt x="130" y="35"/>
                  </a:lnTo>
                  <a:lnTo>
                    <a:pt x="123" y="41"/>
                  </a:lnTo>
                  <a:lnTo>
                    <a:pt x="114" y="41"/>
                  </a:lnTo>
                  <a:lnTo>
                    <a:pt x="107" y="52"/>
                  </a:lnTo>
                  <a:lnTo>
                    <a:pt x="115" y="59"/>
                  </a:lnTo>
                  <a:lnTo>
                    <a:pt x="105" y="63"/>
                  </a:lnTo>
                  <a:lnTo>
                    <a:pt x="103" y="68"/>
                  </a:lnTo>
                  <a:lnTo>
                    <a:pt x="105" y="74"/>
                  </a:lnTo>
                  <a:lnTo>
                    <a:pt x="104" y="77"/>
                  </a:lnTo>
                  <a:lnTo>
                    <a:pt x="100" y="76"/>
                  </a:lnTo>
                  <a:lnTo>
                    <a:pt x="98" y="83"/>
                  </a:lnTo>
                  <a:lnTo>
                    <a:pt x="94" y="84"/>
                  </a:lnTo>
                  <a:lnTo>
                    <a:pt x="93" y="88"/>
                  </a:lnTo>
                  <a:lnTo>
                    <a:pt x="89" y="94"/>
                  </a:lnTo>
                  <a:lnTo>
                    <a:pt x="88" y="97"/>
                  </a:lnTo>
                  <a:lnTo>
                    <a:pt x="83" y="97"/>
                  </a:lnTo>
                  <a:lnTo>
                    <a:pt x="80" y="99"/>
                  </a:lnTo>
                  <a:lnTo>
                    <a:pt x="83" y="102"/>
                  </a:lnTo>
                  <a:lnTo>
                    <a:pt x="74" y="108"/>
                  </a:lnTo>
                  <a:lnTo>
                    <a:pt x="72" y="111"/>
                  </a:lnTo>
                  <a:lnTo>
                    <a:pt x="80" y="114"/>
                  </a:lnTo>
                  <a:lnTo>
                    <a:pt x="92" y="113"/>
                  </a:lnTo>
                  <a:lnTo>
                    <a:pt x="94" y="117"/>
                  </a:lnTo>
                  <a:lnTo>
                    <a:pt x="93" y="119"/>
                  </a:lnTo>
                  <a:lnTo>
                    <a:pt x="85" y="125"/>
                  </a:lnTo>
                  <a:lnTo>
                    <a:pt x="78" y="128"/>
                  </a:lnTo>
                  <a:lnTo>
                    <a:pt x="63" y="128"/>
                  </a:lnTo>
                  <a:lnTo>
                    <a:pt x="60" y="129"/>
                  </a:lnTo>
                  <a:lnTo>
                    <a:pt x="58" y="138"/>
                  </a:lnTo>
                  <a:lnTo>
                    <a:pt x="58" y="144"/>
                  </a:lnTo>
                  <a:lnTo>
                    <a:pt x="53" y="149"/>
                  </a:lnTo>
                  <a:lnTo>
                    <a:pt x="51" y="131"/>
                  </a:lnTo>
                  <a:lnTo>
                    <a:pt x="47" y="131"/>
                  </a:lnTo>
                  <a:lnTo>
                    <a:pt x="42" y="134"/>
                  </a:lnTo>
                  <a:lnTo>
                    <a:pt x="25" y="119"/>
                  </a:lnTo>
                  <a:lnTo>
                    <a:pt x="21" y="124"/>
                  </a:lnTo>
                  <a:lnTo>
                    <a:pt x="22" y="131"/>
                  </a:lnTo>
                  <a:lnTo>
                    <a:pt x="17" y="132"/>
                  </a:lnTo>
                  <a:lnTo>
                    <a:pt x="14" y="139"/>
                  </a:lnTo>
                  <a:lnTo>
                    <a:pt x="7" y="142"/>
                  </a:lnTo>
                  <a:lnTo>
                    <a:pt x="3" y="134"/>
                  </a:lnTo>
                  <a:lnTo>
                    <a:pt x="3" y="128"/>
                  </a:lnTo>
                  <a:lnTo>
                    <a:pt x="0" y="110"/>
                  </a:lnTo>
                  <a:lnTo>
                    <a:pt x="4" y="60"/>
                  </a:lnTo>
                  <a:lnTo>
                    <a:pt x="0" y="55"/>
                  </a:lnTo>
                  <a:lnTo>
                    <a:pt x="10" y="32"/>
                  </a:lnTo>
                  <a:lnTo>
                    <a:pt x="8" y="27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5" name="Freeform 244"/>
            <p:cNvSpPr>
              <a:spLocks/>
            </p:cNvSpPr>
            <p:nvPr/>
          </p:nvSpPr>
          <p:spPr bwMode="auto">
            <a:xfrm>
              <a:off x="4748161" y="3950526"/>
              <a:ext cx="105613" cy="61227"/>
            </a:xfrm>
            <a:custGeom>
              <a:avLst/>
              <a:gdLst>
                <a:gd name="T0" fmla="*/ 14 w 88"/>
                <a:gd name="T1" fmla="*/ 2 h 62"/>
                <a:gd name="T2" fmla="*/ 14 w 88"/>
                <a:gd name="T3" fmla="*/ 2 h 62"/>
                <a:gd name="T4" fmla="*/ 13 w 88"/>
                <a:gd name="T5" fmla="*/ 2 h 62"/>
                <a:gd name="T6" fmla="*/ 12 w 88"/>
                <a:gd name="T7" fmla="*/ 2 h 62"/>
                <a:gd name="T8" fmla="*/ 11 w 88"/>
                <a:gd name="T9" fmla="*/ 2 h 62"/>
                <a:gd name="T10" fmla="*/ 11 w 88"/>
                <a:gd name="T11" fmla="*/ 2 h 62"/>
                <a:gd name="T12" fmla="*/ 11 w 88"/>
                <a:gd name="T13" fmla="*/ 2 h 62"/>
                <a:gd name="T14" fmla="*/ 11 w 88"/>
                <a:gd name="T15" fmla="*/ 2 h 62"/>
                <a:gd name="T16" fmla="*/ 10 w 88"/>
                <a:gd name="T17" fmla="*/ 2 h 62"/>
                <a:gd name="T18" fmla="*/ 10 w 88"/>
                <a:gd name="T19" fmla="*/ 2 h 62"/>
                <a:gd name="T20" fmla="*/ 9 w 88"/>
                <a:gd name="T21" fmla="*/ 2 h 62"/>
                <a:gd name="T22" fmla="*/ 9 w 88"/>
                <a:gd name="T23" fmla="*/ 2 h 62"/>
                <a:gd name="T24" fmla="*/ 8 w 88"/>
                <a:gd name="T25" fmla="*/ 3 h 62"/>
                <a:gd name="T26" fmla="*/ 8 w 88"/>
                <a:gd name="T27" fmla="*/ 3 h 62"/>
                <a:gd name="T28" fmla="*/ 8 w 88"/>
                <a:gd name="T29" fmla="*/ 3 h 62"/>
                <a:gd name="T30" fmla="*/ 8 w 88"/>
                <a:gd name="T31" fmla="*/ 3 h 62"/>
                <a:gd name="T32" fmla="*/ 8 w 88"/>
                <a:gd name="T33" fmla="*/ 3 h 62"/>
                <a:gd name="T34" fmla="*/ 8 w 88"/>
                <a:gd name="T35" fmla="*/ 3 h 62"/>
                <a:gd name="T36" fmla="*/ 7 w 88"/>
                <a:gd name="T37" fmla="*/ 3 h 62"/>
                <a:gd name="T38" fmla="*/ 6 w 88"/>
                <a:gd name="T39" fmla="*/ 4 h 62"/>
                <a:gd name="T40" fmla="*/ 6 w 88"/>
                <a:gd name="T41" fmla="*/ 4 h 62"/>
                <a:gd name="T42" fmla="*/ 5 w 88"/>
                <a:gd name="T43" fmla="*/ 4 h 62"/>
                <a:gd name="T44" fmla="*/ 4 w 88"/>
                <a:gd name="T45" fmla="*/ 5 h 62"/>
                <a:gd name="T46" fmla="*/ 3 w 88"/>
                <a:gd name="T47" fmla="*/ 6 h 62"/>
                <a:gd name="T48" fmla="*/ 3 w 88"/>
                <a:gd name="T49" fmla="*/ 6 h 62"/>
                <a:gd name="T50" fmla="*/ 2 w 88"/>
                <a:gd name="T51" fmla="*/ 6 h 62"/>
                <a:gd name="T52" fmla="*/ 2 w 88"/>
                <a:gd name="T53" fmla="*/ 7 h 62"/>
                <a:gd name="T54" fmla="*/ 1 w 88"/>
                <a:gd name="T55" fmla="*/ 7 h 62"/>
                <a:gd name="T56" fmla="*/ 0 w 88"/>
                <a:gd name="T57" fmla="*/ 7 h 62"/>
                <a:gd name="T58" fmla="*/ 2 w 88"/>
                <a:gd name="T59" fmla="*/ 6 h 62"/>
                <a:gd name="T60" fmla="*/ 2 w 88"/>
                <a:gd name="T61" fmla="*/ 5 h 62"/>
                <a:gd name="T62" fmla="*/ 2 w 88"/>
                <a:gd name="T63" fmla="*/ 5 h 62"/>
                <a:gd name="T64" fmla="*/ 4 w 88"/>
                <a:gd name="T65" fmla="*/ 3 h 62"/>
                <a:gd name="T66" fmla="*/ 5 w 88"/>
                <a:gd name="T67" fmla="*/ 3 h 62"/>
                <a:gd name="T68" fmla="*/ 5 w 88"/>
                <a:gd name="T69" fmla="*/ 2 h 62"/>
                <a:gd name="T70" fmla="*/ 5 w 88"/>
                <a:gd name="T71" fmla="*/ 2 h 62"/>
                <a:gd name="T72" fmla="*/ 6 w 88"/>
                <a:gd name="T73" fmla="*/ 2 h 62"/>
                <a:gd name="T74" fmla="*/ 7 w 88"/>
                <a:gd name="T75" fmla="*/ 2 h 62"/>
                <a:gd name="T76" fmla="*/ 8 w 88"/>
                <a:gd name="T77" fmla="*/ 2 h 62"/>
                <a:gd name="T78" fmla="*/ 9 w 88"/>
                <a:gd name="T79" fmla="*/ 1 h 62"/>
                <a:gd name="T80" fmla="*/ 9 w 88"/>
                <a:gd name="T81" fmla="*/ 1 h 62"/>
                <a:gd name="T82" fmla="*/ 9 w 88"/>
                <a:gd name="T83" fmla="*/ 1 h 62"/>
                <a:gd name="T84" fmla="*/ 10 w 88"/>
                <a:gd name="T85" fmla="*/ 0 h 62"/>
                <a:gd name="T86" fmla="*/ 13 w 88"/>
                <a:gd name="T87" fmla="*/ 0 h 62"/>
                <a:gd name="T88" fmla="*/ 15 w 88"/>
                <a:gd name="T89" fmla="*/ 1 h 62"/>
                <a:gd name="T90" fmla="*/ 15 w 88"/>
                <a:gd name="T91" fmla="*/ 1 h 62"/>
                <a:gd name="T92" fmla="*/ 14 w 88"/>
                <a:gd name="T93" fmla="*/ 2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8"/>
                <a:gd name="T142" fmla="*/ 0 h 62"/>
                <a:gd name="T143" fmla="*/ 88 w 88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8" h="62">
                  <a:moveTo>
                    <a:pt x="84" y="11"/>
                  </a:moveTo>
                  <a:lnTo>
                    <a:pt x="81" y="14"/>
                  </a:lnTo>
                  <a:lnTo>
                    <a:pt x="79" y="14"/>
                  </a:lnTo>
                  <a:lnTo>
                    <a:pt x="72" y="11"/>
                  </a:lnTo>
                  <a:lnTo>
                    <a:pt x="67" y="11"/>
                  </a:lnTo>
                  <a:lnTo>
                    <a:pt x="65" y="12"/>
                  </a:lnTo>
                  <a:lnTo>
                    <a:pt x="64" y="14"/>
                  </a:lnTo>
                  <a:lnTo>
                    <a:pt x="61" y="15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6"/>
                  </a:lnTo>
                  <a:lnTo>
                    <a:pt x="51" y="18"/>
                  </a:lnTo>
                  <a:lnTo>
                    <a:pt x="49" y="20"/>
                  </a:lnTo>
                  <a:lnTo>
                    <a:pt x="48" y="22"/>
                  </a:lnTo>
                  <a:lnTo>
                    <a:pt x="49" y="24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5" y="25"/>
                  </a:lnTo>
                  <a:lnTo>
                    <a:pt x="38" y="28"/>
                  </a:lnTo>
                  <a:lnTo>
                    <a:pt x="35" y="30"/>
                  </a:lnTo>
                  <a:lnTo>
                    <a:pt x="35" y="34"/>
                  </a:lnTo>
                  <a:lnTo>
                    <a:pt x="30" y="35"/>
                  </a:lnTo>
                  <a:lnTo>
                    <a:pt x="24" y="44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5" y="51"/>
                  </a:lnTo>
                  <a:lnTo>
                    <a:pt x="11" y="57"/>
                  </a:lnTo>
                  <a:lnTo>
                    <a:pt x="4" y="62"/>
                  </a:lnTo>
                  <a:lnTo>
                    <a:pt x="0" y="61"/>
                  </a:lnTo>
                  <a:lnTo>
                    <a:pt x="13" y="47"/>
                  </a:lnTo>
                  <a:lnTo>
                    <a:pt x="13" y="42"/>
                  </a:lnTo>
                  <a:lnTo>
                    <a:pt x="14" y="38"/>
                  </a:lnTo>
                  <a:lnTo>
                    <a:pt x="23" y="29"/>
                  </a:lnTo>
                  <a:lnTo>
                    <a:pt x="28" y="20"/>
                  </a:lnTo>
                  <a:lnTo>
                    <a:pt x="31" y="18"/>
                  </a:lnTo>
                  <a:lnTo>
                    <a:pt x="33" y="14"/>
                  </a:lnTo>
                  <a:lnTo>
                    <a:pt x="35" y="13"/>
                  </a:lnTo>
                  <a:lnTo>
                    <a:pt x="38" y="12"/>
                  </a:lnTo>
                  <a:lnTo>
                    <a:pt x="46" y="12"/>
                  </a:lnTo>
                  <a:lnTo>
                    <a:pt x="51" y="5"/>
                  </a:lnTo>
                  <a:lnTo>
                    <a:pt x="54" y="4"/>
                  </a:lnTo>
                  <a:lnTo>
                    <a:pt x="55" y="2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8" y="9"/>
                  </a:lnTo>
                  <a:lnTo>
                    <a:pt x="84" y="11"/>
                  </a:lnTo>
                  <a:close/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6" name="Freeform 245"/>
            <p:cNvSpPr>
              <a:spLocks/>
            </p:cNvSpPr>
            <p:nvPr/>
          </p:nvSpPr>
          <p:spPr bwMode="auto">
            <a:xfrm>
              <a:off x="4748161" y="3950526"/>
              <a:ext cx="105613" cy="61227"/>
            </a:xfrm>
            <a:custGeom>
              <a:avLst/>
              <a:gdLst>
                <a:gd name="T0" fmla="*/ 14 w 88"/>
                <a:gd name="T1" fmla="*/ 2 h 62"/>
                <a:gd name="T2" fmla="*/ 14 w 88"/>
                <a:gd name="T3" fmla="*/ 2 h 62"/>
                <a:gd name="T4" fmla="*/ 13 w 88"/>
                <a:gd name="T5" fmla="*/ 2 h 62"/>
                <a:gd name="T6" fmla="*/ 12 w 88"/>
                <a:gd name="T7" fmla="*/ 2 h 62"/>
                <a:gd name="T8" fmla="*/ 11 w 88"/>
                <a:gd name="T9" fmla="*/ 2 h 62"/>
                <a:gd name="T10" fmla="*/ 11 w 88"/>
                <a:gd name="T11" fmla="*/ 2 h 62"/>
                <a:gd name="T12" fmla="*/ 11 w 88"/>
                <a:gd name="T13" fmla="*/ 2 h 62"/>
                <a:gd name="T14" fmla="*/ 11 w 88"/>
                <a:gd name="T15" fmla="*/ 2 h 62"/>
                <a:gd name="T16" fmla="*/ 10 w 88"/>
                <a:gd name="T17" fmla="*/ 2 h 62"/>
                <a:gd name="T18" fmla="*/ 10 w 88"/>
                <a:gd name="T19" fmla="*/ 2 h 62"/>
                <a:gd name="T20" fmla="*/ 9 w 88"/>
                <a:gd name="T21" fmla="*/ 2 h 62"/>
                <a:gd name="T22" fmla="*/ 9 w 88"/>
                <a:gd name="T23" fmla="*/ 2 h 62"/>
                <a:gd name="T24" fmla="*/ 8 w 88"/>
                <a:gd name="T25" fmla="*/ 3 h 62"/>
                <a:gd name="T26" fmla="*/ 8 w 88"/>
                <a:gd name="T27" fmla="*/ 3 h 62"/>
                <a:gd name="T28" fmla="*/ 8 w 88"/>
                <a:gd name="T29" fmla="*/ 3 h 62"/>
                <a:gd name="T30" fmla="*/ 8 w 88"/>
                <a:gd name="T31" fmla="*/ 3 h 62"/>
                <a:gd name="T32" fmla="*/ 8 w 88"/>
                <a:gd name="T33" fmla="*/ 3 h 62"/>
                <a:gd name="T34" fmla="*/ 8 w 88"/>
                <a:gd name="T35" fmla="*/ 3 h 62"/>
                <a:gd name="T36" fmla="*/ 7 w 88"/>
                <a:gd name="T37" fmla="*/ 3 h 62"/>
                <a:gd name="T38" fmla="*/ 6 w 88"/>
                <a:gd name="T39" fmla="*/ 4 h 62"/>
                <a:gd name="T40" fmla="*/ 6 w 88"/>
                <a:gd name="T41" fmla="*/ 4 h 62"/>
                <a:gd name="T42" fmla="*/ 5 w 88"/>
                <a:gd name="T43" fmla="*/ 4 h 62"/>
                <a:gd name="T44" fmla="*/ 4 w 88"/>
                <a:gd name="T45" fmla="*/ 5 h 62"/>
                <a:gd name="T46" fmla="*/ 3 w 88"/>
                <a:gd name="T47" fmla="*/ 6 h 62"/>
                <a:gd name="T48" fmla="*/ 3 w 88"/>
                <a:gd name="T49" fmla="*/ 6 h 62"/>
                <a:gd name="T50" fmla="*/ 2 w 88"/>
                <a:gd name="T51" fmla="*/ 6 h 62"/>
                <a:gd name="T52" fmla="*/ 2 w 88"/>
                <a:gd name="T53" fmla="*/ 7 h 62"/>
                <a:gd name="T54" fmla="*/ 1 w 88"/>
                <a:gd name="T55" fmla="*/ 7 h 62"/>
                <a:gd name="T56" fmla="*/ 0 w 88"/>
                <a:gd name="T57" fmla="*/ 7 h 62"/>
                <a:gd name="T58" fmla="*/ 2 w 88"/>
                <a:gd name="T59" fmla="*/ 6 h 62"/>
                <a:gd name="T60" fmla="*/ 2 w 88"/>
                <a:gd name="T61" fmla="*/ 5 h 62"/>
                <a:gd name="T62" fmla="*/ 2 w 88"/>
                <a:gd name="T63" fmla="*/ 5 h 62"/>
                <a:gd name="T64" fmla="*/ 4 w 88"/>
                <a:gd name="T65" fmla="*/ 3 h 62"/>
                <a:gd name="T66" fmla="*/ 5 w 88"/>
                <a:gd name="T67" fmla="*/ 3 h 62"/>
                <a:gd name="T68" fmla="*/ 5 w 88"/>
                <a:gd name="T69" fmla="*/ 2 h 62"/>
                <a:gd name="T70" fmla="*/ 5 w 88"/>
                <a:gd name="T71" fmla="*/ 2 h 62"/>
                <a:gd name="T72" fmla="*/ 6 w 88"/>
                <a:gd name="T73" fmla="*/ 2 h 62"/>
                <a:gd name="T74" fmla="*/ 7 w 88"/>
                <a:gd name="T75" fmla="*/ 2 h 62"/>
                <a:gd name="T76" fmla="*/ 8 w 88"/>
                <a:gd name="T77" fmla="*/ 2 h 62"/>
                <a:gd name="T78" fmla="*/ 9 w 88"/>
                <a:gd name="T79" fmla="*/ 1 h 62"/>
                <a:gd name="T80" fmla="*/ 9 w 88"/>
                <a:gd name="T81" fmla="*/ 1 h 62"/>
                <a:gd name="T82" fmla="*/ 9 w 88"/>
                <a:gd name="T83" fmla="*/ 1 h 62"/>
                <a:gd name="T84" fmla="*/ 10 w 88"/>
                <a:gd name="T85" fmla="*/ 0 h 62"/>
                <a:gd name="T86" fmla="*/ 13 w 88"/>
                <a:gd name="T87" fmla="*/ 0 h 62"/>
                <a:gd name="T88" fmla="*/ 15 w 88"/>
                <a:gd name="T89" fmla="*/ 1 h 62"/>
                <a:gd name="T90" fmla="*/ 15 w 88"/>
                <a:gd name="T91" fmla="*/ 1 h 62"/>
                <a:gd name="T92" fmla="*/ 14 w 88"/>
                <a:gd name="T93" fmla="*/ 2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8"/>
                <a:gd name="T142" fmla="*/ 0 h 62"/>
                <a:gd name="T143" fmla="*/ 88 w 88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8" h="62">
                  <a:moveTo>
                    <a:pt x="84" y="11"/>
                  </a:moveTo>
                  <a:lnTo>
                    <a:pt x="81" y="14"/>
                  </a:lnTo>
                  <a:lnTo>
                    <a:pt x="79" y="14"/>
                  </a:lnTo>
                  <a:lnTo>
                    <a:pt x="72" y="11"/>
                  </a:lnTo>
                  <a:lnTo>
                    <a:pt x="67" y="11"/>
                  </a:lnTo>
                  <a:lnTo>
                    <a:pt x="65" y="12"/>
                  </a:lnTo>
                  <a:lnTo>
                    <a:pt x="64" y="14"/>
                  </a:lnTo>
                  <a:lnTo>
                    <a:pt x="61" y="15"/>
                  </a:lnTo>
                  <a:lnTo>
                    <a:pt x="60" y="14"/>
                  </a:lnTo>
                  <a:lnTo>
                    <a:pt x="58" y="14"/>
                  </a:lnTo>
                  <a:lnTo>
                    <a:pt x="56" y="16"/>
                  </a:lnTo>
                  <a:lnTo>
                    <a:pt x="51" y="18"/>
                  </a:lnTo>
                  <a:lnTo>
                    <a:pt x="49" y="20"/>
                  </a:lnTo>
                  <a:lnTo>
                    <a:pt x="48" y="22"/>
                  </a:lnTo>
                  <a:lnTo>
                    <a:pt x="49" y="24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5" y="25"/>
                  </a:lnTo>
                  <a:lnTo>
                    <a:pt x="38" y="28"/>
                  </a:lnTo>
                  <a:lnTo>
                    <a:pt x="35" y="30"/>
                  </a:lnTo>
                  <a:lnTo>
                    <a:pt x="35" y="34"/>
                  </a:lnTo>
                  <a:lnTo>
                    <a:pt x="30" y="35"/>
                  </a:lnTo>
                  <a:lnTo>
                    <a:pt x="24" y="44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5" y="51"/>
                  </a:lnTo>
                  <a:lnTo>
                    <a:pt x="11" y="57"/>
                  </a:lnTo>
                  <a:lnTo>
                    <a:pt x="4" y="62"/>
                  </a:lnTo>
                  <a:lnTo>
                    <a:pt x="0" y="61"/>
                  </a:lnTo>
                  <a:lnTo>
                    <a:pt x="13" y="47"/>
                  </a:lnTo>
                  <a:lnTo>
                    <a:pt x="13" y="42"/>
                  </a:lnTo>
                  <a:lnTo>
                    <a:pt x="14" y="38"/>
                  </a:lnTo>
                  <a:lnTo>
                    <a:pt x="23" y="29"/>
                  </a:lnTo>
                  <a:lnTo>
                    <a:pt x="28" y="20"/>
                  </a:lnTo>
                  <a:lnTo>
                    <a:pt x="31" y="18"/>
                  </a:lnTo>
                  <a:lnTo>
                    <a:pt x="33" y="14"/>
                  </a:lnTo>
                  <a:lnTo>
                    <a:pt x="35" y="13"/>
                  </a:lnTo>
                  <a:lnTo>
                    <a:pt x="38" y="12"/>
                  </a:lnTo>
                  <a:lnTo>
                    <a:pt x="46" y="12"/>
                  </a:lnTo>
                  <a:lnTo>
                    <a:pt x="51" y="5"/>
                  </a:lnTo>
                  <a:lnTo>
                    <a:pt x="54" y="4"/>
                  </a:lnTo>
                  <a:lnTo>
                    <a:pt x="55" y="2"/>
                  </a:lnTo>
                  <a:lnTo>
                    <a:pt x="60" y="0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8" y="9"/>
                  </a:lnTo>
                  <a:lnTo>
                    <a:pt x="84" y="11"/>
                  </a:lnTo>
                </a:path>
              </a:pathLst>
            </a:custGeom>
            <a:solidFill>
              <a:srgbClr val="0070C0"/>
            </a:solidFill>
            <a:ln w="31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7" name="Oval 253"/>
            <p:cNvSpPr>
              <a:spLocks noChangeArrowheads="1"/>
            </p:cNvSpPr>
            <p:nvPr/>
          </p:nvSpPr>
          <p:spPr bwMode="auto">
            <a:xfrm>
              <a:off x="5820538" y="2084032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8" name="Oval 254"/>
            <p:cNvSpPr>
              <a:spLocks noChangeArrowheads="1"/>
            </p:cNvSpPr>
            <p:nvPr/>
          </p:nvSpPr>
          <p:spPr bwMode="auto">
            <a:xfrm>
              <a:off x="5166550" y="1536701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39" name="Oval 256"/>
            <p:cNvSpPr>
              <a:spLocks noChangeArrowheads="1"/>
            </p:cNvSpPr>
            <p:nvPr/>
          </p:nvSpPr>
          <p:spPr bwMode="auto">
            <a:xfrm>
              <a:off x="6287672" y="2265858"/>
              <a:ext cx="81241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40" name="Oval 260"/>
            <p:cNvSpPr>
              <a:spLocks noChangeArrowheads="1"/>
            </p:cNvSpPr>
            <p:nvPr/>
          </p:nvSpPr>
          <p:spPr bwMode="auto">
            <a:xfrm>
              <a:off x="3742807" y="1397548"/>
              <a:ext cx="77179" cy="64937"/>
            </a:xfrm>
            <a:prstGeom prst="ellipse">
              <a:avLst/>
            </a:prstGeom>
            <a:solidFill>
              <a:srgbClr val="0070C0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3241963" y="4551218"/>
              <a:ext cx="771885" cy="3000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RSA</a:t>
              </a:r>
              <a:endParaRPr lang="en-US" sz="2000" dirty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4" name="TextBox 273"/>
            <p:cNvSpPr txBox="1"/>
            <p:nvPr/>
          </p:nvSpPr>
          <p:spPr>
            <a:xfrm>
              <a:off x="6198920" y="2841780"/>
              <a:ext cx="1410337" cy="122341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Ethiopia</a:t>
              </a:r>
            </a:p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Kenya</a:t>
              </a:r>
            </a:p>
            <a:p>
              <a:r>
                <a:rPr lang="en-IE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Tanzania</a:t>
              </a:r>
            </a:p>
            <a:p>
              <a:r>
                <a:rPr lang="en-IE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Uganda</a:t>
              </a:r>
              <a:endParaRPr lang="en-US" sz="2000" dirty="0" smtClean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  <a:p>
              <a:endParaRPr lang="en-US" sz="2000" dirty="0" smtClean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5" name="TextBox 274"/>
            <p:cNvSpPr txBox="1"/>
            <p:nvPr/>
          </p:nvSpPr>
          <p:spPr>
            <a:xfrm>
              <a:off x="2707576" y="3170712"/>
              <a:ext cx="1182794" cy="3000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Nigeria</a:t>
              </a:r>
              <a:endParaRPr lang="en-US" sz="2000" dirty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  <p:sp>
          <p:nvSpPr>
            <p:cNvPr id="276" name="TextBox 275"/>
            <p:cNvSpPr txBox="1"/>
            <p:nvPr/>
          </p:nvSpPr>
          <p:spPr>
            <a:xfrm>
              <a:off x="1660568" y="2913205"/>
              <a:ext cx="1097837" cy="3000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 smtClean="0">
                  <a:solidFill>
                    <a:srgbClr val="0E438A"/>
                  </a:solidFill>
                  <a:latin typeface="+mn-lt"/>
                  <a:cs typeface="Arial" pitchFamily="34" charset="0"/>
                </a:rPr>
                <a:t>Ghana</a:t>
              </a:r>
              <a:endParaRPr lang="en-US" sz="2000" dirty="0">
                <a:solidFill>
                  <a:srgbClr val="0E438A"/>
                </a:solidFill>
                <a:latin typeface="+mn-lt"/>
                <a:cs typeface="Arial" pitchFamily="34" charset="0"/>
              </a:endParaRPr>
            </a:p>
          </p:txBody>
        </p:sp>
      </p:grpSp>
      <p:pic>
        <p:nvPicPr>
          <p:cNvPr id="257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7504" y="6124546"/>
            <a:ext cx="633423" cy="582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9" name="Slide Number Placeholder 5"/>
          <p:cNvSpPr txBox="1">
            <a:spLocks/>
          </p:cNvSpPr>
          <p:nvPr/>
        </p:nvSpPr>
        <p:spPr>
          <a:xfrm>
            <a:off x="7751763" y="6453188"/>
            <a:ext cx="1366837" cy="4318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algn="r"/>
            <a:fld id="{6C5EFDBE-890D-42E3-B855-E9F8B7477C01}" type="slidenum">
              <a:rPr lang="en-US" sz="1400" smtClean="0"/>
              <a:pPr algn="r"/>
              <a:t>9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="" val="28756970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x2mt09dkKBfu6DZDB9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x2mt09dkKBfu6DZDB9sA"/>
</p:tagLst>
</file>

<file path=ppt/theme/theme1.xml><?xml version="1.0" encoding="utf-8"?>
<a:theme xmlns:a="http://schemas.openxmlformats.org/drawingml/2006/main" name="ITU-e">
  <a:themeElements>
    <a:clrScheme name="ITU-e 3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FFCC00"/>
      </a:accent1>
      <a:accent2>
        <a:srgbClr val="3333CC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B9"/>
      </a:accent6>
      <a:hlink>
        <a:srgbClr val="3399FF"/>
      </a:hlink>
      <a:folHlink>
        <a:srgbClr val="5F5F5F"/>
      </a:folHlink>
    </a:clrScheme>
    <a:fontScheme name="ITU-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TU-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2">
        <a:dk1>
          <a:srgbClr val="000000"/>
        </a:dk1>
        <a:lt1>
          <a:srgbClr val="FFFFFF"/>
        </a:lt1>
        <a:dk2>
          <a:srgbClr val="000000"/>
        </a:dk2>
        <a:lt2>
          <a:srgbClr val="0000FF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99FF"/>
        </a:hlink>
        <a:folHlink>
          <a:srgbClr val="99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3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FFCC00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B9"/>
        </a:accent6>
        <a:hlink>
          <a:srgbClr val="3399FF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6A94EB67D961448066A5329D709A89" ma:contentTypeVersion="1" ma:contentTypeDescription="Create a new document." ma:contentTypeScope="" ma:versionID="8a9605de511c26ffa127d47f9e41a0d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c2d465dd849937321cdf8b52b5b5c9f7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1938C6-684D-4460-AF36-56EE78C2CC50}"/>
</file>

<file path=customXml/itemProps2.xml><?xml version="1.0" encoding="utf-8"?>
<ds:datastoreItem xmlns:ds="http://schemas.openxmlformats.org/officeDocument/2006/customXml" ds:itemID="{86D5D6BC-01CE-45B6-AF93-8B5DCA375B78}"/>
</file>

<file path=customXml/itemProps3.xml><?xml version="1.0" encoding="utf-8"?>
<ds:datastoreItem xmlns:ds="http://schemas.openxmlformats.org/officeDocument/2006/customXml" ds:itemID="{33A2B6E1-03E3-4D0A-B7E1-FA35E026E822}"/>
</file>

<file path=docProps/app.xml><?xml version="1.0" encoding="utf-8"?>
<Properties xmlns="http://schemas.openxmlformats.org/officeDocument/2006/extended-properties" xmlns:vt="http://schemas.openxmlformats.org/officeDocument/2006/docPropsVTypes">
  <Template>ITU-e</Template>
  <TotalTime>2165</TotalTime>
  <Words>458</Words>
  <Application>Microsoft Office PowerPoint</Application>
  <PresentationFormat>On-screen Show (4:3)</PresentationFormat>
  <Paragraphs>171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ITU-e</vt:lpstr>
      <vt:lpstr>think-cell Slide</vt:lpstr>
      <vt:lpstr>E-waste in emerging markets: an opportunity </vt:lpstr>
      <vt:lpstr>Africa : about growth ….</vt:lpstr>
      <vt:lpstr>Very few African countries have e-waste regs</vt:lpstr>
      <vt:lpstr>Slide 4</vt:lpstr>
      <vt:lpstr>Slide 5</vt:lpstr>
      <vt:lpstr>Slide 6</vt:lpstr>
      <vt:lpstr>Deployment in Kenya, a role model</vt:lpstr>
      <vt:lpstr>”E-waste solutions Alliance for Africa”</vt:lpstr>
      <vt:lpstr>Slide 9</vt:lpstr>
      <vt:lpstr>Slide 10</vt:lpstr>
      <vt:lpstr>Partnerships are essential !</vt:lpstr>
      <vt:lpstr>Thank you</vt:lpstr>
    </vt:vector>
  </TitlesOfParts>
  <Company>ITU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 Telecommunication  Union</dc:title>
  <dc:creator>P.Rosa</dc:creator>
  <cp:lastModifiedBy>Christin Chevalley</cp:lastModifiedBy>
  <cp:revision>362</cp:revision>
  <cp:lastPrinted>2001-11-25T13:41:09Z</cp:lastPrinted>
  <dcterms:created xsi:type="dcterms:W3CDTF">2007-02-20T15:47:31Z</dcterms:created>
  <dcterms:modified xsi:type="dcterms:W3CDTF">2013-07-05T14:12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6A94EB67D961448066A5329D709A89</vt:lpwstr>
  </property>
</Properties>
</file>